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7" r:id="rId6"/>
  </p:sldMasterIdLst>
  <p:notesMasterIdLst>
    <p:notesMasterId r:id="rId25"/>
  </p:notesMasterIdLst>
  <p:handoutMasterIdLst>
    <p:handoutMasterId r:id="rId26"/>
  </p:handoutMasterIdLst>
  <p:sldIdLst>
    <p:sldId id="352" r:id="rId7"/>
    <p:sldId id="1041" r:id="rId8"/>
    <p:sldId id="1046" r:id="rId9"/>
    <p:sldId id="1045" r:id="rId10"/>
    <p:sldId id="1034" r:id="rId11"/>
    <p:sldId id="1048" r:id="rId12"/>
    <p:sldId id="1049" r:id="rId13"/>
    <p:sldId id="1053" r:id="rId14"/>
    <p:sldId id="1061" r:id="rId15"/>
    <p:sldId id="1054" r:id="rId16"/>
    <p:sldId id="1056" r:id="rId17"/>
    <p:sldId id="1055" r:id="rId18"/>
    <p:sldId id="1058" r:id="rId19"/>
    <p:sldId id="1059" r:id="rId20"/>
    <p:sldId id="1060" r:id="rId21"/>
    <p:sldId id="1042" r:id="rId22"/>
    <p:sldId id="1062" r:id="rId23"/>
    <p:sldId id="1057" r:id="rId24"/>
  </p:sldIdLst>
  <p:sldSz cx="12192000" cy="6858000"/>
  <p:notesSz cx="6858000" cy="9144000"/>
  <p:custDataLst>
    <p:tags r:id="rId27"/>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3BC0AA8-0184-4C5B-A5A9-48A819A1B9C5}">
          <p14:sldIdLst>
            <p14:sldId id="352"/>
            <p14:sldId id="1041"/>
            <p14:sldId id="1046"/>
            <p14:sldId id="1045"/>
            <p14:sldId id="1034"/>
            <p14:sldId id="1048"/>
            <p14:sldId id="1049"/>
            <p14:sldId id="1053"/>
            <p14:sldId id="1061"/>
            <p14:sldId id="1054"/>
            <p14:sldId id="1056"/>
            <p14:sldId id="1055"/>
            <p14:sldId id="1058"/>
            <p14:sldId id="1059"/>
            <p14:sldId id="1060"/>
            <p14:sldId id="1042"/>
            <p14:sldId id="1062"/>
            <p14:sldId id="105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en, L.J. (Bram) van der" initials="SL(vd" lastIdx="1" clrIdx="0">
    <p:extLst>
      <p:ext uri="{19B8F6BF-5375-455C-9EA6-DF929625EA0E}">
        <p15:presenceInfo xmlns:p15="http://schemas.microsoft.com/office/powerpoint/2012/main" userId="S::bram.vandersanden@tno.nl::64242c6f-6131-4a58-b30f-d6fd4427a8f1" providerId="AD"/>
      </p:ext>
    </p:extLst>
  </p:cmAuthor>
  <p:cmAuthor id="2" name="Dennis Hendriks - DHFS" initials="DH-D" lastIdx="122" clrIdx="1">
    <p:extLst>
      <p:ext uri="{19B8F6BF-5375-455C-9EA6-DF929625EA0E}">
        <p15:presenceInfo xmlns:p15="http://schemas.microsoft.com/office/powerpoint/2012/main" userId="S::dennis.hendriks-dhfs@asml.com::ceacf04f-0b47-4d6f-9d04-eca8f76fbd3c" providerId="AD"/>
      </p:ext>
    </p:extLst>
  </p:cmAuthor>
  <p:cmAuthor id="3" name="Arjan van der Meer" initials="AvdM" lastIdx="16" clrIdx="2">
    <p:extLst>
      <p:ext uri="{19B8F6BF-5375-455C-9EA6-DF929625EA0E}">
        <p15:presenceInfo xmlns:p15="http://schemas.microsoft.com/office/powerpoint/2012/main" userId="S::arjan.van.der.meer@asml.com::008f28a2-684e-4523-b3ca-dcb37d9c3e5d" providerId="AD"/>
      </p:ext>
    </p:extLst>
  </p:cmAuthor>
  <p:cmAuthor id="4" name="Wytse Oortwijn" initials="WO" lastIdx="56" clrIdx="3">
    <p:extLst>
      <p:ext uri="{19B8F6BF-5375-455C-9EA6-DF929625EA0E}">
        <p15:presenceInfo xmlns:p15="http://schemas.microsoft.com/office/powerpoint/2012/main" userId="S::wytse.oortwijn@asml.com::6365480a-dc8d-4ff6-9ac3-d587988518b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19B"/>
    <a:srgbClr val="787878"/>
    <a:srgbClr val="DFE3E7"/>
    <a:srgbClr val="000000"/>
    <a:srgbClr val="005D71"/>
    <a:srgbClr val="BFBFBF"/>
    <a:srgbClr val="DED2DF"/>
    <a:srgbClr val="19D119"/>
    <a:srgbClr val="D3D3D3"/>
    <a:srgbClr val="FF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30AD2E-1055-46DE-B5EA-11DA8BD19707}" v="8" dt="2021-11-22T14:41:34.8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083" autoAdjust="0"/>
  </p:normalViewPr>
  <p:slideViewPr>
    <p:cSldViewPr snapToGrid="0">
      <p:cViewPr varScale="1">
        <p:scale>
          <a:sx n="97" d="100"/>
          <a:sy n="97" d="100"/>
        </p:scale>
        <p:origin x="996" y="9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nis Hendriks - DHFS" userId="ceacf04f-0b47-4d6f-9d04-eca8f76fbd3c" providerId="ADAL" clId="{6BF22A83-B45F-4C2E-919F-A38CCDC27124}"/>
    <pc:docChg chg="undo custSel addSld delSld modSld sldOrd modMainMaster addSection modSection">
      <pc:chgData name="Dennis Hendriks - DHFS" userId="ceacf04f-0b47-4d6f-9d04-eca8f76fbd3c" providerId="ADAL" clId="{6BF22A83-B45F-4C2E-919F-A38CCDC27124}" dt="2021-11-02T08:51:07.676" v="5573" actId="47"/>
      <pc:docMkLst>
        <pc:docMk/>
      </pc:docMkLst>
      <pc:sldChg chg="modSp mod">
        <pc:chgData name="Dennis Hendriks - DHFS" userId="ceacf04f-0b47-4d6f-9d04-eca8f76fbd3c" providerId="ADAL" clId="{6BF22A83-B45F-4C2E-919F-A38CCDC27124}" dt="2021-10-27T06:55:19.879" v="34" actId="20577"/>
        <pc:sldMkLst>
          <pc:docMk/>
          <pc:sldMk cId="1288819339" sldId="352"/>
        </pc:sldMkLst>
        <pc:spChg chg="mod">
          <ac:chgData name="Dennis Hendriks - DHFS" userId="ceacf04f-0b47-4d6f-9d04-eca8f76fbd3c" providerId="ADAL" clId="{6BF22A83-B45F-4C2E-919F-A38CCDC27124}" dt="2021-10-27T06:55:19.879" v="34" actId="20577"/>
          <ac:spMkLst>
            <pc:docMk/>
            <pc:sldMk cId="1288819339" sldId="352"/>
            <ac:spMk id="8" creationId="{F3097622-C1C0-49DB-A38F-BD9450C26892}"/>
          </ac:spMkLst>
        </pc:spChg>
      </pc:sldChg>
      <pc:sldChg chg="addSp modSp">
        <pc:chgData name="Dennis Hendriks - DHFS" userId="ceacf04f-0b47-4d6f-9d04-eca8f76fbd3c" providerId="ADAL" clId="{6BF22A83-B45F-4C2E-919F-A38CCDC27124}" dt="2021-10-27T06:56:32.281" v="37"/>
        <pc:sldMkLst>
          <pc:docMk/>
          <pc:sldMk cId="77635773" sldId="1022"/>
        </pc:sldMkLst>
        <pc:picChg chg="add mod">
          <ac:chgData name="Dennis Hendriks - DHFS" userId="ceacf04f-0b47-4d6f-9d04-eca8f76fbd3c" providerId="ADAL" clId="{6BF22A83-B45F-4C2E-919F-A38CCDC27124}" dt="2021-10-27T06:56:32.281" v="37"/>
          <ac:picMkLst>
            <pc:docMk/>
            <pc:sldMk cId="77635773" sldId="1022"/>
            <ac:picMk id="95" creationId="{BD73DEC3-7207-49A5-B66D-9615852B08BF}"/>
          </ac:picMkLst>
        </pc:picChg>
      </pc:sldChg>
      <pc:sldChg chg="addSp modSp">
        <pc:chgData name="Dennis Hendriks - DHFS" userId="ceacf04f-0b47-4d6f-9d04-eca8f76fbd3c" providerId="ADAL" clId="{6BF22A83-B45F-4C2E-919F-A38CCDC27124}" dt="2021-10-27T06:56:33.363" v="38"/>
        <pc:sldMkLst>
          <pc:docMk/>
          <pc:sldMk cId="2771001521" sldId="1024"/>
        </pc:sldMkLst>
        <pc:picChg chg="add mod">
          <ac:chgData name="Dennis Hendriks - DHFS" userId="ceacf04f-0b47-4d6f-9d04-eca8f76fbd3c" providerId="ADAL" clId="{6BF22A83-B45F-4C2E-919F-A38CCDC27124}" dt="2021-10-27T06:56:33.363" v="38"/>
          <ac:picMkLst>
            <pc:docMk/>
            <pc:sldMk cId="2771001521" sldId="1024"/>
            <ac:picMk id="93" creationId="{5AD45502-1F77-4DAA-8FBC-9FA10155C603}"/>
          </ac:picMkLst>
        </pc:picChg>
      </pc:sldChg>
      <pc:sldChg chg="addSp delSp modSp mod">
        <pc:chgData name="Dennis Hendriks - DHFS" userId="ceacf04f-0b47-4d6f-9d04-eca8f76fbd3c" providerId="ADAL" clId="{6BF22A83-B45F-4C2E-919F-A38CCDC27124}" dt="2021-10-27T08:19:58.810" v="2648" actId="20577"/>
        <pc:sldMkLst>
          <pc:docMk/>
          <pc:sldMk cId="3438095514" sldId="1040"/>
        </pc:sldMkLst>
        <pc:spChg chg="mod">
          <ac:chgData name="Dennis Hendriks - DHFS" userId="ceacf04f-0b47-4d6f-9d04-eca8f76fbd3c" providerId="ADAL" clId="{6BF22A83-B45F-4C2E-919F-A38CCDC27124}" dt="2021-10-27T08:19:36.115" v="2588" actId="20577"/>
          <ac:spMkLst>
            <pc:docMk/>
            <pc:sldMk cId="3438095514" sldId="1040"/>
            <ac:spMk id="2" creationId="{2AEBC816-FE4A-4DE3-9455-FC003C604A99}"/>
          </ac:spMkLst>
        </pc:spChg>
        <pc:spChg chg="del mod">
          <ac:chgData name="Dennis Hendriks - DHFS" userId="ceacf04f-0b47-4d6f-9d04-eca8f76fbd3c" providerId="ADAL" clId="{6BF22A83-B45F-4C2E-919F-A38CCDC27124}" dt="2021-10-27T07:13:49.972" v="635"/>
          <ac:spMkLst>
            <pc:docMk/>
            <pc:sldMk cId="3438095514" sldId="1040"/>
            <ac:spMk id="5" creationId="{FCD37531-A61C-4471-9567-231E5E36593E}"/>
          </ac:spMkLst>
        </pc:spChg>
        <pc:spChg chg="add del mod">
          <ac:chgData name="Dennis Hendriks - DHFS" userId="ceacf04f-0b47-4d6f-9d04-eca8f76fbd3c" providerId="ADAL" clId="{6BF22A83-B45F-4C2E-919F-A38CCDC27124}" dt="2021-10-27T07:13:41.740" v="630" actId="22"/>
          <ac:spMkLst>
            <pc:docMk/>
            <pc:sldMk cId="3438095514" sldId="1040"/>
            <ac:spMk id="8" creationId="{D0255C48-F40A-457C-8FA2-5755BC3B7BB4}"/>
          </ac:spMkLst>
        </pc:spChg>
        <pc:spChg chg="add mod">
          <ac:chgData name="Dennis Hendriks - DHFS" userId="ceacf04f-0b47-4d6f-9d04-eca8f76fbd3c" providerId="ADAL" clId="{6BF22A83-B45F-4C2E-919F-A38CCDC27124}" dt="2021-10-27T08:19:58.810" v="2648" actId="20577"/>
          <ac:spMkLst>
            <pc:docMk/>
            <pc:sldMk cId="3438095514" sldId="1040"/>
            <ac:spMk id="9" creationId="{EF6FAA13-1A51-4EFF-81EC-3748C18126AD}"/>
          </ac:spMkLst>
        </pc:spChg>
        <pc:picChg chg="mod">
          <ac:chgData name="Dennis Hendriks - DHFS" userId="ceacf04f-0b47-4d6f-9d04-eca8f76fbd3c" providerId="ADAL" clId="{6BF22A83-B45F-4C2E-919F-A38CCDC27124}" dt="2021-10-27T08:19:39.016" v="2616" actId="1038"/>
          <ac:picMkLst>
            <pc:docMk/>
            <pc:sldMk cId="3438095514" sldId="1040"/>
            <ac:picMk id="7" creationId="{029A410B-75A2-41A1-A370-06F7A7A84426}"/>
          </ac:picMkLst>
        </pc:picChg>
      </pc:sldChg>
      <pc:sldChg chg="modSp mod">
        <pc:chgData name="Dennis Hendriks - DHFS" userId="ceacf04f-0b47-4d6f-9d04-eca8f76fbd3c" providerId="ADAL" clId="{6BF22A83-B45F-4C2E-919F-A38CCDC27124}" dt="2021-10-27T08:09:57.007" v="2410" actId="15"/>
        <pc:sldMkLst>
          <pc:docMk/>
          <pc:sldMk cId="3312085732" sldId="1041"/>
        </pc:sldMkLst>
        <pc:spChg chg="mod">
          <ac:chgData name="Dennis Hendriks - DHFS" userId="ceacf04f-0b47-4d6f-9d04-eca8f76fbd3c" providerId="ADAL" clId="{6BF22A83-B45F-4C2E-919F-A38CCDC27124}" dt="2021-10-27T08:09:57.007" v="2410" actId="15"/>
          <ac:spMkLst>
            <pc:docMk/>
            <pc:sldMk cId="3312085732" sldId="1041"/>
            <ac:spMk id="5" creationId="{0605AAED-6A4F-46E6-ADEA-9460F6C56118}"/>
          </ac:spMkLst>
        </pc:spChg>
      </pc:sldChg>
      <pc:sldChg chg="modSp mod">
        <pc:chgData name="Dennis Hendriks - DHFS" userId="ceacf04f-0b47-4d6f-9d04-eca8f76fbd3c" providerId="ADAL" clId="{6BF22A83-B45F-4C2E-919F-A38CCDC27124}" dt="2021-10-28T12:39:34.233" v="5115" actId="20577"/>
        <pc:sldMkLst>
          <pc:docMk/>
          <pc:sldMk cId="1154303861" sldId="1050"/>
        </pc:sldMkLst>
        <pc:spChg chg="mod">
          <ac:chgData name="Dennis Hendriks - DHFS" userId="ceacf04f-0b47-4d6f-9d04-eca8f76fbd3c" providerId="ADAL" clId="{6BF22A83-B45F-4C2E-919F-A38CCDC27124}" dt="2021-10-28T12:39:34.233" v="5115" actId="20577"/>
          <ac:spMkLst>
            <pc:docMk/>
            <pc:sldMk cId="1154303861" sldId="1050"/>
            <ac:spMk id="2" creationId="{087527A1-039F-4525-B42F-B1E05B958DCD}"/>
          </ac:spMkLst>
        </pc:spChg>
        <pc:spChg chg="mod">
          <ac:chgData name="Dennis Hendriks - DHFS" userId="ceacf04f-0b47-4d6f-9d04-eca8f76fbd3c" providerId="ADAL" clId="{6BF22A83-B45F-4C2E-919F-A38CCDC27124}" dt="2021-10-27T08:04:50.036" v="2217" actId="15"/>
          <ac:spMkLst>
            <pc:docMk/>
            <pc:sldMk cId="1154303861" sldId="1050"/>
            <ac:spMk id="6" creationId="{63CAB3D5-5AFC-48B3-AB4B-D3886C83AA0B}"/>
          </ac:spMkLst>
        </pc:spChg>
      </pc:sldChg>
      <pc:sldChg chg="addSp delSp modSp mod modAnim">
        <pc:chgData name="Dennis Hendriks - DHFS" userId="ceacf04f-0b47-4d6f-9d04-eca8f76fbd3c" providerId="ADAL" clId="{6BF22A83-B45F-4C2E-919F-A38CCDC27124}" dt="2021-10-28T12:39:55.063" v="5121" actId="20577"/>
        <pc:sldMkLst>
          <pc:docMk/>
          <pc:sldMk cId="248328226" sldId="1051"/>
        </pc:sldMkLst>
        <pc:spChg chg="mod">
          <ac:chgData name="Dennis Hendriks - DHFS" userId="ceacf04f-0b47-4d6f-9d04-eca8f76fbd3c" providerId="ADAL" clId="{6BF22A83-B45F-4C2E-919F-A38CCDC27124}" dt="2021-10-28T12:39:55.063" v="5121" actId="20577"/>
          <ac:spMkLst>
            <pc:docMk/>
            <pc:sldMk cId="248328226" sldId="1051"/>
            <ac:spMk id="2" creationId="{AD512730-BA7F-49C3-8EDD-9ED51298783B}"/>
          </ac:spMkLst>
        </pc:spChg>
        <pc:spChg chg="mod">
          <ac:chgData name="Dennis Hendriks - DHFS" userId="ceacf04f-0b47-4d6f-9d04-eca8f76fbd3c" providerId="ADAL" clId="{6BF22A83-B45F-4C2E-919F-A38CCDC27124}" dt="2021-10-27T08:05:16.159" v="2252" actId="1036"/>
          <ac:spMkLst>
            <pc:docMk/>
            <pc:sldMk cId="248328226" sldId="1051"/>
            <ac:spMk id="6" creationId="{5FCAB3F2-C9E4-4074-934B-37E7613D4ABB}"/>
          </ac:spMkLst>
        </pc:spChg>
        <pc:spChg chg="mod">
          <ac:chgData name="Dennis Hendriks - DHFS" userId="ceacf04f-0b47-4d6f-9d04-eca8f76fbd3c" providerId="ADAL" clId="{6BF22A83-B45F-4C2E-919F-A38CCDC27124}" dt="2021-10-27T08:05:16.159" v="2252" actId="1036"/>
          <ac:spMkLst>
            <pc:docMk/>
            <pc:sldMk cId="248328226" sldId="1051"/>
            <ac:spMk id="7" creationId="{E5F2A22C-E0C3-4C4B-9FF3-BCBD6569068E}"/>
          </ac:spMkLst>
        </pc:spChg>
        <pc:spChg chg="mod">
          <ac:chgData name="Dennis Hendriks - DHFS" userId="ceacf04f-0b47-4d6f-9d04-eca8f76fbd3c" providerId="ADAL" clId="{6BF22A83-B45F-4C2E-919F-A38CCDC27124}" dt="2021-10-27T08:05:16.159" v="2252" actId="1036"/>
          <ac:spMkLst>
            <pc:docMk/>
            <pc:sldMk cId="248328226" sldId="1051"/>
            <ac:spMk id="9" creationId="{CC94035F-7676-4273-A0DB-AB1DDC3163F5}"/>
          </ac:spMkLst>
        </pc:spChg>
        <pc:spChg chg="mod">
          <ac:chgData name="Dennis Hendriks - DHFS" userId="ceacf04f-0b47-4d6f-9d04-eca8f76fbd3c" providerId="ADAL" clId="{6BF22A83-B45F-4C2E-919F-A38CCDC27124}" dt="2021-10-27T08:05:16.159" v="2252" actId="1036"/>
          <ac:spMkLst>
            <pc:docMk/>
            <pc:sldMk cId="248328226" sldId="1051"/>
            <ac:spMk id="10" creationId="{D863802D-021F-4854-A0F8-C744318C1AAD}"/>
          </ac:spMkLst>
        </pc:spChg>
        <pc:spChg chg="mod">
          <ac:chgData name="Dennis Hendriks - DHFS" userId="ceacf04f-0b47-4d6f-9d04-eca8f76fbd3c" providerId="ADAL" clId="{6BF22A83-B45F-4C2E-919F-A38CCDC27124}" dt="2021-10-27T08:07:00.139" v="2382" actId="1076"/>
          <ac:spMkLst>
            <pc:docMk/>
            <pc:sldMk cId="248328226" sldId="1051"/>
            <ac:spMk id="21" creationId="{064CC481-AA7D-47C8-B879-9FA695C8A616}"/>
          </ac:spMkLst>
        </pc:spChg>
        <pc:spChg chg="mod">
          <ac:chgData name="Dennis Hendriks - DHFS" userId="ceacf04f-0b47-4d6f-9d04-eca8f76fbd3c" providerId="ADAL" clId="{6BF22A83-B45F-4C2E-919F-A38CCDC27124}" dt="2021-10-27T08:05:16.159" v="2252" actId="1036"/>
          <ac:spMkLst>
            <pc:docMk/>
            <pc:sldMk cId="248328226" sldId="1051"/>
            <ac:spMk id="26" creationId="{C79FEB23-E5C8-4370-8831-38D12F424816}"/>
          </ac:spMkLst>
        </pc:spChg>
        <pc:spChg chg="mod">
          <ac:chgData name="Dennis Hendriks - DHFS" userId="ceacf04f-0b47-4d6f-9d04-eca8f76fbd3c" providerId="ADAL" clId="{6BF22A83-B45F-4C2E-919F-A38CCDC27124}" dt="2021-10-27T08:05:16.159" v="2252" actId="1036"/>
          <ac:spMkLst>
            <pc:docMk/>
            <pc:sldMk cId="248328226" sldId="1051"/>
            <ac:spMk id="27" creationId="{3CCCA85F-527F-4975-947F-48B0BFADEF1E}"/>
          </ac:spMkLst>
        </pc:spChg>
        <pc:spChg chg="mod">
          <ac:chgData name="Dennis Hendriks - DHFS" userId="ceacf04f-0b47-4d6f-9d04-eca8f76fbd3c" providerId="ADAL" clId="{6BF22A83-B45F-4C2E-919F-A38CCDC27124}" dt="2021-10-27T08:05:16.159" v="2252" actId="1036"/>
          <ac:spMkLst>
            <pc:docMk/>
            <pc:sldMk cId="248328226" sldId="1051"/>
            <ac:spMk id="28" creationId="{4C485E54-BD65-4AB2-A903-DF997500B4F0}"/>
          </ac:spMkLst>
        </pc:spChg>
        <pc:spChg chg="mod">
          <ac:chgData name="Dennis Hendriks - DHFS" userId="ceacf04f-0b47-4d6f-9d04-eca8f76fbd3c" providerId="ADAL" clId="{6BF22A83-B45F-4C2E-919F-A38CCDC27124}" dt="2021-10-27T08:05:16.159" v="2252" actId="1036"/>
          <ac:spMkLst>
            <pc:docMk/>
            <pc:sldMk cId="248328226" sldId="1051"/>
            <ac:spMk id="29" creationId="{73606000-4A1B-43E9-9AE3-E4F65EEB94AA}"/>
          </ac:spMkLst>
        </pc:spChg>
        <pc:spChg chg="mod">
          <ac:chgData name="Dennis Hendriks - DHFS" userId="ceacf04f-0b47-4d6f-9d04-eca8f76fbd3c" providerId="ADAL" clId="{6BF22A83-B45F-4C2E-919F-A38CCDC27124}" dt="2021-10-27T08:05:58.834" v="2304" actId="20577"/>
          <ac:spMkLst>
            <pc:docMk/>
            <pc:sldMk cId="248328226" sldId="1051"/>
            <ac:spMk id="31" creationId="{8F75C490-68B8-4829-A63C-861F89B2B63D}"/>
          </ac:spMkLst>
        </pc:spChg>
        <pc:spChg chg="mod">
          <ac:chgData name="Dennis Hendriks - DHFS" userId="ceacf04f-0b47-4d6f-9d04-eca8f76fbd3c" providerId="ADAL" clId="{6BF22A83-B45F-4C2E-919F-A38CCDC27124}" dt="2021-10-27T08:12:04.644" v="2426" actId="207"/>
          <ac:spMkLst>
            <pc:docMk/>
            <pc:sldMk cId="248328226" sldId="1051"/>
            <ac:spMk id="32" creationId="{C29A773C-527E-4A71-8AAB-A04A8E88F4D5}"/>
          </ac:spMkLst>
        </pc:spChg>
        <pc:spChg chg="mod">
          <ac:chgData name="Dennis Hendriks - DHFS" userId="ceacf04f-0b47-4d6f-9d04-eca8f76fbd3c" providerId="ADAL" clId="{6BF22A83-B45F-4C2E-919F-A38CCDC27124}" dt="2021-10-27T08:12:04.644" v="2426" actId="207"/>
          <ac:spMkLst>
            <pc:docMk/>
            <pc:sldMk cId="248328226" sldId="1051"/>
            <ac:spMk id="33" creationId="{ADB5BE8B-3C7C-42E2-AF48-7CCF51481193}"/>
          </ac:spMkLst>
        </pc:spChg>
        <pc:spChg chg="mod">
          <ac:chgData name="Dennis Hendriks - DHFS" userId="ceacf04f-0b47-4d6f-9d04-eca8f76fbd3c" providerId="ADAL" clId="{6BF22A83-B45F-4C2E-919F-A38CCDC27124}" dt="2021-10-27T08:12:04.644" v="2426" actId="207"/>
          <ac:spMkLst>
            <pc:docMk/>
            <pc:sldMk cId="248328226" sldId="1051"/>
            <ac:spMk id="34" creationId="{F2B94BEE-467D-4CEB-80C8-39D8D02B319D}"/>
          </ac:spMkLst>
        </pc:spChg>
        <pc:spChg chg="mod">
          <ac:chgData name="Dennis Hendriks - DHFS" userId="ceacf04f-0b47-4d6f-9d04-eca8f76fbd3c" providerId="ADAL" clId="{6BF22A83-B45F-4C2E-919F-A38CCDC27124}" dt="2021-10-27T08:12:04.644" v="2426" actId="207"/>
          <ac:spMkLst>
            <pc:docMk/>
            <pc:sldMk cId="248328226" sldId="1051"/>
            <ac:spMk id="35" creationId="{8E52A959-4E6E-4F5E-9221-F54D32BC2D6C}"/>
          </ac:spMkLst>
        </pc:spChg>
        <pc:picChg chg="mod">
          <ac:chgData name="Dennis Hendriks - DHFS" userId="ceacf04f-0b47-4d6f-9d04-eca8f76fbd3c" providerId="ADAL" clId="{6BF22A83-B45F-4C2E-919F-A38CCDC27124}" dt="2021-10-27T08:05:16.159" v="2252" actId="1036"/>
          <ac:picMkLst>
            <pc:docMk/>
            <pc:sldMk cId="248328226" sldId="1051"/>
            <ac:picMk id="8" creationId="{02425CCB-A86F-4774-826F-50653CB9646C}"/>
          </ac:picMkLst>
        </pc:picChg>
        <pc:cxnChg chg="mod">
          <ac:chgData name="Dennis Hendriks - DHFS" userId="ceacf04f-0b47-4d6f-9d04-eca8f76fbd3c" providerId="ADAL" clId="{6BF22A83-B45F-4C2E-919F-A38CCDC27124}" dt="2021-10-27T08:05:16.159" v="2252" actId="1036"/>
          <ac:cxnSpMkLst>
            <pc:docMk/>
            <pc:sldMk cId="248328226" sldId="1051"/>
            <ac:cxnSpMk id="12" creationId="{43910F97-04EE-4F28-84C9-329B66D04676}"/>
          </ac:cxnSpMkLst>
        </pc:cxnChg>
        <pc:cxnChg chg="mod">
          <ac:chgData name="Dennis Hendriks - DHFS" userId="ceacf04f-0b47-4d6f-9d04-eca8f76fbd3c" providerId="ADAL" clId="{6BF22A83-B45F-4C2E-919F-A38CCDC27124}" dt="2021-10-27T08:07:00.139" v="2382" actId="1076"/>
          <ac:cxnSpMkLst>
            <pc:docMk/>
            <pc:sldMk cId="248328226" sldId="1051"/>
            <ac:cxnSpMk id="13" creationId="{C3F165C6-37E7-47BC-AD2E-A6DD072F59F8}"/>
          </ac:cxnSpMkLst>
        </pc:cxnChg>
        <pc:cxnChg chg="add del mod">
          <ac:chgData name="Dennis Hendriks - DHFS" userId="ceacf04f-0b47-4d6f-9d04-eca8f76fbd3c" providerId="ADAL" clId="{6BF22A83-B45F-4C2E-919F-A38CCDC27124}" dt="2021-10-27T08:07:00.139" v="2382" actId="1076"/>
          <ac:cxnSpMkLst>
            <pc:docMk/>
            <pc:sldMk cId="248328226" sldId="1051"/>
            <ac:cxnSpMk id="15" creationId="{660BC2E9-BCF3-4982-B359-2CDD4CB90C95}"/>
          </ac:cxnSpMkLst>
        </pc:cxnChg>
        <pc:cxnChg chg="mod">
          <ac:chgData name="Dennis Hendriks - DHFS" userId="ceacf04f-0b47-4d6f-9d04-eca8f76fbd3c" providerId="ADAL" clId="{6BF22A83-B45F-4C2E-919F-A38CCDC27124}" dt="2021-10-27T08:05:16.159" v="2252" actId="1036"/>
          <ac:cxnSpMkLst>
            <pc:docMk/>
            <pc:sldMk cId="248328226" sldId="1051"/>
            <ac:cxnSpMk id="16" creationId="{AE3F2C2B-D2EB-4527-B01C-DC121CE8AAF1}"/>
          </ac:cxnSpMkLst>
        </pc:cxnChg>
        <pc:cxnChg chg="mod">
          <ac:chgData name="Dennis Hendriks - DHFS" userId="ceacf04f-0b47-4d6f-9d04-eca8f76fbd3c" providerId="ADAL" clId="{6BF22A83-B45F-4C2E-919F-A38CCDC27124}" dt="2021-10-27T08:05:16.159" v="2252" actId="1036"/>
          <ac:cxnSpMkLst>
            <pc:docMk/>
            <pc:sldMk cId="248328226" sldId="1051"/>
            <ac:cxnSpMk id="18" creationId="{C7B9251E-FB60-4761-9894-FA6E2A5190E0}"/>
          </ac:cxnSpMkLst>
        </pc:cxnChg>
        <pc:cxnChg chg="mod">
          <ac:chgData name="Dennis Hendriks - DHFS" userId="ceacf04f-0b47-4d6f-9d04-eca8f76fbd3c" providerId="ADAL" clId="{6BF22A83-B45F-4C2E-919F-A38CCDC27124}" dt="2021-10-27T08:07:00.139" v="2382" actId="1076"/>
          <ac:cxnSpMkLst>
            <pc:docMk/>
            <pc:sldMk cId="248328226" sldId="1051"/>
            <ac:cxnSpMk id="19" creationId="{61F78CDF-6773-4B82-ADD4-DA5E366DD155}"/>
          </ac:cxnSpMkLst>
        </pc:cxnChg>
        <pc:cxnChg chg="mod">
          <ac:chgData name="Dennis Hendriks - DHFS" userId="ceacf04f-0b47-4d6f-9d04-eca8f76fbd3c" providerId="ADAL" clId="{6BF22A83-B45F-4C2E-919F-A38CCDC27124}" dt="2021-10-27T08:05:16.159" v="2252" actId="1036"/>
          <ac:cxnSpMkLst>
            <pc:docMk/>
            <pc:sldMk cId="248328226" sldId="1051"/>
            <ac:cxnSpMk id="20" creationId="{34AC8F5A-784D-4A1D-B3B9-C1369619B704}"/>
          </ac:cxnSpMkLst>
        </pc:cxnChg>
        <pc:cxnChg chg="mod">
          <ac:chgData name="Dennis Hendriks - DHFS" userId="ceacf04f-0b47-4d6f-9d04-eca8f76fbd3c" providerId="ADAL" clId="{6BF22A83-B45F-4C2E-919F-A38CCDC27124}" dt="2021-10-27T08:05:16.159" v="2252" actId="1036"/>
          <ac:cxnSpMkLst>
            <pc:docMk/>
            <pc:sldMk cId="248328226" sldId="1051"/>
            <ac:cxnSpMk id="22" creationId="{BC8A6310-1947-4C19-83A4-FD91367D1DBB}"/>
          </ac:cxnSpMkLst>
        </pc:cxnChg>
        <pc:cxnChg chg="mod">
          <ac:chgData name="Dennis Hendriks - DHFS" userId="ceacf04f-0b47-4d6f-9d04-eca8f76fbd3c" providerId="ADAL" clId="{6BF22A83-B45F-4C2E-919F-A38CCDC27124}" dt="2021-10-27T08:07:00.139" v="2382" actId="1076"/>
          <ac:cxnSpMkLst>
            <pc:docMk/>
            <pc:sldMk cId="248328226" sldId="1051"/>
            <ac:cxnSpMk id="23" creationId="{A25D5F05-C62F-4428-9B6B-27888D2BE099}"/>
          </ac:cxnSpMkLst>
        </pc:cxnChg>
        <pc:cxnChg chg="mod">
          <ac:chgData name="Dennis Hendriks - DHFS" userId="ceacf04f-0b47-4d6f-9d04-eca8f76fbd3c" providerId="ADAL" clId="{6BF22A83-B45F-4C2E-919F-A38CCDC27124}" dt="2021-10-27T08:07:00.139" v="2382" actId="1076"/>
          <ac:cxnSpMkLst>
            <pc:docMk/>
            <pc:sldMk cId="248328226" sldId="1051"/>
            <ac:cxnSpMk id="25" creationId="{36551DD3-35A0-4CD8-AF2E-610F2D7D712F}"/>
          </ac:cxnSpMkLst>
        </pc:cxnChg>
        <pc:cxnChg chg="add del mod">
          <ac:chgData name="Dennis Hendriks - DHFS" userId="ceacf04f-0b47-4d6f-9d04-eca8f76fbd3c" providerId="ADAL" clId="{6BF22A83-B45F-4C2E-919F-A38CCDC27124}" dt="2021-10-27T07:58:54.342" v="2082"/>
          <ac:cxnSpMkLst>
            <pc:docMk/>
            <pc:sldMk cId="248328226" sldId="1051"/>
            <ac:cxnSpMk id="37" creationId="{7874CF2C-5FEB-403E-9CD2-B1FB2229ECF1}"/>
          </ac:cxnSpMkLst>
        </pc:cxnChg>
      </pc:sldChg>
      <pc:sldChg chg="modSp mod modAnim">
        <pc:chgData name="Dennis Hendriks - DHFS" userId="ceacf04f-0b47-4d6f-9d04-eca8f76fbd3c" providerId="ADAL" clId="{6BF22A83-B45F-4C2E-919F-A38CCDC27124}" dt="2021-10-28T12:40:01.274" v="5143" actId="20577"/>
        <pc:sldMkLst>
          <pc:docMk/>
          <pc:sldMk cId="3007114066" sldId="1052"/>
        </pc:sldMkLst>
        <pc:spChg chg="mod">
          <ac:chgData name="Dennis Hendriks - DHFS" userId="ceacf04f-0b47-4d6f-9d04-eca8f76fbd3c" providerId="ADAL" clId="{6BF22A83-B45F-4C2E-919F-A38CCDC27124}" dt="2021-10-28T12:40:01.274" v="5143" actId="20577"/>
          <ac:spMkLst>
            <pc:docMk/>
            <pc:sldMk cId="3007114066" sldId="1052"/>
            <ac:spMk id="2" creationId="{AA28B349-549E-4D80-B022-F6318DB4BF38}"/>
          </ac:spMkLst>
        </pc:spChg>
        <pc:spChg chg="mod">
          <ac:chgData name="Dennis Hendriks - DHFS" userId="ceacf04f-0b47-4d6f-9d04-eca8f76fbd3c" providerId="ADAL" clId="{6BF22A83-B45F-4C2E-919F-A38CCDC27124}" dt="2021-10-27T08:06:38.041" v="2369" actId="1037"/>
          <ac:spMkLst>
            <pc:docMk/>
            <pc:sldMk cId="3007114066" sldId="1052"/>
            <ac:spMk id="7" creationId="{4F6AC07D-B213-4BBA-B563-9C462627E729}"/>
          </ac:spMkLst>
        </pc:spChg>
        <pc:spChg chg="mod">
          <ac:chgData name="Dennis Hendriks - DHFS" userId="ceacf04f-0b47-4d6f-9d04-eca8f76fbd3c" providerId="ADAL" clId="{6BF22A83-B45F-4C2E-919F-A38CCDC27124}" dt="2021-10-27T08:06:38.041" v="2369" actId="1037"/>
          <ac:spMkLst>
            <pc:docMk/>
            <pc:sldMk cId="3007114066" sldId="1052"/>
            <ac:spMk id="9" creationId="{EC660CBA-5D72-4983-8514-C6F65B6515D0}"/>
          </ac:spMkLst>
        </pc:spChg>
        <pc:spChg chg="mod">
          <ac:chgData name="Dennis Hendriks - DHFS" userId="ceacf04f-0b47-4d6f-9d04-eca8f76fbd3c" providerId="ADAL" clId="{6BF22A83-B45F-4C2E-919F-A38CCDC27124}" dt="2021-10-27T08:06:38.041" v="2369" actId="1037"/>
          <ac:spMkLst>
            <pc:docMk/>
            <pc:sldMk cId="3007114066" sldId="1052"/>
            <ac:spMk id="10" creationId="{22BED916-59ED-410E-8624-43CFFDEA338E}"/>
          </ac:spMkLst>
        </pc:spChg>
        <pc:spChg chg="mod">
          <ac:chgData name="Dennis Hendriks - DHFS" userId="ceacf04f-0b47-4d6f-9d04-eca8f76fbd3c" providerId="ADAL" clId="{6BF22A83-B45F-4C2E-919F-A38CCDC27124}" dt="2021-10-27T08:06:38.041" v="2369" actId="1037"/>
          <ac:spMkLst>
            <pc:docMk/>
            <pc:sldMk cId="3007114066" sldId="1052"/>
            <ac:spMk id="11" creationId="{A2A1CB8C-C337-4A68-99D5-3D6C34D23F97}"/>
          </ac:spMkLst>
        </pc:spChg>
        <pc:spChg chg="mod">
          <ac:chgData name="Dennis Hendriks - DHFS" userId="ceacf04f-0b47-4d6f-9d04-eca8f76fbd3c" providerId="ADAL" clId="{6BF22A83-B45F-4C2E-919F-A38CCDC27124}" dt="2021-10-27T08:07:14.609" v="2390" actId="1035"/>
          <ac:spMkLst>
            <pc:docMk/>
            <pc:sldMk cId="3007114066" sldId="1052"/>
            <ac:spMk id="20" creationId="{83106891-6A97-4126-AF33-1F2CF6794F7A}"/>
          </ac:spMkLst>
        </pc:spChg>
        <pc:spChg chg="mod">
          <ac:chgData name="Dennis Hendriks - DHFS" userId="ceacf04f-0b47-4d6f-9d04-eca8f76fbd3c" providerId="ADAL" clId="{6BF22A83-B45F-4C2E-919F-A38CCDC27124}" dt="2021-10-27T08:11:59.131" v="2425" actId="207"/>
          <ac:spMkLst>
            <pc:docMk/>
            <pc:sldMk cId="3007114066" sldId="1052"/>
            <ac:spMk id="26" creationId="{A606E920-4333-4B15-ADB0-6D89C44950BD}"/>
          </ac:spMkLst>
        </pc:spChg>
        <pc:spChg chg="mod">
          <ac:chgData name="Dennis Hendriks - DHFS" userId="ceacf04f-0b47-4d6f-9d04-eca8f76fbd3c" providerId="ADAL" clId="{6BF22A83-B45F-4C2E-919F-A38CCDC27124}" dt="2021-10-27T08:06:38.041" v="2369" actId="1037"/>
          <ac:spMkLst>
            <pc:docMk/>
            <pc:sldMk cId="3007114066" sldId="1052"/>
            <ac:spMk id="27" creationId="{E7310465-7395-49D1-A213-C24E2CD4C4E1}"/>
          </ac:spMkLst>
        </pc:spChg>
        <pc:spChg chg="mod">
          <ac:chgData name="Dennis Hendriks - DHFS" userId="ceacf04f-0b47-4d6f-9d04-eca8f76fbd3c" providerId="ADAL" clId="{6BF22A83-B45F-4C2E-919F-A38CCDC27124}" dt="2021-10-27T08:06:38.041" v="2369" actId="1037"/>
          <ac:spMkLst>
            <pc:docMk/>
            <pc:sldMk cId="3007114066" sldId="1052"/>
            <ac:spMk id="28" creationId="{64E0EED2-ACFE-4FEA-BACD-9845823E2DDB}"/>
          </ac:spMkLst>
        </pc:spChg>
        <pc:spChg chg="mod">
          <ac:chgData name="Dennis Hendriks - DHFS" userId="ceacf04f-0b47-4d6f-9d04-eca8f76fbd3c" providerId="ADAL" clId="{6BF22A83-B45F-4C2E-919F-A38CCDC27124}" dt="2021-10-27T08:06:38.041" v="2369" actId="1037"/>
          <ac:spMkLst>
            <pc:docMk/>
            <pc:sldMk cId="3007114066" sldId="1052"/>
            <ac:spMk id="29" creationId="{897B541F-4EF6-48C0-9925-84365FFE9561}"/>
          </ac:spMkLst>
        </pc:spChg>
        <pc:spChg chg="mod">
          <ac:chgData name="Dennis Hendriks - DHFS" userId="ceacf04f-0b47-4d6f-9d04-eca8f76fbd3c" providerId="ADAL" clId="{6BF22A83-B45F-4C2E-919F-A38CCDC27124}" dt="2021-10-27T08:06:48.673" v="2381" actId="14100"/>
          <ac:spMkLst>
            <pc:docMk/>
            <pc:sldMk cId="3007114066" sldId="1052"/>
            <ac:spMk id="30" creationId="{D73BCAC4-8C25-4280-94C5-4CDEC81431FD}"/>
          </ac:spMkLst>
        </pc:spChg>
        <pc:spChg chg="mod">
          <ac:chgData name="Dennis Hendriks - DHFS" userId="ceacf04f-0b47-4d6f-9d04-eca8f76fbd3c" providerId="ADAL" clId="{6BF22A83-B45F-4C2E-919F-A38CCDC27124}" dt="2021-10-27T08:11:59.131" v="2425" actId="207"/>
          <ac:spMkLst>
            <pc:docMk/>
            <pc:sldMk cId="3007114066" sldId="1052"/>
            <ac:spMk id="31" creationId="{DF7286F5-D6AE-4DC4-A989-5A1B95F9F4F6}"/>
          </ac:spMkLst>
        </pc:spChg>
        <pc:spChg chg="mod">
          <ac:chgData name="Dennis Hendriks - DHFS" userId="ceacf04f-0b47-4d6f-9d04-eca8f76fbd3c" providerId="ADAL" clId="{6BF22A83-B45F-4C2E-919F-A38CCDC27124}" dt="2021-10-27T08:11:59.131" v="2425" actId="207"/>
          <ac:spMkLst>
            <pc:docMk/>
            <pc:sldMk cId="3007114066" sldId="1052"/>
            <ac:spMk id="32" creationId="{C79BA4E8-1811-4B61-8431-5BB15D513EC7}"/>
          </ac:spMkLst>
        </pc:spChg>
        <pc:spChg chg="mod">
          <ac:chgData name="Dennis Hendriks - DHFS" userId="ceacf04f-0b47-4d6f-9d04-eca8f76fbd3c" providerId="ADAL" clId="{6BF22A83-B45F-4C2E-919F-A38CCDC27124}" dt="2021-10-27T08:11:59.131" v="2425" actId="207"/>
          <ac:spMkLst>
            <pc:docMk/>
            <pc:sldMk cId="3007114066" sldId="1052"/>
            <ac:spMk id="33" creationId="{E514FC38-2160-4ABE-9420-1651A9BC26E8}"/>
          </ac:spMkLst>
        </pc:spChg>
        <pc:spChg chg="mod">
          <ac:chgData name="Dennis Hendriks - DHFS" userId="ceacf04f-0b47-4d6f-9d04-eca8f76fbd3c" providerId="ADAL" clId="{6BF22A83-B45F-4C2E-919F-A38CCDC27124}" dt="2021-10-27T08:07:14.609" v="2390" actId="1035"/>
          <ac:spMkLst>
            <pc:docMk/>
            <pc:sldMk cId="3007114066" sldId="1052"/>
            <ac:spMk id="34" creationId="{10ECFBA9-F895-43FC-9CB2-8C7C31A5D29C}"/>
          </ac:spMkLst>
        </pc:spChg>
        <pc:spChg chg="mod">
          <ac:chgData name="Dennis Hendriks - DHFS" userId="ceacf04f-0b47-4d6f-9d04-eca8f76fbd3c" providerId="ADAL" clId="{6BF22A83-B45F-4C2E-919F-A38CCDC27124}" dt="2021-10-27T08:07:14.609" v="2390" actId="1035"/>
          <ac:spMkLst>
            <pc:docMk/>
            <pc:sldMk cId="3007114066" sldId="1052"/>
            <ac:spMk id="35" creationId="{F59C9F29-D4AD-4E91-997D-992ED36644A5}"/>
          </ac:spMkLst>
        </pc:spChg>
        <pc:spChg chg="mod">
          <ac:chgData name="Dennis Hendriks - DHFS" userId="ceacf04f-0b47-4d6f-9d04-eca8f76fbd3c" providerId="ADAL" clId="{6BF22A83-B45F-4C2E-919F-A38CCDC27124}" dt="2021-10-27T08:07:14.609" v="2390" actId="1035"/>
          <ac:spMkLst>
            <pc:docMk/>
            <pc:sldMk cId="3007114066" sldId="1052"/>
            <ac:spMk id="36" creationId="{3C465C69-3919-48C0-929C-344227716234}"/>
          </ac:spMkLst>
        </pc:spChg>
        <pc:spChg chg="mod">
          <ac:chgData name="Dennis Hendriks - DHFS" userId="ceacf04f-0b47-4d6f-9d04-eca8f76fbd3c" providerId="ADAL" clId="{6BF22A83-B45F-4C2E-919F-A38CCDC27124}" dt="2021-10-27T08:07:14.609" v="2390" actId="1035"/>
          <ac:spMkLst>
            <pc:docMk/>
            <pc:sldMk cId="3007114066" sldId="1052"/>
            <ac:spMk id="37" creationId="{AEE008C8-07FB-431A-A283-C303C3DA5200}"/>
          </ac:spMkLst>
        </pc:spChg>
        <pc:spChg chg="mod">
          <ac:chgData name="Dennis Hendriks - DHFS" userId="ceacf04f-0b47-4d6f-9d04-eca8f76fbd3c" providerId="ADAL" clId="{6BF22A83-B45F-4C2E-919F-A38CCDC27124}" dt="2021-10-27T08:11:59.131" v="2425" actId="207"/>
          <ac:spMkLst>
            <pc:docMk/>
            <pc:sldMk cId="3007114066" sldId="1052"/>
            <ac:spMk id="44" creationId="{6AE15176-BBB1-4BBE-89F6-3E585080F964}"/>
          </ac:spMkLst>
        </pc:spChg>
        <pc:picChg chg="mod">
          <ac:chgData name="Dennis Hendriks - DHFS" userId="ceacf04f-0b47-4d6f-9d04-eca8f76fbd3c" providerId="ADAL" clId="{6BF22A83-B45F-4C2E-919F-A38CCDC27124}" dt="2021-10-27T08:06:38.041" v="2369" actId="1037"/>
          <ac:picMkLst>
            <pc:docMk/>
            <pc:sldMk cId="3007114066" sldId="1052"/>
            <ac:picMk id="8" creationId="{AFCF3AFA-F426-4CC6-9E51-27A0BC6DBD89}"/>
          </ac:picMkLst>
        </pc:picChg>
        <pc:cxnChg chg="mod">
          <ac:chgData name="Dennis Hendriks - DHFS" userId="ceacf04f-0b47-4d6f-9d04-eca8f76fbd3c" providerId="ADAL" clId="{6BF22A83-B45F-4C2E-919F-A38CCDC27124}" dt="2021-10-27T08:06:38.041" v="2369" actId="1037"/>
          <ac:cxnSpMkLst>
            <pc:docMk/>
            <pc:sldMk cId="3007114066" sldId="1052"/>
            <ac:cxnSpMk id="12" creationId="{4BDF891F-7C73-46F1-9593-583C47E13085}"/>
          </ac:cxnSpMkLst>
        </pc:cxnChg>
        <pc:cxnChg chg="mod">
          <ac:chgData name="Dennis Hendriks - DHFS" userId="ceacf04f-0b47-4d6f-9d04-eca8f76fbd3c" providerId="ADAL" clId="{6BF22A83-B45F-4C2E-919F-A38CCDC27124}" dt="2021-10-27T08:06:38.041" v="2369" actId="1037"/>
          <ac:cxnSpMkLst>
            <pc:docMk/>
            <pc:sldMk cId="3007114066" sldId="1052"/>
            <ac:cxnSpMk id="13" creationId="{AA42E6C1-B8CD-4442-8F98-3EB66EF4C92E}"/>
          </ac:cxnSpMkLst>
        </pc:cxnChg>
        <pc:cxnChg chg="mod">
          <ac:chgData name="Dennis Hendriks - DHFS" userId="ceacf04f-0b47-4d6f-9d04-eca8f76fbd3c" providerId="ADAL" clId="{6BF22A83-B45F-4C2E-919F-A38CCDC27124}" dt="2021-10-27T08:06:38.041" v="2369" actId="1037"/>
          <ac:cxnSpMkLst>
            <pc:docMk/>
            <pc:sldMk cId="3007114066" sldId="1052"/>
            <ac:cxnSpMk id="14" creationId="{3A22954C-8A3F-4E9B-A90A-F901F52D9D89}"/>
          </ac:cxnSpMkLst>
        </pc:cxnChg>
        <pc:cxnChg chg="mod">
          <ac:chgData name="Dennis Hendriks - DHFS" userId="ceacf04f-0b47-4d6f-9d04-eca8f76fbd3c" providerId="ADAL" clId="{6BF22A83-B45F-4C2E-919F-A38CCDC27124}" dt="2021-10-27T08:06:38.041" v="2369" actId="1037"/>
          <ac:cxnSpMkLst>
            <pc:docMk/>
            <pc:sldMk cId="3007114066" sldId="1052"/>
            <ac:cxnSpMk id="15" creationId="{F958E070-1FDE-4880-982F-C5C7830DE911}"/>
          </ac:cxnSpMkLst>
        </pc:cxnChg>
        <pc:cxnChg chg="mod">
          <ac:chgData name="Dennis Hendriks - DHFS" userId="ceacf04f-0b47-4d6f-9d04-eca8f76fbd3c" providerId="ADAL" clId="{6BF22A83-B45F-4C2E-919F-A38CCDC27124}" dt="2021-10-27T08:06:38.041" v="2369" actId="1037"/>
          <ac:cxnSpMkLst>
            <pc:docMk/>
            <pc:sldMk cId="3007114066" sldId="1052"/>
            <ac:cxnSpMk id="16" creationId="{A1C14B12-D0DC-407B-822C-27BF3AD95CAE}"/>
          </ac:cxnSpMkLst>
        </pc:cxnChg>
        <pc:cxnChg chg="mod">
          <ac:chgData name="Dennis Hendriks - DHFS" userId="ceacf04f-0b47-4d6f-9d04-eca8f76fbd3c" providerId="ADAL" clId="{6BF22A83-B45F-4C2E-919F-A38CCDC27124}" dt="2021-10-27T08:07:14.609" v="2390" actId="1035"/>
          <ac:cxnSpMkLst>
            <pc:docMk/>
            <pc:sldMk cId="3007114066" sldId="1052"/>
            <ac:cxnSpMk id="17" creationId="{930003C7-3C4E-4E90-8428-97800FA62A7C}"/>
          </ac:cxnSpMkLst>
        </pc:cxnChg>
        <pc:cxnChg chg="mod">
          <ac:chgData name="Dennis Hendriks - DHFS" userId="ceacf04f-0b47-4d6f-9d04-eca8f76fbd3c" providerId="ADAL" clId="{6BF22A83-B45F-4C2E-919F-A38CCDC27124}" dt="2021-10-27T08:07:14.609" v="2390" actId="1035"/>
          <ac:cxnSpMkLst>
            <pc:docMk/>
            <pc:sldMk cId="3007114066" sldId="1052"/>
            <ac:cxnSpMk id="21" creationId="{21AE98C0-2749-4011-9DE5-23C97B2436CF}"/>
          </ac:cxnSpMkLst>
        </pc:cxnChg>
        <pc:cxnChg chg="mod">
          <ac:chgData name="Dennis Hendriks - DHFS" userId="ceacf04f-0b47-4d6f-9d04-eca8f76fbd3c" providerId="ADAL" clId="{6BF22A83-B45F-4C2E-919F-A38CCDC27124}" dt="2021-10-27T08:07:14.609" v="2390" actId="1035"/>
          <ac:cxnSpMkLst>
            <pc:docMk/>
            <pc:sldMk cId="3007114066" sldId="1052"/>
            <ac:cxnSpMk id="39" creationId="{99EFF996-DF64-486F-826F-2FDA9ED80FBE}"/>
          </ac:cxnSpMkLst>
        </pc:cxnChg>
        <pc:cxnChg chg="mod">
          <ac:chgData name="Dennis Hendriks - DHFS" userId="ceacf04f-0b47-4d6f-9d04-eca8f76fbd3c" providerId="ADAL" clId="{6BF22A83-B45F-4C2E-919F-A38CCDC27124}" dt="2021-10-27T08:07:14.609" v="2390" actId="1035"/>
          <ac:cxnSpMkLst>
            <pc:docMk/>
            <pc:sldMk cId="3007114066" sldId="1052"/>
            <ac:cxnSpMk id="43" creationId="{211CAED3-11B5-48DD-B674-494E5844258F}"/>
          </ac:cxnSpMkLst>
        </pc:cxnChg>
        <pc:cxnChg chg="mod">
          <ac:chgData name="Dennis Hendriks - DHFS" userId="ceacf04f-0b47-4d6f-9d04-eca8f76fbd3c" providerId="ADAL" clId="{6BF22A83-B45F-4C2E-919F-A38CCDC27124}" dt="2021-10-27T08:07:14.609" v="2390" actId="1035"/>
          <ac:cxnSpMkLst>
            <pc:docMk/>
            <pc:sldMk cId="3007114066" sldId="1052"/>
            <ac:cxnSpMk id="46" creationId="{6B9445E8-B9DE-4D97-AE75-896911DB22BF}"/>
          </ac:cxnSpMkLst>
        </pc:cxnChg>
        <pc:cxnChg chg="mod">
          <ac:chgData name="Dennis Hendriks - DHFS" userId="ceacf04f-0b47-4d6f-9d04-eca8f76fbd3c" providerId="ADAL" clId="{6BF22A83-B45F-4C2E-919F-A38CCDC27124}" dt="2021-10-27T08:07:14.609" v="2390" actId="1035"/>
          <ac:cxnSpMkLst>
            <pc:docMk/>
            <pc:sldMk cId="3007114066" sldId="1052"/>
            <ac:cxnSpMk id="54" creationId="{6FF22A71-1EE4-428D-9B5C-66D2F8006CBD}"/>
          </ac:cxnSpMkLst>
        </pc:cxnChg>
      </pc:sldChg>
      <pc:sldChg chg="modSp mod addCm delCm modCm modNotesTx">
        <pc:chgData name="Dennis Hendriks - DHFS" userId="ceacf04f-0b47-4d6f-9d04-eca8f76fbd3c" providerId="ADAL" clId="{6BF22A83-B45F-4C2E-919F-A38CCDC27124}" dt="2021-11-01T13:52:25.670" v="5506" actId="1592"/>
        <pc:sldMkLst>
          <pc:docMk/>
          <pc:sldMk cId="3071920198" sldId="1056"/>
        </pc:sldMkLst>
        <pc:spChg chg="mod">
          <ac:chgData name="Dennis Hendriks - DHFS" userId="ceacf04f-0b47-4d6f-9d04-eca8f76fbd3c" providerId="ADAL" clId="{6BF22A83-B45F-4C2E-919F-A38CCDC27124}" dt="2021-10-27T08:28:21.497" v="3023" actId="20577"/>
          <ac:spMkLst>
            <pc:docMk/>
            <pc:sldMk cId="3071920198" sldId="1056"/>
            <ac:spMk id="2" creationId="{32E008E6-5FE1-46BE-AC43-EF46114F7667}"/>
          </ac:spMkLst>
        </pc:spChg>
        <pc:spChg chg="mod">
          <ac:chgData name="Dennis Hendriks - DHFS" userId="ceacf04f-0b47-4d6f-9d04-eca8f76fbd3c" providerId="ADAL" clId="{6BF22A83-B45F-4C2E-919F-A38CCDC27124}" dt="2021-10-29T07:27:07.917" v="5219" actId="20577"/>
          <ac:spMkLst>
            <pc:docMk/>
            <pc:sldMk cId="3071920198" sldId="1056"/>
            <ac:spMk id="6" creationId="{FEF16699-8D90-4D47-93D2-E40582A69893}"/>
          </ac:spMkLst>
        </pc:spChg>
      </pc:sldChg>
      <pc:sldChg chg="modSp mod">
        <pc:chgData name="Dennis Hendriks - DHFS" userId="ceacf04f-0b47-4d6f-9d04-eca8f76fbd3c" providerId="ADAL" clId="{6BF22A83-B45F-4C2E-919F-A38CCDC27124}" dt="2021-10-28T11:35:38.645" v="4072" actId="14100"/>
        <pc:sldMkLst>
          <pc:docMk/>
          <pc:sldMk cId="2786694568" sldId="1057"/>
        </pc:sldMkLst>
        <pc:spChg chg="mod">
          <ac:chgData name="Dennis Hendriks - DHFS" userId="ceacf04f-0b47-4d6f-9d04-eca8f76fbd3c" providerId="ADAL" clId="{6BF22A83-B45F-4C2E-919F-A38CCDC27124}" dt="2021-10-27T08:20:21.615" v="2676" actId="20577"/>
          <ac:spMkLst>
            <pc:docMk/>
            <pc:sldMk cId="2786694568" sldId="1057"/>
            <ac:spMk id="2" creationId="{6E152B49-A927-4745-9D7A-444DD308408F}"/>
          </ac:spMkLst>
        </pc:spChg>
        <pc:spChg chg="mod">
          <ac:chgData name="Dennis Hendriks - DHFS" userId="ceacf04f-0b47-4d6f-9d04-eca8f76fbd3c" providerId="ADAL" clId="{6BF22A83-B45F-4C2E-919F-A38CCDC27124}" dt="2021-10-28T11:35:38.645" v="4072" actId="14100"/>
          <ac:spMkLst>
            <pc:docMk/>
            <pc:sldMk cId="2786694568" sldId="1057"/>
            <ac:spMk id="9" creationId="{7E77B42F-B884-4021-B0EE-7DD2AC7CE48A}"/>
          </ac:spMkLst>
        </pc:spChg>
        <pc:spChg chg="mod">
          <ac:chgData name="Dennis Hendriks - DHFS" userId="ceacf04f-0b47-4d6f-9d04-eca8f76fbd3c" providerId="ADAL" clId="{6BF22A83-B45F-4C2E-919F-A38CCDC27124}" dt="2021-10-28T11:35:26.642" v="4069" actId="14100"/>
          <ac:spMkLst>
            <pc:docMk/>
            <pc:sldMk cId="2786694568" sldId="1057"/>
            <ac:spMk id="10" creationId="{7E6A4A08-B5E4-44F2-AF81-3D86FE0D4DC1}"/>
          </ac:spMkLst>
        </pc:spChg>
        <pc:spChg chg="mod">
          <ac:chgData name="Dennis Hendriks - DHFS" userId="ceacf04f-0b47-4d6f-9d04-eca8f76fbd3c" providerId="ADAL" clId="{6BF22A83-B45F-4C2E-919F-A38CCDC27124}" dt="2021-10-28T11:35:29.010" v="4070" actId="14100"/>
          <ac:spMkLst>
            <pc:docMk/>
            <pc:sldMk cId="2786694568" sldId="1057"/>
            <ac:spMk id="14" creationId="{9844DB70-3597-4136-917B-5C5994425491}"/>
          </ac:spMkLst>
        </pc:spChg>
        <pc:spChg chg="mod">
          <ac:chgData name="Dennis Hendriks - DHFS" userId="ceacf04f-0b47-4d6f-9d04-eca8f76fbd3c" providerId="ADAL" clId="{6BF22A83-B45F-4C2E-919F-A38CCDC27124}" dt="2021-10-28T11:34:28.931" v="4049" actId="1036"/>
          <ac:spMkLst>
            <pc:docMk/>
            <pc:sldMk cId="2786694568" sldId="1057"/>
            <ac:spMk id="17" creationId="{9CF3B7F7-098F-4D0D-BA37-FE6D1CDF1AD6}"/>
          </ac:spMkLst>
        </pc:spChg>
        <pc:spChg chg="mod">
          <ac:chgData name="Dennis Hendriks - DHFS" userId="ceacf04f-0b47-4d6f-9d04-eca8f76fbd3c" providerId="ADAL" clId="{6BF22A83-B45F-4C2E-919F-A38CCDC27124}" dt="2021-10-28T11:35:33.899" v="4071" actId="14100"/>
          <ac:spMkLst>
            <pc:docMk/>
            <pc:sldMk cId="2786694568" sldId="1057"/>
            <ac:spMk id="19" creationId="{E11751C5-6E01-44B5-A44E-295A04E8F9ED}"/>
          </ac:spMkLst>
        </pc:spChg>
        <pc:spChg chg="mod">
          <ac:chgData name="Dennis Hendriks - DHFS" userId="ceacf04f-0b47-4d6f-9d04-eca8f76fbd3c" providerId="ADAL" clId="{6BF22A83-B45F-4C2E-919F-A38CCDC27124}" dt="2021-10-28T11:34:39.893" v="4065" actId="1035"/>
          <ac:spMkLst>
            <pc:docMk/>
            <pc:sldMk cId="2786694568" sldId="1057"/>
            <ac:spMk id="20" creationId="{A937AE34-28BE-41B7-847E-E043C5E498AA}"/>
          </ac:spMkLst>
        </pc:spChg>
        <pc:spChg chg="mod">
          <ac:chgData name="Dennis Hendriks - DHFS" userId="ceacf04f-0b47-4d6f-9d04-eca8f76fbd3c" providerId="ADAL" clId="{6BF22A83-B45F-4C2E-919F-A38CCDC27124}" dt="2021-10-28T11:35:19.922" v="4067" actId="14100"/>
          <ac:spMkLst>
            <pc:docMk/>
            <pc:sldMk cId="2786694568" sldId="1057"/>
            <ac:spMk id="21" creationId="{B7CE972A-8B9A-4A16-A33B-1E4CF9ABDA7D}"/>
          </ac:spMkLst>
        </pc:spChg>
        <pc:spChg chg="mod">
          <ac:chgData name="Dennis Hendriks - DHFS" userId="ceacf04f-0b47-4d6f-9d04-eca8f76fbd3c" providerId="ADAL" clId="{6BF22A83-B45F-4C2E-919F-A38CCDC27124}" dt="2021-10-28T11:34:33.123" v="4053" actId="1036"/>
          <ac:spMkLst>
            <pc:docMk/>
            <pc:sldMk cId="2786694568" sldId="1057"/>
            <ac:spMk id="23" creationId="{519AA560-6A3B-4B58-88A3-703E5ACD1163}"/>
          </ac:spMkLst>
        </pc:spChg>
      </pc:sldChg>
      <pc:sldChg chg="addSp delSp modSp mod modAnim addCm delCm modCm">
        <pc:chgData name="Dennis Hendriks - DHFS" userId="ceacf04f-0b47-4d6f-9d04-eca8f76fbd3c" providerId="ADAL" clId="{6BF22A83-B45F-4C2E-919F-A38CCDC27124}" dt="2021-11-01T13:53:51.895" v="5525" actId="207"/>
        <pc:sldMkLst>
          <pc:docMk/>
          <pc:sldMk cId="3073011292" sldId="1063"/>
        </pc:sldMkLst>
        <pc:spChg chg="mod">
          <ac:chgData name="Dennis Hendriks - DHFS" userId="ceacf04f-0b47-4d6f-9d04-eca8f76fbd3c" providerId="ADAL" clId="{6BF22A83-B45F-4C2E-919F-A38CCDC27124}" dt="2021-10-28T11:46:06.783" v="4133" actId="6549"/>
          <ac:spMkLst>
            <pc:docMk/>
            <pc:sldMk cId="3073011292" sldId="1063"/>
            <ac:spMk id="2" creationId="{53CB77FA-CF1B-4B0E-A304-10CE6620EE56}"/>
          </ac:spMkLst>
        </pc:spChg>
        <pc:spChg chg="mod">
          <ac:chgData name="Dennis Hendriks - DHFS" userId="ceacf04f-0b47-4d6f-9d04-eca8f76fbd3c" providerId="ADAL" clId="{6BF22A83-B45F-4C2E-919F-A38CCDC27124}" dt="2021-10-27T08:13:03.756" v="2433" actId="207"/>
          <ac:spMkLst>
            <pc:docMk/>
            <pc:sldMk cId="3073011292" sldId="1063"/>
            <ac:spMk id="6" creationId="{EFF25976-C0D4-4259-AB50-81301790BD65}"/>
          </ac:spMkLst>
        </pc:spChg>
        <pc:spChg chg="del">
          <ac:chgData name="Dennis Hendriks - DHFS" userId="ceacf04f-0b47-4d6f-9d04-eca8f76fbd3c" providerId="ADAL" clId="{6BF22A83-B45F-4C2E-919F-A38CCDC27124}" dt="2021-10-28T11:44:20.830" v="4087" actId="478"/>
          <ac:spMkLst>
            <pc:docMk/>
            <pc:sldMk cId="3073011292" sldId="1063"/>
            <ac:spMk id="7" creationId="{17DFA489-F3A1-4CE1-A38B-0E846A7FFAAD}"/>
          </ac:spMkLst>
        </pc:spChg>
        <pc:spChg chg="mod">
          <ac:chgData name="Dennis Hendriks - DHFS" userId="ceacf04f-0b47-4d6f-9d04-eca8f76fbd3c" providerId="ADAL" clId="{6BF22A83-B45F-4C2E-919F-A38CCDC27124}" dt="2021-10-27T08:13:03.756" v="2433" actId="207"/>
          <ac:spMkLst>
            <pc:docMk/>
            <pc:sldMk cId="3073011292" sldId="1063"/>
            <ac:spMk id="8" creationId="{C3406E72-D449-4FB0-8390-1D03AFE00053}"/>
          </ac:spMkLst>
        </pc:spChg>
        <pc:spChg chg="del mod">
          <ac:chgData name="Dennis Hendriks - DHFS" userId="ceacf04f-0b47-4d6f-9d04-eca8f76fbd3c" providerId="ADAL" clId="{6BF22A83-B45F-4C2E-919F-A38CCDC27124}" dt="2021-10-28T12:18:19.486" v="4534" actId="478"/>
          <ac:spMkLst>
            <pc:docMk/>
            <pc:sldMk cId="3073011292" sldId="1063"/>
            <ac:spMk id="17" creationId="{95822C4C-5170-4571-8D2A-CFEB56C8D9F7}"/>
          </ac:spMkLst>
        </pc:spChg>
        <pc:spChg chg="mod">
          <ac:chgData name="Dennis Hendriks - DHFS" userId="ceacf04f-0b47-4d6f-9d04-eca8f76fbd3c" providerId="ADAL" clId="{6BF22A83-B45F-4C2E-919F-A38CCDC27124}" dt="2021-10-28T12:34:52.389" v="4985" actId="14100"/>
          <ac:spMkLst>
            <pc:docMk/>
            <pc:sldMk cId="3073011292" sldId="1063"/>
            <ac:spMk id="27" creationId="{99CF6255-2CE0-43C4-A8E1-EF957E1ABAF4}"/>
          </ac:spMkLst>
        </pc:spChg>
        <pc:spChg chg="mod">
          <ac:chgData name="Dennis Hendriks - DHFS" userId="ceacf04f-0b47-4d6f-9d04-eca8f76fbd3c" providerId="ADAL" clId="{6BF22A83-B45F-4C2E-919F-A38CCDC27124}" dt="2021-10-27T08:13:03.756" v="2433" actId="207"/>
          <ac:spMkLst>
            <pc:docMk/>
            <pc:sldMk cId="3073011292" sldId="1063"/>
            <ac:spMk id="42" creationId="{5976A91F-461A-4467-B587-801D6F41F1A5}"/>
          </ac:spMkLst>
        </pc:spChg>
        <pc:spChg chg="mod">
          <ac:chgData name="Dennis Hendriks - DHFS" userId="ceacf04f-0b47-4d6f-9d04-eca8f76fbd3c" providerId="ADAL" clId="{6BF22A83-B45F-4C2E-919F-A38CCDC27124}" dt="2021-10-27T08:13:03.756" v="2433" actId="207"/>
          <ac:spMkLst>
            <pc:docMk/>
            <pc:sldMk cId="3073011292" sldId="1063"/>
            <ac:spMk id="44" creationId="{2B95D81E-EA32-4ACE-9C4B-7FED231E8274}"/>
          </ac:spMkLst>
        </pc:spChg>
        <pc:spChg chg="add mod">
          <ac:chgData name="Dennis Hendriks - DHFS" userId="ceacf04f-0b47-4d6f-9d04-eca8f76fbd3c" providerId="ADAL" clId="{6BF22A83-B45F-4C2E-919F-A38CCDC27124}" dt="2021-11-01T13:53:51.895" v="5525" actId="207"/>
          <ac:spMkLst>
            <pc:docMk/>
            <pc:sldMk cId="3073011292" sldId="1063"/>
            <ac:spMk id="50" creationId="{0DA59EB6-EEEE-4778-A88F-6BE10BC7FA0F}"/>
          </ac:spMkLst>
        </pc:spChg>
        <pc:spChg chg="add mod">
          <ac:chgData name="Dennis Hendriks - DHFS" userId="ceacf04f-0b47-4d6f-9d04-eca8f76fbd3c" providerId="ADAL" clId="{6BF22A83-B45F-4C2E-919F-A38CCDC27124}" dt="2021-11-01T13:53:51.895" v="5525" actId="207"/>
          <ac:spMkLst>
            <pc:docMk/>
            <pc:sldMk cId="3073011292" sldId="1063"/>
            <ac:spMk id="56" creationId="{AD1681BD-D8C6-4D35-899F-428441F70526}"/>
          </ac:spMkLst>
        </pc:spChg>
        <pc:spChg chg="add mod">
          <ac:chgData name="Dennis Hendriks - DHFS" userId="ceacf04f-0b47-4d6f-9d04-eca8f76fbd3c" providerId="ADAL" clId="{6BF22A83-B45F-4C2E-919F-A38CCDC27124}" dt="2021-10-28T11:54:05.177" v="4233"/>
          <ac:spMkLst>
            <pc:docMk/>
            <pc:sldMk cId="3073011292" sldId="1063"/>
            <ac:spMk id="60" creationId="{D26A89D7-8C66-44FB-804A-150D2327573F}"/>
          </ac:spMkLst>
        </pc:spChg>
        <pc:spChg chg="mod">
          <ac:chgData name="Dennis Hendriks - DHFS" userId="ceacf04f-0b47-4d6f-9d04-eca8f76fbd3c" providerId="ADAL" clId="{6BF22A83-B45F-4C2E-919F-A38CCDC27124}" dt="2021-10-27T09:00:58.918" v="3802" actId="14100"/>
          <ac:spMkLst>
            <pc:docMk/>
            <pc:sldMk cId="3073011292" sldId="1063"/>
            <ac:spMk id="62" creationId="{C12752A9-DB66-41C2-BD34-B5C70E7ACBEC}"/>
          </ac:spMkLst>
        </pc:spChg>
        <pc:spChg chg="del">
          <ac:chgData name="Dennis Hendriks - DHFS" userId="ceacf04f-0b47-4d6f-9d04-eca8f76fbd3c" providerId="ADAL" clId="{6BF22A83-B45F-4C2E-919F-A38CCDC27124}" dt="2021-10-27T09:00:56.982" v="3801" actId="478"/>
          <ac:spMkLst>
            <pc:docMk/>
            <pc:sldMk cId="3073011292" sldId="1063"/>
            <ac:spMk id="65" creationId="{72EECB08-1366-44DB-AFE7-FDAF0F0E249F}"/>
          </ac:spMkLst>
        </pc:spChg>
        <pc:spChg chg="mod">
          <ac:chgData name="Dennis Hendriks - DHFS" userId="ceacf04f-0b47-4d6f-9d04-eca8f76fbd3c" providerId="ADAL" clId="{6BF22A83-B45F-4C2E-919F-A38CCDC27124}" dt="2021-10-27T08:13:03.756" v="2433" actId="207"/>
          <ac:spMkLst>
            <pc:docMk/>
            <pc:sldMk cId="3073011292" sldId="1063"/>
            <ac:spMk id="71" creationId="{86C4ED43-FF99-44CD-A375-572A1E97100A}"/>
          </ac:spMkLst>
        </pc:spChg>
        <pc:spChg chg="mod">
          <ac:chgData name="Dennis Hendriks - DHFS" userId="ceacf04f-0b47-4d6f-9d04-eca8f76fbd3c" providerId="ADAL" clId="{6BF22A83-B45F-4C2E-919F-A38CCDC27124}" dt="2021-10-27T08:13:03.756" v="2433" actId="207"/>
          <ac:spMkLst>
            <pc:docMk/>
            <pc:sldMk cId="3073011292" sldId="1063"/>
            <ac:spMk id="72" creationId="{4E1FDB4C-5EA5-491B-BF1B-6FAF8A2BF00D}"/>
          </ac:spMkLst>
        </pc:spChg>
        <pc:spChg chg="mod">
          <ac:chgData name="Dennis Hendriks - DHFS" userId="ceacf04f-0b47-4d6f-9d04-eca8f76fbd3c" providerId="ADAL" clId="{6BF22A83-B45F-4C2E-919F-A38CCDC27124}" dt="2021-10-27T08:13:03.756" v="2433" actId="207"/>
          <ac:spMkLst>
            <pc:docMk/>
            <pc:sldMk cId="3073011292" sldId="1063"/>
            <ac:spMk id="73" creationId="{4EEB8E8B-301A-4678-B616-6D526599BCCA}"/>
          </ac:spMkLst>
        </pc:spChg>
        <pc:spChg chg="del">
          <ac:chgData name="Dennis Hendriks - DHFS" userId="ceacf04f-0b47-4d6f-9d04-eca8f76fbd3c" providerId="ADAL" clId="{6BF22A83-B45F-4C2E-919F-A38CCDC27124}" dt="2021-10-28T11:54:07.331" v="4234" actId="478"/>
          <ac:spMkLst>
            <pc:docMk/>
            <pc:sldMk cId="3073011292" sldId="1063"/>
            <ac:spMk id="75" creationId="{90DCF73D-6CB2-43E5-A9BD-3C1282E04DC6}"/>
          </ac:spMkLst>
        </pc:spChg>
        <pc:spChg chg="add mod">
          <ac:chgData name="Dennis Hendriks - DHFS" userId="ceacf04f-0b47-4d6f-9d04-eca8f76fbd3c" providerId="ADAL" clId="{6BF22A83-B45F-4C2E-919F-A38CCDC27124}" dt="2021-10-28T12:18:19.586" v="4535"/>
          <ac:spMkLst>
            <pc:docMk/>
            <pc:sldMk cId="3073011292" sldId="1063"/>
            <ac:spMk id="76" creationId="{3EAE2FC3-4953-46A2-A25C-F4BBE2A72F01}"/>
          </ac:spMkLst>
        </pc:spChg>
        <pc:spChg chg="add mod">
          <ac:chgData name="Dennis Hendriks - DHFS" userId="ceacf04f-0b47-4d6f-9d04-eca8f76fbd3c" providerId="ADAL" clId="{6BF22A83-B45F-4C2E-919F-A38CCDC27124}" dt="2021-10-28T12:18:19.586" v="4535"/>
          <ac:spMkLst>
            <pc:docMk/>
            <pc:sldMk cId="3073011292" sldId="1063"/>
            <ac:spMk id="77" creationId="{C6F64E47-193C-4AA8-A431-124EFFB6C580}"/>
          </ac:spMkLst>
        </pc:spChg>
        <pc:spChg chg="add mod">
          <ac:chgData name="Dennis Hendriks - DHFS" userId="ceacf04f-0b47-4d6f-9d04-eca8f76fbd3c" providerId="ADAL" clId="{6BF22A83-B45F-4C2E-919F-A38CCDC27124}" dt="2021-10-28T12:18:26.206" v="4545" actId="1036"/>
          <ac:spMkLst>
            <pc:docMk/>
            <pc:sldMk cId="3073011292" sldId="1063"/>
            <ac:spMk id="79" creationId="{DB1E2890-48F4-4346-9864-7553533E2AC6}"/>
          </ac:spMkLst>
        </pc:spChg>
        <pc:spChg chg="mod">
          <ac:chgData name="Dennis Hendriks - DHFS" userId="ceacf04f-0b47-4d6f-9d04-eca8f76fbd3c" providerId="ADAL" clId="{6BF22A83-B45F-4C2E-919F-A38CCDC27124}" dt="2021-10-28T11:54:18.508" v="4235" actId="1076"/>
          <ac:spMkLst>
            <pc:docMk/>
            <pc:sldMk cId="3073011292" sldId="1063"/>
            <ac:spMk id="80" creationId="{45C8D6E2-0BCB-4BFE-B722-C3EA5658023F}"/>
          </ac:spMkLst>
        </pc:spChg>
        <pc:spChg chg="mod">
          <ac:chgData name="Dennis Hendriks - DHFS" userId="ceacf04f-0b47-4d6f-9d04-eca8f76fbd3c" providerId="ADAL" clId="{6BF22A83-B45F-4C2E-919F-A38CCDC27124}" dt="2021-10-28T11:54:54.818" v="4244" actId="1076"/>
          <ac:spMkLst>
            <pc:docMk/>
            <pc:sldMk cId="3073011292" sldId="1063"/>
            <ac:spMk id="81" creationId="{0A109274-B6F4-4B25-99C2-66DE8F1A677B}"/>
          </ac:spMkLst>
        </pc:spChg>
        <pc:spChg chg="mod">
          <ac:chgData name="Dennis Hendriks - DHFS" userId="ceacf04f-0b47-4d6f-9d04-eca8f76fbd3c" providerId="ADAL" clId="{6BF22A83-B45F-4C2E-919F-A38CCDC27124}" dt="2021-10-28T11:54:42.194" v="4241" actId="1076"/>
          <ac:spMkLst>
            <pc:docMk/>
            <pc:sldMk cId="3073011292" sldId="1063"/>
            <ac:spMk id="82" creationId="{43529626-15DF-464D-AC44-59E784CD31A7}"/>
          </ac:spMkLst>
        </pc:spChg>
        <pc:spChg chg="mod">
          <ac:chgData name="Dennis Hendriks - DHFS" userId="ceacf04f-0b47-4d6f-9d04-eca8f76fbd3c" providerId="ADAL" clId="{6BF22A83-B45F-4C2E-919F-A38CCDC27124}" dt="2021-10-28T11:55:07.450" v="4246" actId="1076"/>
          <ac:spMkLst>
            <pc:docMk/>
            <pc:sldMk cId="3073011292" sldId="1063"/>
            <ac:spMk id="87" creationId="{AD95D4C3-F3B7-4CA6-B406-E9FFEB10EFD8}"/>
          </ac:spMkLst>
        </pc:spChg>
        <pc:spChg chg="mod">
          <ac:chgData name="Dennis Hendriks - DHFS" userId="ceacf04f-0b47-4d6f-9d04-eca8f76fbd3c" providerId="ADAL" clId="{6BF22A83-B45F-4C2E-919F-A38CCDC27124}" dt="2021-10-28T11:54:57.794" v="4245" actId="1076"/>
          <ac:spMkLst>
            <pc:docMk/>
            <pc:sldMk cId="3073011292" sldId="1063"/>
            <ac:spMk id="88" creationId="{39EEF46E-AFAB-4A79-B251-E36F4B7A2524}"/>
          </ac:spMkLst>
        </pc:spChg>
        <pc:spChg chg="mod">
          <ac:chgData name="Dennis Hendriks - DHFS" userId="ceacf04f-0b47-4d6f-9d04-eca8f76fbd3c" providerId="ADAL" clId="{6BF22A83-B45F-4C2E-919F-A38CCDC27124}" dt="2021-10-28T11:54:23.858" v="4236" actId="1076"/>
          <ac:spMkLst>
            <pc:docMk/>
            <pc:sldMk cId="3073011292" sldId="1063"/>
            <ac:spMk id="89" creationId="{43BDC188-11A7-4578-8920-4418C89FF7B3}"/>
          </ac:spMkLst>
        </pc:spChg>
        <pc:spChg chg="add del mod">
          <ac:chgData name="Dennis Hendriks - DHFS" userId="ceacf04f-0b47-4d6f-9d04-eca8f76fbd3c" providerId="ADAL" clId="{6BF22A83-B45F-4C2E-919F-A38CCDC27124}" dt="2021-10-28T12:31:37.526" v="4844" actId="478"/>
          <ac:spMkLst>
            <pc:docMk/>
            <pc:sldMk cId="3073011292" sldId="1063"/>
            <ac:spMk id="90" creationId="{7277F711-04AA-4B8B-8632-70151B8C7963}"/>
          </ac:spMkLst>
        </pc:spChg>
        <pc:spChg chg="add mod">
          <ac:chgData name="Dennis Hendriks - DHFS" userId="ceacf04f-0b47-4d6f-9d04-eca8f76fbd3c" providerId="ADAL" clId="{6BF22A83-B45F-4C2E-919F-A38CCDC27124}" dt="2021-10-28T12:32:16.989" v="4852" actId="206"/>
          <ac:spMkLst>
            <pc:docMk/>
            <pc:sldMk cId="3073011292" sldId="1063"/>
            <ac:spMk id="91" creationId="{61006CB2-3484-4893-891B-BAAF04E87EB6}"/>
          </ac:spMkLst>
        </pc:spChg>
        <pc:spChg chg="add mod">
          <ac:chgData name="Dennis Hendriks - DHFS" userId="ceacf04f-0b47-4d6f-9d04-eca8f76fbd3c" providerId="ADAL" clId="{6BF22A83-B45F-4C2E-919F-A38CCDC27124}" dt="2021-10-28T12:31:37.883" v="4845"/>
          <ac:spMkLst>
            <pc:docMk/>
            <pc:sldMk cId="3073011292" sldId="1063"/>
            <ac:spMk id="92" creationId="{68659EFB-256A-44A6-BEDA-C6D00CD2499C}"/>
          </ac:spMkLst>
        </pc:spChg>
        <pc:spChg chg="add mod">
          <ac:chgData name="Dennis Hendriks - DHFS" userId="ceacf04f-0b47-4d6f-9d04-eca8f76fbd3c" providerId="ADAL" clId="{6BF22A83-B45F-4C2E-919F-A38CCDC27124}" dt="2021-10-28T12:32:37.329" v="4859" actId="1037"/>
          <ac:spMkLst>
            <pc:docMk/>
            <pc:sldMk cId="3073011292" sldId="1063"/>
            <ac:spMk id="93" creationId="{249FF854-CEB6-46CF-A246-E8D7700CB9FB}"/>
          </ac:spMkLst>
        </pc:spChg>
        <pc:spChg chg="del">
          <ac:chgData name="Dennis Hendriks - DHFS" userId="ceacf04f-0b47-4d6f-9d04-eca8f76fbd3c" providerId="ADAL" clId="{6BF22A83-B45F-4C2E-919F-A38CCDC27124}" dt="2021-10-28T12:18:19.486" v="4534" actId="478"/>
          <ac:spMkLst>
            <pc:docMk/>
            <pc:sldMk cId="3073011292" sldId="1063"/>
            <ac:spMk id="95" creationId="{95302671-C422-407D-A42E-1065E14BF4F1}"/>
          </ac:spMkLst>
        </pc:spChg>
        <pc:spChg chg="del">
          <ac:chgData name="Dennis Hendriks - DHFS" userId="ceacf04f-0b47-4d6f-9d04-eca8f76fbd3c" providerId="ADAL" clId="{6BF22A83-B45F-4C2E-919F-A38CCDC27124}" dt="2021-10-28T12:18:19.486" v="4534" actId="478"/>
          <ac:spMkLst>
            <pc:docMk/>
            <pc:sldMk cId="3073011292" sldId="1063"/>
            <ac:spMk id="96" creationId="{A41521DD-F4A9-4AE5-893B-1C07FEDA2D0A}"/>
          </ac:spMkLst>
        </pc:spChg>
        <pc:spChg chg="mod">
          <ac:chgData name="Dennis Hendriks - DHFS" userId="ceacf04f-0b47-4d6f-9d04-eca8f76fbd3c" providerId="ADAL" clId="{6BF22A83-B45F-4C2E-919F-A38CCDC27124}" dt="2021-10-28T12:30:40.687" v="4834" actId="207"/>
          <ac:spMkLst>
            <pc:docMk/>
            <pc:sldMk cId="3073011292" sldId="1063"/>
            <ac:spMk id="97" creationId="{B05C406F-F297-4E89-9D0A-155A6D5D7B86}"/>
          </ac:spMkLst>
        </pc:spChg>
        <pc:spChg chg="mod">
          <ac:chgData name="Dennis Hendriks - DHFS" userId="ceacf04f-0b47-4d6f-9d04-eca8f76fbd3c" providerId="ADAL" clId="{6BF22A83-B45F-4C2E-919F-A38CCDC27124}" dt="2021-10-29T07:30:23.214" v="5271" actId="207"/>
          <ac:spMkLst>
            <pc:docMk/>
            <pc:sldMk cId="3073011292" sldId="1063"/>
            <ac:spMk id="99" creationId="{FDE59F8C-8F85-41DB-8503-72C5F804A31A}"/>
          </ac:spMkLst>
        </pc:spChg>
        <pc:spChg chg="mod">
          <ac:chgData name="Dennis Hendriks - DHFS" userId="ceacf04f-0b47-4d6f-9d04-eca8f76fbd3c" providerId="ADAL" clId="{6BF22A83-B45F-4C2E-919F-A38CCDC27124}" dt="2021-10-29T07:30:26.854" v="5272" actId="207"/>
          <ac:spMkLst>
            <pc:docMk/>
            <pc:sldMk cId="3073011292" sldId="1063"/>
            <ac:spMk id="103" creationId="{CBCFF7B2-CCD7-46E7-B4C4-AFDFFA145CA3}"/>
          </ac:spMkLst>
        </pc:spChg>
        <pc:spChg chg="mod">
          <ac:chgData name="Dennis Hendriks - DHFS" userId="ceacf04f-0b47-4d6f-9d04-eca8f76fbd3c" providerId="ADAL" clId="{6BF22A83-B45F-4C2E-919F-A38CCDC27124}" dt="2021-10-28T12:30:43.791" v="4835" actId="207"/>
          <ac:spMkLst>
            <pc:docMk/>
            <pc:sldMk cId="3073011292" sldId="1063"/>
            <ac:spMk id="109" creationId="{3EE89962-7D21-4F9A-A48D-C2696061B37E}"/>
          </ac:spMkLst>
        </pc:spChg>
        <pc:cxnChg chg="mod">
          <ac:chgData name="Dennis Hendriks - DHFS" userId="ceacf04f-0b47-4d6f-9d04-eca8f76fbd3c" providerId="ADAL" clId="{6BF22A83-B45F-4C2E-919F-A38CCDC27124}" dt="2021-10-27T09:00:58.918" v="3802" actId="14100"/>
          <ac:cxnSpMkLst>
            <pc:docMk/>
            <pc:sldMk cId="3073011292" sldId="1063"/>
            <ac:cxnSpMk id="26" creationId="{CCCBE7DE-0D5C-411C-B0AA-A8FA9FFEF73F}"/>
          </ac:cxnSpMkLst>
        </pc:cxnChg>
        <pc:cxnChg chg="mod">
          <ac:chgData name="Dennis Hendriks - DHFS" userId="ceacf04f-0b47-4d6f-9d04-eca8f76fbd3c" providerId="ADAL" clId="{6BF22A83-B45F-4C2E-919F-A38CCDC27124}" dt="2021-10-28T11:44:34.853" v="4092" actId="14100"/>
          <ac:cxnSpMkLst>
            <pc:docMk/>
            <pc:sldMk cId="3073011292" sldId="1063"/>
            <ac:cxnSpMk id="78" creationId="{861B7B0A-8FB7-4785-95B8-41C7B4E3DE6F}"/>
          </ac:cxnSpMkLst>
        </pc:cxnChg>
        <pc:cxnChg chg="del">
          <ac:chgData name="Dennis Hendriks - DHFS" userId="ceacf04f-0b47-4d6f-9d04-eca8f76fbd3c" providerId="ADAL" clId="{6BF22A83-B45F-4C2E-919F-A38CCDC27124}" dt="2021-10-27T09:00:14.390" v="3800" actId="478"/>
          <ac:cxnSpMkLst>
            <pc:docMk/>
            <pc:sldMk cId="3073011292" sldId="1063"/>
            <ac:cxnSpMk id="79" creationId="{3904C8F0-E818-45F0-957C-FDEA5F6F5B69}"/>
          </ac:cxnSpMkLst>
        </pc:cxnChg>
        <pc:cxnChg chg="mod">
          <ac:chgData name="Dennis Hendriks - DHFS" userId="ceacf04f-0b47-4d6f-9d04-eca8f76fbd3c" providerId="ADAL" clId="{6BF22A83-B45F-4C2E-919F-A38CCDC27124}" dt="2021-10-28T11:54:54.818" v="4244" actId="1076"/>
          <ac:cxnSpMkLst>
            <pc:docMk/>
            <pc:sldMk cId="3073011292" sldId="1063"/>
            <ac:cxnSpMk id="83" creationId="{AD51DCB4-33D3-49C6-9647-175ED1DADAB3}"/>
          </ac:cxnSpMkLst>
        </pc:cxnChg>
        <pc:cxnChg chg="mod">
          <ac:chgData name="Dennis Hendriks - DHFS" userId="ceacf04f-0b47-4d6f-9d04-eca8f76fbd3c" providerId="ADAL" clId="{6BF22A83-B45F-4C2E-919F-A38CCDC27124}" dt="2021-10-28T11:54:54.818" v="4244" actId="1076"/>
          <ac:cxnSpMkLst>
            <pc:docMk/>
            <pc:sldMk cId="3073011292" sldId="1063"/>
            <ac:cxnSpMk id="84" creationId="{5A74DB1F-C09A-4D3C-9749-E993C659BD8A}"/>
          </ac:cxnSpMkLst>
        </pc:cxnChg>
        <pc:cxnChg chg="mod">
          <ac:chgData name="Dennis Hendriks - DHFS" userId="ceacf04f-0b47-4d6f-9d04-eca8f76fbd3c" providerId="ADAL" clId="{6BF22A83-B45F-4C2E-919F-A38CCDC27124}" dt="2021-10-28T11:54:47.570" v="4243" actId="14100"/>
          <ac:cxnSpMkLst>
            <pc:docMk/>
            <pc:sldMk cId="3073011292" sldId="1063"/>
            <ac:cxnSpMk id="85" creationId="{800E48A1-9F28-49B2-A9A2-898875774F6C}"/>
          </ac:cxnSpMkLst>
        </pc:cxnChg>
        <pc:cxnChg chg="mod">
          <ac:chgData name="Dennis Hendriks - DHFS" userId="ceacf04f-0b47-4d6f-9d04-eca8f76fbd3c" providerId="ADAL" clId="{6BF22A83-B45F-4C2E-919F-A38CCDC27124}" dt="2021-10-28T11:54:18.508" v="4235" actId="1076"/>
          <ac:cxnSpMkLst>
            <pc:docMk/>
            <pc:sldMk cId="3073011292" sldId="1063"/>
            <ac:cxnSpMk id="86" creationId="{4D9386AE-A2F8-40AD-B8FC-993A48C8C6AE}"/>
          </ac:cxnSpMkLst>
        </pc:cxnChg>
        <pc:cxnChg chg="mod">
          <ac:chgData name="Dennis Hendriks - DHFS" userId="ceacf04f-0b47-4d6f-9d04-eca8f76fbd3c" providerId="ADAL" clId="{6BF22A83-B45F-4C2E-919F-A38CCDC27124}" dt="2021-10-28T11:44:37.828" v="4093" actId="14100"/>
          <ac:cxnSpMkLst>
            <pc:docMk/>
            <pc:sldMk cId="3073011292" sldId="1063"/>
            <ac:cxnSpMk id="98" creationId="{F004CFDB-531C-4732-B445-EDD6592E9A71}"/>
          </ac:cxnSpMkLst>
        </pc:cxnChg>
        <pc:cxnChg chg="mod">
          <ac:chgData name="Dennis Hendriks - DHFS" userId="ceacf04f-0b47-4d6f-9d04-eca8f76fbd3c" providerId="ADAL" clId="{6BF22A83-B45F-4C2E-919F-A38CCDC27124}" dt="2021-10-28T11:45:10.444" v="4106" actId="14100"/>
          <ac:cxnSpMkLst>
            <pc:docMk/>
            <pc:sldMk cId="3073011292" sldId="1063"/>
            <ac:cxnSpMk id="102" creationId="{2EE0B366-B2EE-42F1-9629-DB4482C6DCC1}"/>
          </ac:cxnSpMkLst>
        </pc:cxnChg>
        <pc:cxnChg chg="mod">
          <ac:chgData name="Dennis Hendriks - DHFS" userId="ceacf04f-0b47-4d6f-9d04-eca8f76fbd3c" providerId="ADAL" clId="{6BF22A83-B45F-4C2E-919F-A38CCDC27124}" dt="2021-10-28T11:45:08.853" v="4105" actId="14100"/>
          <ac:cxnSpMkLst>
            <pc:docMk/>
            <pc:sldMk cId="3073011292" sldId="1063"/>
            <ac:cxnSpMk id="108" creationId="{C858CC39-66DD-4EF2-8F64-AC48A0A8DD82}"/>
          </ac:cxnSpMkLst>
        </pc:cxnChg>
      </pc:sldChg>
      <pc:sldChg chg="addSp delSp modSp mod addCm delCm modCm">
        <pc:chgData name="Dennis Hendriks - DHFS" userId="ceacf04f-0b47-4d6f-9d04-eca8f76fbd3c" providerId="ADAL" clId="{6BF22A83-B45F-4C2E-919F-A38CCDC27124}" dt="2021-11-01T13:59:35.096" v="5572" actId="1592"/>
        <pc:sldMkLst>
          <pc:docMk/>
          <pc:sldMk cId="1950092934" sldId="1064"/>
        </pc:sldMkLst>
        <pc:spChg chg="mod">
          <ac:chgData name="Dennis Hendriks - DHFS" userId="ceacf04f-0b47-4d6f-9d04-eca8f76fbd3c" providerId="ADAL" clId="{6BF22A83-B45F-4C2E-919F-A38CCDC27124}" dt="2021-10-28T12:14:02.172" v="4450" actId="20577"/>
          <ac:spMkLst>
            <pc:docMk/>
            <pc:sldMk cId="1950092934" sldId="1064"/>
            <ac:spMk id="2" creationId="{53CB77FA-CF1B-4B0E-A304-10CE6620EE56}"/>
          </ac:spMkLst>
        </pc:spChg>
        <pc:spChg chg="mod">
          <ac:chgData name="Dennis Hendriks - DHFS" userId="ceacf04f-0b47-4d6f-9d04-eca8f76fbd3c" providerId="ADAL" clId="{6BF22A83-B45F-4C2E-919F-A38CCDC27124}" dt="2021-10-27T08:12:46.348" v="2430" actId="207"/>
          <ac:spMkLst>
            <pc:docMk/>
            <pc:sldMk cId="1950092934" sldId="1064"/>
            <ac:spMk id="19" creationId="{69D233B8-BD14-42F3-8D3D-E627BF753CE3}"/>
          </ac:spMkLst>
        </pc:spChg>
        <pc:spChg chg="mod">
          <ac:chgData name="Dennis Hendriks - DHFS" userId="ceacf04f-0b47-4d6f-9d04-eca8f76fbd3c" providerId="ADAL" clId="{6BF22A83-B45F-4C2E-919F-A38CCDC27124}" dt="2021-10-27T08:12:46.348" v="2430" actId="207"/>
          <ac:spMkLst>
            <pc:docMk/>
            <pc:sldMk cId="1950092934" sldId="1064"/>
            <ac:spMk id="20" creationId="{AE503076-64F9-4971-927E-2FB0D6A204CD}"/>
          </ac:spMkLst>
        </pc:spChg>
        <pc:spChg chg="mod">
          <ac:chgData name="Dennis Hendriks - DHFS" userId="ceacf04f-0b47-4d6f-9d04-eca8f76fbd3c" providerId="ADAL" clId="{6BF22A83-B45F-4C2E-919F-A38CCDC27124}" dt="2021-10-27T08:12:46.348" v="2430" actId="207"/>
          <ac:spMkLst>
            <pc:docMk/>
            <pc:sldMk cId="1950092934" sldId="1064"/>
            <ac:spMk id="21" creationId="{D353F02A-3E3E-4A23-B0B9-F898044D5C99}"/>
          </ac:spMkLst>
        </pc:spChg>
        <pc:spChg chg="mod">
          <ac:chgData name="Dennis Hendriks - DHFS" userId="ceacf04f-0b47-4d6f-9d04-eca8f76fbd3c" providerId="ADAL" clId="{6BF22A83-B45F-4C2E-919F-A38CCDC27124}" dt="2021-10-27T08:12:46.348" v="2430" actId="207"/>
          <ac:spMkLst>
            <pc:docMk/>
            <pc:sldMk cId="1950092934" sldId="1064"/>
            <ac:spMk id="22" creationId="{1349657E-0642-4270-9080-3D0A4538072D}"/>
          </ac:spMkLst>
        </pc:spChg>
        <pc:spChg chg="mod">
          <ac:chgData name="Dennis Hendriks - DHFS" userId="ceacf04f-0b47-4d6f-9d04-eca8f76fbd3c" providerId="ADAL" clId="{6BF22A83-B45F-4C2E-919F-A38CCDC27124}" dt="2021-10-27T08:12:46.348" v="2430" actId="207"/>
          <ac:spMkLst>
            <pc:docMk/>
            <pc:sldMk cId="1950092934" sldId="1064"/>
            <ac:spMk id="23" creationId="{D12F4F51-4D34-4E14-B4D5-B87447DB6D1E}"/>
          </ac:spMkLst>
        </pc:spChg>
        <pc:spChg chg="mod">
          <ac:chgData name="Dennis Hendriks - DHFS" userId="ceacf04f-0b47-4d6f-9d04-eca8f76fbd3c" providerId="ADAL" clId="{6BF22A83-B45F-4C2E-919F-A38CCDC27124}" dt="2021-10-27T08:12:46.348" v="2430" actId="207"/>
          <ac:spMkLst>
            <pc:docMk/>
            <pc:sldMk cId="1950092934" sldId="1064"/>
            <ac:spMk id="24" creationId="{25E4D455-DDDF-4DA5-9A71-54FF1AB6A335}"/>
          </ac:spMkLst>
        </pc:spChg>
        <pc:spChg chg="del">
          <ac:chgData name="Dennis Hendriks - DHFS" userId="ceacf04f-0b47-4d6f-9d04-eca8f76fbd3c" providerId="ADAL" clId="{6BF22A83-B45F-4C2E-919F-A38CCDC27124}" dt="2021-10-28T12:10:29.057" v="4405" actId="478"/>
          <ac:spMkLst>
            <pc:docMk/>
            <pc:sldMk cId="1950092934" sldId="1064"/>
            <ac:spMk id="37" creationId="{0C3D9C00-45EA-4A7F-9B7B-26C520EA8F4D}"/>
          </ac:spMkLst>
        </pc:spChg>
        <pc:spChg chg="mod">
          <ac:chgData name="Dennis Hendriks - DHFS" userId="ceacf04f-0b47-4d6f-9d04-eca8f76fbd3c" providerId="ADAL" clId="{6BF22A83-B45F-4C2E-919F-A38CCDC27124}" dt="2021-10-28T12:03:12.130" v="4325" actId="1035"/>
          <ac:spMkLst>
            <pc:docMk/>
            <pc:sldMk cId="1950092934" sldId="1064"/>
            <ac:spMk id="38" creationId="{5F2D1503-49B9-4EDE-B38C-7B6ABBF2AFF9}"/>
          </ac:spMkLst>
        </pc:spChg>
        <pc:spChg chg="mod">
          <ac:chgData name="Dennis Hendriks - DHFS" userId="ceacf04f-0b47-4d6f-9d04-eca8f76fbd3c" providerId="ADAL" clId="{6BF22A83-B45F-4C2E-919F-A38CCDC27124}" dt="2021-10-28T12:03:12.130" v="4325" actId="1035"/>
          <ac:spMkLst>
            <pc:docMk/>
            <pc:sldMk cId="1950092934" sldId="1064"/>
            <ac:spMk id="39" creationId="{0CFB2197-5505-4512-AB76-80D9B7251160}"/>
          </ac:spMkLst>
        </pc:spChg>
        <pc:spChg chg="mod">
          <ac:chgData name="Dennis Hendriks - DHFS" userId="ceacf04f-0b47-4d6f-9d04-eca8f76fbd3c" providerId="ADAL" clId="{6BF22A83-B45F-4C2E-919F-A38CCDC27124}" dt="2021-10-27T08:17:15.517" v="2507" actId="207"/>
          <ac:spMkLst>
            <pc:docMk/>
            <pc:sldMk cId="1950092934" sldId="1064"/>
            <ac:spMk id="40" creationId="{333E5308-DD15-4E24-9AFF-66AA31C7A3E0}"/>
          </ac:spMkLst>
        </pc:spChg>
        <pc:spChg chg="mod">
          <ac:chgData name="Dennis Hendriks - DHFS" userId="ceacf04f-0b47-4d6f-9d04-eca8f76fbd3c" providerId="ADAL" clId="{6BF22A83-B45F-4C2E-919F-A38CCDC27124}" dt="2021-10-27T08:17:15.517" v="2507" actId="207"/>
          <ac:spMkLst>
            <pc:docMk/>
            <pc:sldMk cId="1950092934" sldId="1064"/>
            <ac:spMk id="41" creationId="{CB920421-3AA7-4EFA-B205-1BB780993467}"/>
          </ac:spMkLst>
        </pc:spChg>
        <pc:spChg chg="mod">
          <ac:chgData name="Dennis Hendriks - DHFS" userId="ceacf04f-0b47-4d6f-9d04-eca8f76fbd3c" providerId="ADAL" clId="{6BF22A83-B45F-4C2E-919F-A38CCDC27124}" dt="2021-10-27T08:17:15.517" v="2507" actId="207"/>
          <ac:spMkLst>
            <pc:docMk/>
            <pc:sldMk cId="1950092934" sldId="1064"/>
            <ac:spMk id="43" creationId="{556D8970-073C-41AB-8678-177186CB11B3}"/>
          </ac:spMkLst>
        </pc:spChg>
        <pc:spChg chg="del mod">
          <ac:chgData name="Dennis Hendriks - DHFS" userId="ceacf04f-0b47-4d6f-9d04-eca8f76fbd3c" providerId="ADAL" clId="{6BF22A83-B45F-4C2E-919F-A38CCDC27124}" dt="2021-11-01T13:57:24.395" v="5560" actId="478"/>
          <ac:spMkLst>
            <pc:docMk/>
            <pc:sldMk cId="1950092934" sldId="1064"/>
            <ac:spMk id="43" creationId="{D3A6D4E3-702B-494B-85C6-40CEC1FDC0BA}"/>
          </ac:spMkLst>
        </pc:spChg>
        <pc:spChg chg="mod">
          <ac:chgData name="Dennis Hendriks - DHFS" userId="ceacf04f-0b47-4d6f-9d04-eca8f76fbd3c" providerId="ADAL" clId="{6BF22A83-B45F-4C2E-919F-A38CCDC27124}" dt="2021-10-28T12:03:12.130" v="4325" actId="1035"/>
          <ac:spMkLst>
            <pc:docMk/>
            <pc:sldMk cId="1950092934" sldId="1064"/>
            <ac:spMk id="44" creationId="{238DE2AC-371E-4163-9F24-5F12A23EF78E}"/>
          </ac:spMkLst>
        </pc:spChg>
        <pc:spChg chg="mod">
          <ac:chgData name="Dennis Hendriks - DHFS" userId="ceacf04f-0b47-4d6f-9d04-eca8f76fbd3c" providerId="ADAL" clId="{6BF22A83-B45F-4C2E-919F-A38CCDC27124}" dt="2021-10-28T12:03:27.011" v="4332" actId="1035"/>
          <ac:spMkLst>
            <pc:docMk/>
            <pc:sldMk cId="1950092934" sldId="1064"/>
            <ac:spMk id="45" creationId="{8B7BB6C5-CE29-4DA2-8950-650750300CAC}"/>
          </ac:spMkLst>
        </pc:spChg>
        <pc:spChg chg="mod">
          <ac:chgData name="Dennis Hendriks - DHFS" userId="ceacf04f-0b47-4d6f-9d04-eca8f76fbd3c" providerId="ADAL" clId="{6BF22A83-B45F-4C2E-919F-A38CCDC27124}" dt="2021-10-28T12:03:27.011" v="4332" actId="1035"/>
          <ac:spMkLst>
            <pc:docMk/>
            <pc:sldMk cId="1950092934" sldId="1064"/>
            <ac:spMk id="46" creationId="{70B39139-C3D4-4930-9B75-E794253E5F84}"/>
          </ac:spMkLst>
        </pc:spChg>
        <pc:spChg chg="mod">
          <ac:chgData name="Dennis Hendriks - DHFS" userId="ceacf04f-0b47-4d6f-9d04-eca8f76fbd3c" providerId="ADAL" clId="{6BF22A83-B45F-4C2E-919F-A38CCDC27124}" dt="2021-10-28T12:03:27.011" v="4332" actId="1035"/>
          <ac:spMkLst>
            <pc:docMk/>
            <pc:sldMk cId="1950092934" sldId="1064"/>
            <ac:spMk id="47" creationId="{1CC700EC-998F-4E64-BFC2-1ED3A452E8FC}"/>
          </ac:spMkLst>
        </pc:spChg>
        <pc:spChg chg="add mod">
          <ac:chgData name="Dennis Hendriks - DHFS" userId="ceacf04f-0b47-4d6f-9d04-eca8f76fbd3c" providerId="ADAL" clId="{6BF22A83-B45F-4C2E-919F-A38CCDC27124}" dt="2021-10-28T12:00:15.125" v="4259"/>
          <ac:spMkLst>
            <pc:docMk/>
            <pc:sldMk cId="1950092934" sldId="1064"/>
            <ac:spMk id="48" creationId="{06C1EECC-B112-48D5-9ED0-0C95780BD11B}"/>
          </ac:spMkLst>
        </pc:spChg>
        <pc:spChg chg="add mod">
          <ac:chgData name="Dennis Hendriks - DHFS" userId="ceacf04f-0b47-4d6f-9d04-eca8f76fbd3c" providerId="ADAL" clId="{6BF22A83-B45F-4C2E-919F-A38CCDC27124}" dt="2021-11-01T13:57:12.727" v="5559"/>
          <ac:spMkLst>
            <pc:docMk/>
            <pc:sldMk cId="1950092934" sldId="1064"/>
            <ac:spMk id="49" creationId="{F67D1EB8-F718-4D1A-B812-246BFF9D760A}"/>
          </ac:spMkLst>
        </pc:spChg>
        <pc:spChg chg="add del mod">
          <ac:chgData name="Dennis Hendriks - DHFS" userId="ceacf04f-0b47-4d6f-9d04-eca8f76fbd3c" providerId="ADAL" clId="{6BF22A83-B45F-4C2E-919F-A38CCDC27124}" dt="2021-10-28T12:00:34.082" v="4262" actId="21"/>
          <ac:spMkLst>
            <pc:docMk/>
            <pc:sldMk cId="1950092934" sldId="1064"/>
            <ac:spMk id="49" creationId="{F7A5491D-82E0-49AD-8803-DABF9E89F442}"/>
          </ac:spMkLst>
        </pc:spChg>
        <pc:spChg chg="mod">
          <ac:chgData name="Dennis Hendriks - DHFS" userId="ceacf04f-0b47-4d6f-9d04-eca8f76fbd3c" providerId="ADAL" clId="{6BF22A83-B45F-4C2E-919F-A38CCDC27124}" dt="2021-10-28T12:03:27.011" v="4332" actId="1035"/>
          <ac:spMkLst>
            <pc:docMk/>
            <pc:sldMk cId="1950092934" sldId="1064"/>
            <ac:spMk id="50" creationId="{5D5F35DB-18D3-46DE-8711-0DC271224F12}"/>
          </ac:spMkLst>
        </pc:spChg>
        <pc:spChg chg="add del mod">
          <ac:chgData name="Dennis Hendriks - DHFS" userId="ceacf04f-0b47-4d6f-9d04-eca8f76fbd3c" providerId="ADAL" clId="{6BF22A83-B45F-4C2E-919F-A38CCDC27124}" dt="2021-10-28T12:00:34.082" v="4262" actId="21"/>
          <ac:spMkLst>
            <pc:docMk/>
            <pc:sldMk cId="1950092934" sldId="1064"/>
            <ac:spMk id="53" creationId="{3648F912-5D00-44AD-B6F1-68354A7AEC64}"/>
          </ac:spMkLst>
        </pc:spChg>
        <pc:spChg chg="add del mod">
          <ac:chgData name="Dennis Hendriks - DHFS" userId="ceacf04f-0b47-4d6f-9d04-eca8f76fbd3c" providerId="ADAL" clId="{6BF22A83-B45F-4C2E-919F-A38CCDC27124}" dt="2021-10-28T12:00:34.082" v="4262" actId="21"/>
          <ac:spMkLst>
            <pc:docMk/>
            <pc:sldMk cId="1950092934" sldId="1064"/>
            <ac:spMk id="54" creationId="{2F413BEB-1962-406F-B94D-1C2AF44CC552}"/>
          </ac:spMkLst>
        </pc:spChg>
        <pc:spChg chg="add del mod">
          <ac:chgData name="Dennis Hendriks - DHFS" userId="ceacf04f-0b47-4d6f-9d04-eca8f76fbd3c" providerId="ADAL" clId="{6BF22A83-B45F-4C2E-919F-A38CCDC27124}" dt="2021-10-28T12:00:34.082" v="4262" actId="21"/>
          <ac:spMkLst>
            <pc:docMk/>
            <pc:sldMk cId="1950092934" sldId="1064"/>
            <ac:spMk id="55" creationId="{018FB99E-E918-40FF-8701-6C5B92028CAC}"/>
          </ac:spMkLst>
        </pc:spChg>
        <pc:spChg chg="add mod">
          <ac:chgData name="Dennis Hendriks - DHFS" userId="ceacf04f-0b47-4d6f-9d04-eca8f76fbd3c" providerId="ADAL" clId="{6BF22A83-B45F-4C2E-919F-A38CCDC27124}" dt="2021-11-01T13:57:27.664" v="5564"/>
          <ac:spMkLst>
            <pc:docMk/>
            <pc:sldMk cId="1950092934" sldId="1064"/>
            <ac:spMk id="55" creationId="{AE680054-116D-455C-ABCF-158567CD1F9A}"/>
          </ac:spMkLst>
        </pc:spChg>
        <pc:spChg chg="add mod">
          <ac:chgData name="Dennis Hendriks - DHFS" userId="ceacf04f-0b47-4d6f-9d04-eca8f76fbd3c" providerId="ADAL" clId="{6BF22A83-B45F-4C2E-919F-A38CCDC27124}" dt="2021-11-01T13:57:27.664" v="5564"/>
          <ac:spMkLst>
            <pc:docMk/>
            <pc:sldMk cId="1950092934" sldId="1064"/>
            <ac:spMk id="56" creationId="{6D2C94C7-8B54-42AE-AE0D-306BA9B623D2}"/>
          </ac:spMkLst>
        </pc:spChg>
        <pc:spChg chg="add mod">
          <ac:chgData name="Dennis Hendriks - DHFS" userId="ceacf04f-0b47-4d6f-9d04-eca8f76fbd3c" providerId="ADAL" clId="{6BF22A83-B45F-4C2E-919F-A38CCDC27124}" dt="2021-11-01T13:57:27.664" v="5564"/>
          <ac:spMkLst>
            <pc:docMk/>
            <pc:sldMk cId="1950092934" sldId="1064"/>
            <ac:spMk id="57" creationId="{4C61998C-B23F-48DA-BC9D-230CD61F7034}"/>
          </ac:spMkLst>
        </pc:spChg>
        <pc:spChg chg="add del mod">
          <ac:chgData name="Dennis Hendriks - DHFS" userId="ceacf04f-0b47-4d6f-9d04-eca8f76fbd3c" providerId="ADAL" clId="{6BF22A83-B45F-4C2E-919F-A38CCDC27124}" dt="2021-10-28T12:00:57.514" v="4266" actId="478"/>
          <ac:spMkLst>
            <pc:docMk/>
            <pc:sldMk cId="1950092934" sldId="1064"/>
            <ac:spMk id="59" creationId="{2A227561-67A5-4E22-B8D4-AFBB2E7DE7EF}"/>
          </ac:spMkLst>
        </pc:spChg>
        <pc:spChg chg="mod">
          <ac:chgData name="Dennis Hendriks - DHFS" userId="ceacf04f-0b47-4d6f-9d04-eca8f76fbd3c" providerId="ADAL" clId="{6BF22A83-B45F-4C2E-919F-A38CCDC27124}" dt="2021-10-28T12:04:06.383" v="4340" actId="1076"/>
          <ac:spMkLst>
            <pc:docMk/>
            <pc:sldMk cId="1950092934" sldId="1064"/>
            <ac:spMk id="63" creationId="{DF915FFD-8109-4FBB-9763-8B6420ADB77F}"/>
          </ac:spMkLst>
        </pc:spChg>
        <pc:spChg chg="mod">
          <ac:chgData name="Dennis Hendriks - DHFS" userId="ceacf04f-0b47-4d6f-9d04-eca8f76fbd3c" providerId="ADAL" clId="{6BF22A83-B45F-4C2E-919F-A38CCDC27124}" dt="2021-10-28T12:04:09.287" v="4341" actId="1076"/>
          <ac:spMkLst>
            <pc:docMk/>
            <pc:sldMk cId="1950092934" sldId="1064"/>
            <ac:spMk id="64" creationId="{25DB2A58-D6A5-41CD-AB47-77CB45306B08}"/>
          </ac:spMkLst>
        </pc:spChg>
        <pc:spChg chg="mod">
          <ac:chgData name="Dennis Hendriks - DHFS" userId="ceacf04f-0b47-4d6f-9d04-eca8f76fbd3c" providerId="ADAL" clId="{6BF22A83-B45F-4C2E-919F-A38CCDC27124}" dt="2021-10-28T12:04:16.802" v="4345" actId="1038"/>
          <ac:spMkLst>
            <pc:docMk/>
            <pc:sldMk cId="1950092934" sldId="1064"/>
            <ac:spMk id="65" creationId="{985E268E-89F2-4890-A211-E13DDFBEC8A9}"/>
          </ac:spMkLst>
        </pc:spChg>
        <pc:spChg chg="mod">
          <ac:chgData name="Dennis Hendriks - DHFS" userId="ceacf04f-0b47-4d6f-9d04-eca8f76fbd3c" providerId="ADAL" clId="{6BF22A83-B45F-4C2E-919F-A38CCDC27124}" dt="2021-10-28T12:03:27.011" v="4332" actId="1035"/>
          <ac:spMkLst>
            <pc:docMk/>
            <pc:sldMk cId="1950092934" sldId="1064"/>
            <ac:spMk id="66" creationId="{60F1CF6E-0B71-40E5-AFC6-B24D5C7323F0}"/>
          </ac:spMkLst>
        </pc:spChg>
        <pc:spChg chg="del mod">
          <ac:chgData name="Dennis Hendriks - DHFS" userId="ceacf04f-0b47-4d6f-9d04-eca8f76fbd3c" providerId="ADAL" clId="{6BF22A83-B45F-4C2E-919F-A38CCDC27124}" dt="2021-11-01T13:57:12.527" v="5558" actId="478"/>
          <ac:spMkLst>
            <pc:docMk/>
            <pc:sldMk cId="1950092934" sldId="1064"/>
            <ac:spMk id="68" creationId="{00F04202-0E8F-4857-B920-D304DE8A7A28}"/>
          </ac:spMkLst>
        </pc:spChg>
        <pc:spChg chg="add del mod">
          <ac:chgData name="Dennis Hendriks - DHFS" userId="ceacf04f-0b47-4d6f-9d04-eca8f76fbd3c" providerId="ADAL" clId="{6BF22A83-B45F-4C2E-919F-A38CCDC27124}" dt="2021-10-28T12:00:57.514" v="4266" actId="478"/>
          <ac:spMkLst>
            <pc:docMk/>
            <pc:sldMk cId="1950092934" sldId="1064"/>
            <ac:spMk id="69" creationId="{0F37589D-E7BA-4B75-97BE-ACDD9A371004}"/>
          </ac:spMkLst>
        </pc:spChg>
        <pc:spChg chg="mod">
          <ac:chgData name="Dennis Hendriks - DHFS" userId="ceacf04f-0b47-4d6f-9d04-eca8f76fbd3c" providerId="ADAL" clId="{6BF22A83-B45F-4C2E-919F-A38CCDC27124}" dt="2021-10-28T12:12:41.600" v="4425" actId="113"/>
          <ac:spMkLst>
            <pc:docMk/>
            <pc:sldMk cId="1950092934" sldId="1064"/>
            <ac:spMk id="71" creationId="{6722732D-1E0D-41EA-BD67-70018D3B3260}"/>
          </ac:spMkLst>
        </pc:spChg>
        <pc:spChg chg="mod">
          <ac:chgData name="Dennis Hendriks - DHFS" userId="ceacf04f-0b47-4d6f-9d04-eca8f76fbd3c" providerId="ADAL" clId="{6BF22A83-B45F-4C2E-919F-A38CCDC27124}" dt="2021-10-28T12:03:12.130" v="4325" actId="1035"/>
          <ac:spMkLst>
            <pc:docMk/>
            <pc:sldMk cId="1950092934" sldId="1064"/>
            <ac:spMk id="72" creationId="{8306407A-6E0E-425C-9A89-4CF174DAAAC6}"/>
          </ac:spMkLst>
        </pc:spChg>
        <pc:spChg chg="add del mod">
          <ac:chgData name="Dennis Hendriks - DHFS" userId="ceacf04f-0b47-4d6f-9d04-eca8f76fbd3c" providerId="ADAL" clId="{6BF22A83-B45F-4C2E-919F-A38CCDC27124}" dt="2021-10-28T12:00:57.514" v="4266" actId="478"/>
          <ac:spMkLst>
            <pc:docMk/>
            <pc:sldMk cId="1950092934" sldId="1064"/>
            <ac:spMk id="73" creationId="{A849593A-BA6C-4F02-B46D-F19DC9A9BE39}"/>
          </ac:spMkLst>
        </pc:spChg>
        <pc:spChg chg="add del mod">
          <ac:chgData name="Dennis Hendriks - DHFS" userId="ceacf04f-0b47-4d6f-9d04-eca8f76fbd3c" providerId="ADAL" clId="{6BF22A83-B45F-4C2E-919F-A38CCDC27124}" dt="2021-10-28T12:00:57.514" v="4266" actId="478"/>
          <ac:spMkLst>
            <pc:docMk/>
            <pc:sldMk cId="1950092934" sldId="1064"/>
            <ac:spMk id="74" creationId="{8846AD99-A990-4580-B682-8A8CB9C51AEF}"/>
          </ac:spMkLst>
        </pc:spChg>
        <pc:spChg chg="mod">
          <ac:chgData name="Dennis Hendriks - DHFS" userId="ceacf04f-0b47-4d6f-9d04-eca8f76fbd3c" providerId="ADAL" clId="{6BF22A83-B45F-4C2E-919F-A38CCDC27124}" dt="2021-10-27T08:13:52.942" v="2440" actId="207"/>
          <ac:spMkLst>
            <pc:docMk/>
            <pc:sldMk cId="1950092934" sldId="1064"/>
            <ac:spMk id="75" creationId="{C73EE4B1-59B8-45F6-94D3-693F21BB1689}"/>
          </ac:spMkLst>
        </pc:spChg>
        <pc:spChg chg="mod">
          <ac:chgData name="Dennis Hendriks - DHFS" userId="ceacf04f-0b47-4d6f-9d04-eca8f76fbd3c" providerId="ADAL" clId="{6BF22A83-B45F-4C2E-919F-A38CCDC27124}" dt="2021-10-27T08:13:52.942" v="2440" actId="207"/>
          <ac:spMkLst>
            <pc:docMk/>
            <pc:sldMk cId="1950092934" sldId="1064"/>
            <ac:spMk id="77" creationId="{62436EC8-1385-4D53-B153-341C14F149AD}"/>
          </ac:spMkLst>
        </pc:spChg>
        <pc:spChg chg="add mod">
          <ac:chgData name="Dennis Hendriks - DHFS" userId="ceacf04f-0b47-4d6f-9d04-eca8f76fbd3c" providerId="ADAL" clId="{6BF22A83-B45F-4C2E-919F-A38CCDC27124}" dt="2021-10-28T12:01:19.477" v="4267"/>
          <ac:spMkLst>
            <pc:docMk/>
            <pc:sldMk cId="1950092934" sldId="1064"/>
            <ac:spMk id="78" creationId="{66C9F92C-59D2-4A8B-AB42-17E51565D7B4}"/>
          </ac:spMkLst>
        </pc:spChg>
        <pc:spChg chg="mod">
          <ac:chgData name="Dennis Hendriks - DHFS" userId="ceacf04f-0b47-4d6f-9d04-eca8f76fbd3c" providerId="ADAL" clId="{6BF22A83-B45F-4C2E-919F-A38CCDC27124}" dt="2021-10-27T08:12:46.348" v="2430" actId="207"/>
          <ac:spMkLst>
            <pc:docMk/>
            <pc:sldMk cId="1950092934" sldId="1064"/>
            <ac:spMk id="78" creationId="{ECB98BE5-D6E8-4326-8EFE-EE28823681BA}"/>
          </ac:spMkLst>
        </pc:spChg>
        <pc:spChg chg="mod">
          <ac:chgData name="Dennis Hendriks - DHFS" userId="ceacf04f-0b47-4d6f-9d04-eca8f76fbd3c" providerId="ADAL" clId="{6BF22A83-B45F-4C2E-919F-A38CCDC27124}" dt="2021-10-28T12:03:27.011" v="4332" actId="1035"/>
          <ac:spMkLst>
            <pc:docMk/>
            <pc:sldMk cId="1950092934" sldId="1064"/>
            <ac:spMk id="80" creationId="{60BBA36D-C7C9-44C1-A53E-B4A96BA42BC4}"/>
          </ac:spMkLst>
        </pc:spChg>
        <pc:spChg chg="mod">
          <ac:chgData name="Dennis Hendriks - DHFS" userId="ceacf04f-0b47-4d6f-9d04-eca8f76fbd3c" providerId="ADAL" clId="{6BF22A83-B45F-4C2E-919F-A38CCDC27124}" dt="2021-10-28T12:12:41.600" v="4425" actId="113"/>
          <ac:spMkLst>
            <pc:docMk/>
            <pc:sldMk cId="1950092934" sldId="1064"/>
            <ac:spMk id="82" creationId="{42FA8E37-2FF8-4943-8D73-814D27980228}"/>
          </ac:spMkLst>
        </pc:spChg>
        <pc:spChg chg="mod">
          <ac:chgData name="Dennis Hendriks - DHFS" userId="ceacf04f-0b47-4d6f-9d04-eca8f76fbd3c" providerId="ADAL" clId="{6BF22A83-B45F-4C2E-919F-A38CCDC27124}" dt="2021-10-28T12:03:47.152" v="4336" actId="14100"/>
          <ac:spMkLst>
            <pc:docMk/>
            <pc:sldMk cId="1950092934" sldId="1064"/>
            <ac:spMk id="83" creationId="{3512D7F1-1BC2-4C76-9971-CDF56EDCA6B0}"/>
          </ac:spMkLst>
        </pc:spChg>
        <pc:spChg chg="mod">
          <ac:chgData name="Dennis Hendriks - DHFS" userId="ceacf04f-0b47-4d6f-9d04-eca8f76fbd3c" providerId="ADAL" clId="{6BF22A83-B45F-4C2E-919F-A38CCDC27124}" dt="2021-10-28T12:03:47.152" v="4336" actId="14100"/>
          <ac:spMkLst>
            <pc:docMk/>
            <pc:sldMk cId="1950092934" sldId="1064"/>
            <ac:spMk id="84" creationId="{E395A1B4-640B-44FC-BC85-9E207C4BB63D}"/>
          </ac:spMkLst>
        </pc:spChg>
        <pc:spChg chg="mod">
          <ac:chgData name="Dennis Hendriks - DHFS" userId="ceacf04f-0b47-4d6f-9d04-eca8f76fbd3c" providerId="ADAL" clId="{6BF22A83-B45F-4C2E-919F-A38CCDC27124}" dt="2021-10-28T12:03:47.152" v="4336" actId="14100"/>
          <ac:spMkLst>
            <pc:docMk/>
            <pc:sldMk cId="1950092934" sldId="1064"/>
            <ac:spMk id="85" creationId="{9ABABFDB-AED7-44F6-8383-204414AF2A23}"/>
          </ac:spMkLst>
        </pc:spChg>
        <pc:spChg chg="add mod">
          <ac:chgData name="Dennis Hendriks - DHFS" userId="ceacf04f-0b47-4d6f-9d04-eca8f76fbd3c" providerId="ADAL" clId="{6BF22A83-B45F-4C2E-919F-A38CCDC27124}" dt="2021-10-28T12:01:19.477" v="4267"/>
          <ac:spMkLst>
            <pc:docMk/>
            <pc:sldMk cId="1950092934" sldId="1064"/>
            <ac:spMk id="86" creationId="{BDA79B10-6D19-4A62-B108-85D9E15EDD92}"/>
          </ac:spMkLst>
        </pc:spChg>
        <pc:spChg chg="del">
          <ac:chgData name="Dennis Hendriks - DHFS" userId="ceacf04f-0b47-4d6f-9d04-eca8f76fbd3c" providerId="ADAL" clId="{6BF22A83-B45F-4C2E-919F-A38CCDC27124}" dt="2021-10-28T12:02:21.090" v="4271" actId="478"/>
          <ac:spMkLst>
            <pc:docMk/>
            <pc:sldMk cId="1950092934" sldId="1064"/>
            <ac:spMk id="87" creationId="{420F1DE2-EF09-4A43-9B41-AC25EFB33C27}"/>
          </ac:spMkLst>
        </pc:spChg>
        <pc:spChg chg="add mod">
          <ac:chgData name="Dennis Hendriks - DHFS" userId="ceacf04f-0b47-4d6f-9d04-eca8f76fbd3c" providerId="ADAL" clId="{6BF22A83-B45F-4C2E-919F-A38CCDC27124}" dt="2021-10-28T12:01:19.477" v="4267"/>
          <ac:spMkLst>
            <pc:docMk/>
            <pc:sldMk cId="1950092934" sldId="1064"/>
            <ac:spMk id="88" creationId="{1E530AF5-01A6-44C0-8846-A80D27BC4946}"/>
          </ac:spMkLst>
        </pc:spChg>
        <pc:spChg chg="del mod">
          <ac:chgData name="Dennis Hendriks - DHFS" userId="ceacf04f-0b47-4d6f-9d04-eca8f76fbd3c" providerId="ADAL" clId="{6BF22A83-B45F-4C2E-919F-A38CCDC27124}" dt="2021-10-28T12:10:29.057" v="4405" actId="478"/>
          <ac:spMkLst>
            <pc:docMk/>
            <pc:sldMk cId="1950092934" sldId="1064"/>
            <ac:spMk id="89" creationId="{3331B022-BC52-4F96-87DC-5365E3D9ABEC}"/>
          </ac:spMkLst>
        </pc:spChg>
        <pc:spChg chg="del mod">
          <ac:chgData name="Dennis Hendriks - DHFS" userId="ceacf04f-0b47-4d6f-9d04-eca8f76fbd3c" providerId="ADAL" clId="{6BF22A83-B45F-4C2E-919F-A38CCDC27124}" dt="2021-10-28T12:10:29.057" v="4405" actId="478"/>
          <ac:spMkLst>
            <pc:docMk/>
            <pc:sldMk cId="1950092934" sldId="1064"/>
            <ac:spMk id="90" creationId="{0086998F-F6D9-4DE7-B7D9-6CD318F891F2}"/>
          </ac:spMkLst>
        </pc:spChg>
        <pc:spChg chg="del mod">
          <ac:chgData name="Dennis Hendriks - DHFS" userId="ceacf04f-0b47-4d6f-9d04-eca8f76fbd3c" providerId="ADAL" clId="{6BF22A83-B45F-4C2E-919F-A38CCDC27124}" dt="2021-10-28T12:01:30.745" v="4270" actId="478"/>
          <ac:spMkLst>
            <pc:docMk/>
            <pc:sldMk cId="1950092934" sldId="1064"/>
            <ac:spMk id="91" creationId="{2D0A4026-A4CA-41CF-BB3B-2208269A997F}"/>
          </ac:spMkLst>
        </pc:spChg>
        <pc:spChg chg="del mod">
          <ac:chgData name="Dennis Hendriks - DHFS" userId="ceacf04f-0b47-4d6f-9d04-eca8f76fbd3c" providerId="ADAL" clId="{6BF22A83-B45F-4C2E-919F-A38CCDC27124}" dt="2021-10-28T12:01:30.745" v="4270" actId="478"/>
          <ac:spMkLst>
            <pc:docMk/>
            <pc:sldMk cId="1950092934" sldId="1064"/>
            <ac:spMk id="93" creationId="{4610BF1C-B6DF-46FA-B614-B0D763F59202}"/>
          </ac:spMkLst>
        </pc:spChg>
        <pc:spChg chg="del mod">
          <ac:chgData name="Dennis Hendriks - DHFS" userId="ceacf04f-0b47-4d6f-9d04-eca8f76fbd3c" providerId="ADAL" clId="{6BF22A83-B45F-4C2E-919F-A38CCDC27124}" dt="2021-10-28T12:01:30.745" v="4270" actId="478"/>
          <ac:spMkLst>
            <pc:docMk/>
            <pc:sldMk cId="1950092934" sldId="1064"/>
            <ac:spMk id="94" creationId="{F4699B5C-F76E-459D-A0C0-B88F40889253}"/>
          </ac:spMkLst>
        </pc:spChg>
        <pc:spChg chg="del mod">
          <ac:chgData name="Dennis Hendriks - DHFS" userId="ceacf04f-0b47-4d6f-9d04-eca8f76fbd3c" providerId="ADAL" clId="{6BF22A83-B45F-4C2E-919F-A38CCDC27124}" dt="2021-10-28T12:01:30.745" v="4270" actId="478"/>
          <ac:spMkLst>
            <pc:docMk/>
            <pc:sldMk cId="1950092934" sldId="1064"/>
            <ac:spMk id="95" creationId="{5B707B52-866C-4185-AE59-543078B3959C}"/>
          </ac:spMkLst>
        </pc:spChg>
        <pc:spChg chg="del">
          <ac:chgData name="Dennis Hendriks - DHFS" userId="ceacf04f-0b47-4d6f-9d04-eca8f76fbd3c" providerId="ADAL" clId="{6BF22A83-B45F-4C2E-919F-A38CCDC27124}" dt="2021-10-28T12:00:16.761" v="4260" actId="478"/>
          <ac:spMkLst>
            <pc:docMk/>
            <pc:sldMk cId="1950092934" sldId="1064"/>
            <ac:spMk id="97" creationId="{BF5F4E47-111C-4ED4-ADF5-23C26886C4DD}"/>
          </ac:spMkLst>
        </pc:spChg>
        <pc:spChg chg="add mod">
          <ac:chgData name="Dennis Hendriks - DHFS" userId="ceacf04f-0b47-4d6f-9d04-eca8f76fbd3c" providerId="ADAL" clId="{6BF22A83-B45F-4C2E-919F-A38CCDC27124}" dt="2021-10-28T12:01:19.477" v="4267"/>
          <ac:spMkLst>
            <pc:docMk/>
            <pc:sldMk cId="1950092934" sldId="1064"/>
            <ac:spMk id="100" creationId="{CD5C944F-6BE6-4A4F-A0DC-82CAEC6CFFA2}"/>
          </ac:spMkLst>
        </pc:spChg>
        <pc:spChg chg="add del mod">
          <ac:chgData name="Dennis Hendriks - DHFS" userId="ceacf04f-0b47-4d6f-9d04-eca8f76fbd3c" providerId="ADAL" clId="{6BF22A83-B45F-4C2E-919F-A38CCDC27124}" dt="2021-10-28T12:17:39.148" v="4526" actId="478"/>
          <ac:spMkLst>
            <pc:docMk/>
            <pc:sldMk cId="1950092934" sldId="1064"/>
            <ac:spMk id="104" creationId="{61942A0E-B6B1-4A9C-94FB-8F027AD7E09F}"/>
          </ac:spMkLst>
        </pc:spChg>
        <pc:spChg chg="add del mod">
          <ac:chgData name="Dennis Hendriks - DHFS" userId="ceacf04f-0b47-4d6f-9d04-eca8f76fbd3c" providerId="ADAL" clId="{6BF22A83-B45F-4C2E-919F-A38CCDC27124}" dt="2021-10-28T12:17:39.715" v="4527" actId="478"/>
          <ac:spMkLst>
            <pc:docMk/>
            <pc:sldMk cId="1950092934" sldId="1064"/>
            <ac:spMk id="105" creationId="{5DA478C2-2352-4B51-BC1D-6AF5D6986EA8}"/>
          </ac:spMkLst>
        </pc:spChg>
        <pc:spChg chg="add del mod">
          <ac:chgData name="Dennis Hendriks - DHFS" userId="ceacf04f-0b47-4d6f-9d04-eca8f76fbd3c" providerId="ADAL" clId="{6BF22A83-B45F-4C2E-919F-A38CCDC27124}" dt="2021-10-28T12:17:36.934" v="4524" actId="478"/>
          <ac:spMkLst>
            <pc:docMk/>
            <pc:sldMk cId="1950092934" sldId="1064"/>
            <ac:spMk id="106" creationId="{88299A61-8F7D-437D-8095-33E9307290B6}"/>
          </ac:spMkLst>
        </pc:spChg>
        <pc:spChg chg="add mod">
          <ac:chgData name="Dennis Hendriks - DHFS" userId="ceacf04f-0b47-4d6f-9d04-eca8f76fbd3c" providerId="ADAL" clId="{6BF22A83-B45F-4C2E-919F-A38CCDC27124}" dt="2021-10-28T12:10:29.162" v="4406"/>
          <ac:spMkLst>
            <pc:docMk/>
            <pc:sldMk cId="1950092934" sldId="1064"/>
            <ac:spMk id="107" creationId="{F3EACAF7-09FA-41E2-9044-82CE08E5ED52}"/>
          </ac:spMkLst>
        </pc:spChg>
        <pc:spChg chg="add mod">
          <ac:chgData name="Dennis Hendriks - DHFS" userId="ceacf04f-0b47-4d6f-9d04-eca8f76fbd3c" providerId="ADAL" clId="{6BF22A83-B45F-4C2E-919F-A38CCDC27124}" dt="2021-10-28T12:10:29.162" v="4406"/>
          <ac:spMkLst>
            <pc:docMk/>
            <pc:sldMk cId="1950092934" sldId="1064"/>
            <ac:spMk id="108" creationId="{F56593A2-776A-438A-8A7A-94BA3F513AFC}"/>
          </ac:spMkLst>
        </pc:spChg>
        <pc:spChg chg="add mod">
          <ac:chgData name="Dennis Hendriks - DHFS" userId="ceacf04f-0b47-4d6f-9d04-eca8f76fbd3c" providerId="ADAL" clId="{6BF22A83-B45F-4C2E-919F-A38CCDC27124}" dt="2021-10-28T12:17:37.123" v="4525"/>
          <ac:spMkLst>
            <pc:docMk/>
            <pc:sldMk cId="1950092934" sldId="1064"/>
            <ac:spMk id="109" creationId="{043408C2-93AC-4825-8B2E-5FEAB490EB5C}"/>
          </ac:spMkLst>
        </pc:spChg>
        <pc:cxnChg chg="mod">
          <ac:chgData name="Dennis Hendriks - DHFS" userId="ceacf04f-0b47-4d6f-9d04-eca8f76fbd3c" providerId="ADAL" clId="{6BF22A83-B45F-4C2E-919F-A38CCDC27124}" dt="2021-10-28T12:03:27.011" v="4332" actId="1035"/>
          <ac:cxnSpMkLst>
            <pc:docMk/>
            <pc:sldMk cId="1950092934" sldId="1064"/>
            <ac:cxnSpMk id="51" creationId="{DB062CC3-CF91-423C-881D-E6E545282B3C}"/>
          </ac:cxnSpMkLst>
        </pc:cxnChg>
        <pc:cxnChg chg="add del mod">
          <ac:chgData name="Dennis Hendriks - DHFS" userId="ceacf04f-0b47-4d6f-9d04-eca8f76fbd3c" providerId="ADAL" clId="{6BF22A83-B45F-4C2E-919F-A38CCDC27124}" dt="2021-10-28T12:00:34.082" v="4262" actId="21"/>
          <ac:cxnSpMkLst>
            <pc:docMk/>
            <pc:sldMk cId="1950092934" sldId="1064"/>
            <ac:cxnSpMk id="52" creationId="{D5DB0B54-FBAA-4162-A28F-D6C00917DF20}"/>
          </ac:cxnSpMkLst>
        </pc:cxnChg>
        <pc:cxnChg chg="add mod">
          <ac:chgData name="Dennis Hendriks - DHFS" userId="ceacf04f-0b47-4d6f-9d04-eca8f76fbd3c" providerId="ADAL" clId="{6BF22A83-B45F-4C2E-919F-A38CCDC27124}" dt="2021-11-01T13:57:27.664" v="5564"/>
          <ac:cxnSpMkLst>
            <pc:docMk/>
            <pc:sldMk cId="1950092934" sldId="1064"/>
            <ac:cxnSpMk id="52" creationId="{F77BA086-39B8-451E-B32A-E3AD8D94F618}"/>
          </ac:cxnSpMkLst>
        </pc:cxnChg>
        <pc:cxnChg chg="add mod">
          <ac:chgData name="Dennis Hendriks - DHFS" userId="ceacf04f-0b47-4d6f-9d04-eca8f76fbd3c" providerId="ADAL" clId="{6BF22A83-B45F-4C2E-919F-A38CCDC27124}" dt="2021-11-01T13:57:27.664" v="5564"/>
          <ac:cxnSpMkLst>
            <pc:docMk/>
            <pc:sldMk cId="1950092934" sldId="1064"/>
            <ac:cxnSpMk id="53" creationId="{08475483-8C28-4018-830A-AB7ADF1210A7}"/>
          </ac:cxnSpMkLst>
        </pc:cxnChg>
        <pc:cxnChg chg="add mod">
          <ac:chgData name="Dennis Hendriks - DHFS" userId="ceacf04f-0b47-4d6f-9d04-eca8f76fbd3c" providerId="ADAL" clId="{6BF22A83-B45F-4C2E-919F-A38CCDC27124}" dt="2021-11-01T13:57:27.664" v="5564"/>
          <ac:cxnSpMkLst>
            <pc:docMk/>
            <pc:sldMk cId="1950092934" sldId="1064"/>
            <ac:cxnSpMk id="54" creationId="{D91ED2D7-A1B7-4167-9DFE-F65B3A490A0C}"/>
          </ac:cxnSpMkLst>
        </pc:cxnChg>
        <pc:cxnChg chg="add del mod">
          <ac:chgData name="Dennis Hendriks - DHFS" userId="ceacf04f-0b47-4d6f-9d04-eca8f76fbd3c" providerId="ADAL" clId="{6BF22A83-B45F-4C2E-919F-A38CCDC27124}" dt="2021-10-28T12:00:34.082" v="4262" actId="21"/>
          <ac:cxnSpMkLst>
            <pc:docMk/>
            <pc:sldMk cId="1950092934" sldId="1064"/>
            <ac:cxnSpMk id="56" creationId="{1A92709E-2197-4BD6-BAA2-D2A5AEAB796D}"/>
          </ac:cxnSpMkLst>
        </pc:cxnChg>
        <pc:cxnChg chg="add del mod">
          <ac:chgData name="Dennis Hendriks - DHFS" userId="ceacf04f-0b47-4d6f-9d04-eca8f76fbd3c" providerId="ADAL" clId="{6BF22A83-B45F-4C2E-919F-A38CCDC27124}" dt="2021-10-28T12:00:34.082" v="4262" actId="21"/>
          <ac:cxnSpMkLst>
            <pc:docMk/>
            <pc:sldMk cId="1950092934" sldId="1064"/>
            <ac:cxnSpMk id="57" creationId="{55DBFFCB-5B49-432B-83F7-552FA9797235}"/>
          </ac:cxnSpMkLst>
        </pc:cxnChg>
        <pc:cxnChg chg="add del mod">
          <ac:chgData name="Dennis Hendriks - DHFS" userId="ceacf04f-0b47-4d6f-9d04-eca8f76fbd3c" providerId="ADAL" clId="{6BF22A83-B45F-4C2E-919F-A38CCDC27124}" dt="2021-10-28T12:00:34.082" v="4262" actId="21"/>
          <ac:cxnSpMkLst>
            <pc:docMk/>
            <pc:sldMk cId="1950092934" sldId="1064"/>
            <ac:cxnSpMk id="58" creationId="{016EE26D-B415-4841-A9DD-15BC8B79D4EA}"/>
          </ac:cxnSpMkLst>
        </pc:cxnChg>
        <pc:cxnChg chg="mod">
          <ac:chgData name="Dennis Hendriks - DHFS" userId="ceacf04f-0b47-4d6f-9d04-eca8f76fbd3c" providerId="ADAL" clId="{6BF22A83-B45F-4C2E-919F-A38CCDC27124}" dt="2021-10-28T12:03:27.011" v="4332" actId="1035"/>
          <ac:cxnSpMkLst>
            <pc:docMk/>
            <pc:sldMk cId="1950092934" sldId="1064"/>
            <ac:cxnSpMk id="60" creationId="{25E5B118-7B3E-414B-BEE6-66FE615D5A87}"/>
          </ac:cxnSpMkLst>
        </pc:cxnChg>
        <pc:cxnChg chg="mod">
          <ac:chgData name="Dennis Hendriks - DHFS" userId="ceacf04f-0b47-4d6f-9d04-eca8f76fbd3c" providerId="ADAL" clId="{6BF22A83-B45F-4C2E-919F-A38CCDC27124}" dt="2021-10-28T12:03:27.011" v="4332" actId="1035"/>
          <ac:cxnSpMkLst>
            <pc:docMk/>
            <pc:sldMk cId="1950092934" sldId="1064"/>
            <ac:cxnSpMk id="61" creationId="{6A74F472-28F5-4110-BC3C-FD35256627B4}"/>
          </ac:cxnSpMkLst>
        </pc:cxnChg>
        <pc:cxnChg chg="add del mod">
          <ac:chgData name="Dennis Hendriks - DHFS" userId="ceacf04f-0b47-4d6f-9d04-eca8f76fbd3c" providerId="ADAL" clId="{6BF22A83-B45F-4C2E-919F-A38CCDC27124}" dt="2021-10-28T12:00:57.514" v="4266" actId="478"/>
          <ac:cxnSpMkLst>
            <pc:docMk/>
            <pc:sldMk cId="1950092934" sldId="1064"/>
            <ac:cxnSpMk id="62" creationId="{D6CDEB4B-C6C6-4BAB-A176-3DE692C5089C}"/>
          </ac:cxnSpMkLst>
        </pc:cxnChg>
        <pc:cxnChg chg="del mod">
          <ac:chgData name="Dennis Hendriks - DHFS" userId="ceacf04f-0b47-4d6f-9d04-eca8f76fbd3c" providerId="ADAL" clId="{6BF22A83-B45F-4C2E-919F-A38CCDC27124}" dt="2021-10-28T12:17:36.934" v="4524" actId="478"/>
          <ac:cxnSpMkLst>
            <pc:docMk/>
            <pc:sldMk cId="1950092934" sldId="1064"/>
            <ac:cxnSpMk id="67" creationId="{F5210CCF-B772-41E3-A209-6E984B97DC9E}"/>
          </ac:cxnSpMkLst>
        </pc:cxnChg>
        <pc:cxnChg chg="del mod">
          <ac:chgData name="Dennis Hendriks - DHFS" userId="ceacf04f-0b47-4d6f-9d04-eca8f76fbd3c" providerId="ADAL" clId="{6BF22A83-B45F-4C2E-919F-A38CCDC27124}" dt="2021-10-28T12:17:36.934" v="4524" actId="478"/>
          <ac:cxnSpMkLst>
            <pc:docMk/>
            <pc:sldMk cId="1950092934" sldId="1064"/>
            <ac:cxnSpMk id="70" creationId="{93190507-9112-4D2E-A29A-6D0EE224EAEF}"/>
          </ac:cxnSpMkLst>
        </pc:cxnChg>
        <pc:cxnChg chg="add del mod">
          <ac:chgData name="Dennis Hendriks - DHFS" userId="ceacf04f-0b47-4d6f-9d04-eca8f76fbd3c" providerId="ADAL" clId="{6BF22A83-B45F-4C2E-919F-A38CCDC27124}" dt="2021-10-28T12:00:57.514" v="4266" actId="478"/>
          <ac:cxnSpMkLst>
            <pc:docMk/>
            <pc:sldMk cId="1950092934" sldId="1064"/>
            <ac:cxnSpMk id="75" creationId="{8E614752-456F-46D6-A5AB-1ED441A110CF}"/>
          </ac:cxnSpMkLst>
        </pc:cxnChg>
        <pc:cxnChg chg="add del mod">
          <ac:chgData name="Dennis Hendriks - DHFS" userId="ceacf04f-0b47-4d6f-9d04-eca8f76fbd3c" providerId="ADAL" clId="{6BF22A83-B45F-4C2E-919F-A38CCDC27124}" dt="2021-10-28T12:00:57.514" v="4266" actId="478"/>
          <ac:cxnSpMkLst>
            <pc:docMk/>
            <pc:sldMk cId="1950092934" sldId="1064"/>
            <ac:cxnSpMk id="76" creationId="{D7728EFE-91CD-4884-93D5-9575D286935D}"/>
          </ac:cxnSpMkLst>
        </pc:cxnChg>
        <pc:cxnChg chg="add del mod">
          <ac:chgData name="Dennis Hendriks - DHFS" userId="ceacf04f-0b47-4d6f-9d04-eca8f76fbd3c" providerId="ADAL" clId="{6BF22A83-B45F-4C2E-919F-A38CCDC27124}" dt="2021-10-28T12:00:57.514" v="4266" actId="478"/>
          <ac:cxnSpMkLst>
            <pc:docMk/>
            <pc:sldMk cId="1950092934" sldId="1064"/>
            <ac:cxnSpMk id="77" creationId="{420326AA-C1F8-493B-80F2-693AF0265E91}"/>
          </ac:cxnSpMkLst>
        </pc:cxnChg>
        <pc:cxnChg chg="add mod">
          <ac:chgData name="Dennis Hendriks - DHFS" userId="ceacf04f-0b47-4d6f-9d04-eca8f76fbd3c" providerId="ADAL" clId="{6BF22A83-B45F-4C2E-919F-A38CCDC27124}" dt="2021-10-28T12:01:19.477" v="4267"/>
          <ac:cxnSpMkLst>
            <pc:docMk/>
            <pc:sldMk cId="1950092934" sldId="1064"/>
            <ac:cxnSpMk id="79" creationId="{BC0E59D7-A251-4660-9C55-263FFE9B2021}"/>
          </ac:cxnSpMkLst>
        </pc:cxnChg>
        <pc:cxnChg chg="del mod">
          <ac:chgData name="Dennis Hendriks - DHFS" userId="ceacf04f-0b47-4d6f-9d04-eca8f76fbd3c" providerId="ADAL" clId="{6BF22A83-B45F-4C2E-919F-A38CCDC27124}" dt="2021-10-28T12:17:36.934" v="4524" actId="478"/>
          <ac:cxnSpMkLst>
            <pc:docMk/>
            <pc:sldMk cId="1950092934" sldId="1064"/>
            <ac:cxnSpMk id="81" creationId="{3C905AF5-794B-4A9B-9C6C-A5BDFCFA55A1}"/>
          </ac:cxnSpMkLst>
        </pc:cxnChg>
        <pc:cxnChg chg="del mod">
          <ac:chgData name="Dennis Hendriks - DHFS" userId="ceacf04f-0b47-4d6f-9d04-eca8f76fbd3c" providerId="ADAL" clId="{6BF22A83-B45F-4C2E-919F-A38CCDC27124}" dt="2021-10-28T12:01:30.745" v="4270" actId="478"/>
          <ac:cxnSpMkLst>
            <pc:docMk/>
            <pc:sldMk cId="1950092934" sldId="1064"/>
            <ac:cxnSpMk id="92" creationId="{06793FB0-0283-479D-9AD1-6FCE21E8EB2E}"/>
          </ac:cxnSpMkLst>
        </pc:cxnChg>
        <pc:cxnChg chg="del mod">
          <ac:chgData name="Dennis Hendriks - DHFS" userId="ceacf04f-0b47-4d6f-9d04-eca8f76fbd3c" providerId="ADAL" clId="{6BF22A83-B45F-4C2E-919F-A38CCDC27124}" dt="2021-10-28T12:01:30.745" v="4270" actId="478"/>
          <ac:cxnSpMkLst>
            <pc:docMk/>
            <pc:sldMk cId="1950092934" sldId="1064"/>
            <ac:cxnSpMk id="96" creationId="{A63BCFF1-0EE2-4BFE-B922-2EAD72244635}"/>
          </ac:cxnSpMkLst>
        </pc:cxnChg>
        <pc:cxnChg chg="del mod">
          <ac:chgData name="Dennis Hendriks - DHFS" userId="ceacf04f-0b47-4d6f-9d04-eca8f76fbd3c" providerId="ADAL" clId="{6BF22A83-B45F-4C2E-919F-A38CCDC27124}" dt="2021-10-28T12:01:30.745" v="4270" actId="478"/>
          <ac:cxnSpMkLst>
            <pc:docMk/>
            <pc:sldMk cId="1950092934" sldId="1064"/>
            <ac:cxnSpMk id="98" creationId="{45037AEC-951A-42EA-B154-CDBF699FC997}"/>
          </ac:cxnSpMkLst>
        </pc:cxnChg>
        <pc:cxnChg chg="del mod">
          <ac:chgData name="Dennis Hendriks - DHFS" userId="ceacf04f-0b47-4d6f-9d04-eca8f76fbd3c" providerId="ADAL" clId="{6BF22A83-B45F-4C2E-919F-A38CCDC27124}" dt="2021-10-28T12:01:30.745" v="4270" actId="478"/>
          <ac:cxnSpMkLst>
            <pc:docMk/>
            <pc:sldMk cId="1950092934" sldId="1064"/>
            <ac:cxnSpMk id="99" creationId="{0EA6895B-4EE6-4709-BDB5-7AB0C748A7E8}"/>
          </ac:cxnSpMkLst>
        </pc:cxnChg>
        <pc:cxnChg chg="add mod">
          <ac:chgData name="Dennis Hendriks - DHFS" userId="ceacf04f-0b47-4d6f-9d04-eca8f76fbd3c" providerId="ADAL" clId="{6BF22A83-B45F-4C2E-919F-A38CCDC27124}" dt="2021-10-28T12:01:19.477" v="4267"/>
          <ac:cxnSpMkLst>
            <pc:docMk/>
            <pc:sldMk cId="1950092934" sldId="1064"/>
            <ac:cxnSpMk id="101" creationId="{B2035DFE-F533-43EF-A860-06E05B86F9EE}"/>
          </ac:cxnSpMkLst>
        </pc:cxnChg>
        <pc:cxnChg chg="add mod">
          <ac:chgData name="Dennis Hendriks - DHFS" userId="ceacf04f-0b47-4d6f-9d04-eca8f76fbd3c" providerId="ADAL" clId="{6BF22A83-B45F-4C2E-919F-A38CCDC27124}" dt="2021-10-28T12:01:19.477" v="4267"/>
          <ac:cxnSpMkLst>
            <pc:docMk/>
            <pc:sldMk cId="1950092934" sldId="1064"/>
            <ac:cxnSpMk id="102" creationId="{3059ACF2-0269-415B-9D3B-2A5EC30AC6AC}"/>
          </ac:cxnSpMkLst>
        </pc:cxnChg>
        <pc:cxnChg chg="add mod">
          <ac:chgData name="Dennis Hendriks - DHFS" userId="ceacf04f-0b47-4d6f-9d04-eca8f76fbd3c" providerId="ADAL" clId="{6BF22A83-B45F-4C2E-919F-A38CCDC27124}" dt="2021-10-28T12:01:19.477" v="4267"/>
          <ac:cxnSpMkLst>
            <pc:docMk/>
            <pc:sldMk cId="1950092934" sldId="1064"/>
            <ac:cxnSpMk id="103" creationId="{CB823B45-FD42-4EE1-B426-B57F693F1BE5}"/>
          </ac:cxnSpMkLst>
        </pc:cxnChg>
        <pc:cxnChg chg="add del mod">
          <ac:chgData name="Dennis Hendriks - DHFS" userId="ceacf04f-0b47-4d6f-9d04-eca8f76fbd3c" providerId="ADAL" clId="{6BF22A83-B45F-4C2E-919F-A38CCDC27124}" dt="2021-11-01T13:57:26.681" v="5563" actId="478"/>
          <ac:cxnSpMkLst>
            <pc:docMk/>
            <pc:sldMk cId="1950092934" sldId="1064"/>
            <ac:cxnSpMk id="110" creationId="{0BE4F9A7-C7BE-4DFB-BD17-2A22DA36ECD9}"/>
          </ac:cxnSpMkLst>
        </pc:cxnChg>
        <pc:cxnChg chg="add del mod">
          <ac:chgData name="Dennis Hendriks - DHFS" userId="ceacf04f-0b47-4d6f-9d04-eca8f76fbd3c" providerId="ADAL" clId="{6BF22A83-B45F-4C2E-919F-A38CCDC27124}" dt="2021-11-01T13:57:26.392" v="5562" actId="478"/>
          <ac:cxnSpMkLst>
            <pc:docMk/>
            <pc:sldMk cId="1950092934" sldId="1064"/>
            <ac:cxnSpMk id="111" creationId="{DA1D8A4A-D3C6-4C36-A28C-4B4BC4EC2986}"/>
          </ac:cxnSpMkLst>
        </pc:cxnChg>
        <pc:cxnChg chg="add del mod">
          <ac:chgData name="Dennis Hendriks - DHFS" userId="ceacf04f-0b47-4d6f-9d04-eca8f76fbd3c" providerId="ADAL" clId="{6BF22A83-B45F-4C2E-919F-A38CCDC27124}" dt="2021-11-01T13:57:25.059" v="5561" actId="478"/>
          <ac:cxnSpMkLst>
            <pc:docMk/>
            <pc:sldMk cId="1950092934" sldId="1064"/>
            <ac:cxnSpMk id="112" creationId="{D137AE54-563A-49BE-9ECA-6F7570330504}"/>
          </ac:cxnSpMkLst>
        </pc:cxnChg>
      </pc:sldChg>
      <pc:sldChg chg="modSp mod">
        <pc:chgData name="Dennis Hendriks - DHFS" userId="ceacf04f-0b47-4d6f-9d04-eca8f76fbd3c" providerId="ADAL" clId="{6BF22A83-B45F-4C2E-919F-A38CCDC27124}" dt="2021-10-27T08:25:10.306" v="2891" actId="6549"/>
        <pc:sldMkLst>
          <pc:docMk/>
          <pc:sldMk cId="4138300204" sldId="1065"/>
        </pc:sldMkLst>
        <pc:spChg chg="mod">
          <ac:chgData name="Dennis Hendriks - DHFS" userId="ceacf04f-0b47-4d6f-9d04-eca8f76fbd3c" providerId="ADAL" clId="{6BF22A83-B45F-4C2E-919F-A38CCDC27124}" dt="2021-10-27T08:25:10.306" v="2891" actId="6549"/>
          <ac:spMkLst>
            <pc:docMk/>
            <pc:sldMk cId="4138300204" sldId="1065"/>
            <ac:spMk id="5" creationId="{BDE3B0FF-B947-4B45-82C9-28ED80494271}"/>
          </ac:spMkLst>
        </pc:spChg>
      </pc:sldChg>
      <pc:sldChg chg="modSp mod modNotesTx">
        <pc:chgData name="Dennis Hendriks - DHFS" userId="ceacf04f-0b47-4d6f-9d04-eca8f76fbd3c" providerId="ADAL" clId="{6BF22A83-B45F-4C2E-919F-A38CCDC27124}" dt="2021-10-29T07:39:02.612" v="5487" actId="20577"/>
        <pc:sldMkLst>
          <pc:docMk/>
          <pc:sldMk cId="2419103688" sldId="1068"/>
        </pc:sldMkLst>
        <pc:spChg chg="mod">
          <ac:chgData name="Dennis Hendriks - DHFS" userId="ceacf04f-0b47-4d6f-9d04-eca8f76fbd3c" providerId="ADAL" clId="{6BF22A83-B45F-4C2E-919F-A38CCDC27124}" dt="2021-10-29T07:37:21.377" v="5373" actId="20577"/>
          <ac:spMkLst>
            <pc:docMk/>
            <pc:sldMk cId="2419103688" sldId="1068"/>
            <ac:spMk id="2" creationId="{37EE78F1-1B90-4346-9F63-78B79F732992}"/>
          </ac:spMkLst>
        </pc:spChg>
        <pc:spChg chg="mod">
          <ac:chgData name="Dennis Hendriks - DHFS" userId="ceacf04f-0b47-4d6f-9d04-eca8f76fbd3c" providerId="ADAL" clId="{6BF22A83-B45F-4C2E-919F-A38CCDC27124}" dt="2021-10-29T07:39:02.612" v="5487" actId="20577"/>
          <ac:spMkLst>
            <pc:docMk/>
            <pc:sldMk cId="2419103688" sldId="1068"/>
            <ac:spMk id="8" creationId="{78A476BF-FFED-45B6-BA60-C3C6B9EDF904}"/>
          </ac:spMkLst>
        </pc:spChg>
        <pc:graphicFrameChg chg="mod ord modGraphic">
          <ac:chgData name="Dennis Hendriks - DHFS" userId="ceacf04f-0b47-4d6f-9d04-eca8f76fbd3c" providerId="ADAL" clId="{6BF22A83-B45F-4C2E-919F-A38CCDC27124}" dt="2021-10-29T07:38:18.891" v="5391" actId="1036"/>
          <ac:graphicFrameMkLst>
            <pc:docMk/>
            <pc:sldMk cId="2419103688" sldId="1068"/>
            <ac:graphicFrameMk id="7" creationId="{27710DC7-F584-4A57-B73E-CC081E8FEF51}"/>
          </ac:graphicFrameMkLst>
        </pc:graphicFrameChg>
      </pc:sldChg>
      <pc:sldChg chg="del">
        <pc:chgData name="Dennis Hendriks - DHFS" userId="ceacf04f-0b47-4d6f-9d04-eca8f76fbd3c" providerId="ADAL" clId="{6BF22A83-B45F-4C2E-919F-A38CCDC27124}" dt="2021-10-27T07:53:13.212" v="1992" actId="2696"/>
        <pc:sldMkLst>
          <pc:docMk/>
          <pc:sldMk cId="2202544704" sldId="1070"/>
        </pc:sldMkLst>
      </pc:sldChg>
      <pc:sldChg chg="modSp add del mod">
        <pc:chgData name="Dennis Hendriks - DHFS" userId="ceacf04f-0b47-4d6f-9d04-eca8f76fbd3c" providerId="ADAL" clId="{6BF22A83-B45F-4C2E-919F-A38CCDC27124}" dt="2021-11-02T08:51:07.676" v="5573" actId="47"/>
        <pc:sldMkLst>
          <pc:docMk/>
          <pc:sldMk cId="2569785689" sldId="1070"/>
        </pc:sldMkLst>
        <pc:spChg chg="mod">
          <ac:chgData name="Dennis Hendriks - DHFS" userId="ceacf04f-0b47-4d6f-9d04-eca8f76fbd3c" providerId="ADAL" clId="{6BF22A83-B45F-4C2E-919F-A38CCDC27124}" dt="2021-10-29T07:27:39.306" v="5253" actId="20577"/>
          <ac:spMkLst>
            <pc:docMk/>
            <pc:sldMk cId="2569785689" sldId="1070"/>
            <ac:spMk id="6" creationId="{25AE9185-6FBC-4A22-BF97-355682DEC9DE}"/>
          </ac:spMkLst>
        </pc:spChg>
      </pc:sldChg>
      <pc:sldChg chg="delSp modSp mod addCm modCm">
        <pc:chgData name="Dennis Hendriks - DHFS" userId="ceacf04f-0b47-4d6f-9d04-eca8f76fbd3c" providerId="ADAL" clId="{6BF22A83-B45F-4C2E-919F-A38CCDC27124}" dt="2021-10-28T12:37:13.324" v="5086" actId="20577"/>
        <pc:sldMkLst>
          <pc:docMk/>
          <pc:sldMk cId="2659228924" sldId="1071"/>
        </pc:sldMkLst>
        <pc:spChg chg="mod">
          <ac:chgData name="Dennis Hendriks - DHFS" userId="ceacf04f-0b47-4d6f-9d04-eca8f76fbd3c" providerId="ADAL" clId="{6BF22A83-B45F-4C2E-919F-A38CCDC27124}" dt="2021-10-28T12:37:13.324" v="5086" actId="20577"/>
          <ac:spMkLst>
            <pc:docMk/>
            <pc:sldMk cId="2659228924" sldId="1071"/>
            <ac:spMk id="2" creationId="{0921E4BA-B5D3-43BB-B70B-ACCC1C35AFB0}"/>
          </ac:spMkLst>
        </pc:spChg>
        <pc:spChg chg="del">
          <ac:chgData name="Dennis Hendriks - DHFS" userId="ceacf04f-0b47-4d6f-9d04-eca8f76fbd3c" providerId="ADAL" clId="{6BF22A83-B45F-4C2E-919F-A38CCDC27124}" dt="2021-10-27T08:04:17.423" v="2211" actId="478"/>
          <ac:spMkLst>
            <pc:docMk/>
            <pc:sldMk cId="2659228924" sldId="1071"/>
            <ac:spMk id="6" creationId="{7AFA5E49-5C9E-436D-B9E5-E00F7822EB87}"/>
          </ac:spMkLst>
        </pc:spChg>
        <pc:picChg chg="mod modCrop">
          <ac:chgData name="Dennis Hendriks - DHFS" userId="ceacf04f-0b47-4d6f-9d04-eca8f76fbd3c" providerId="ADAL" clId="{6BF22A83-B45F-4C2E-919F-A38CCDC27124}" dt="2021-10-27T08:04:39.160" v="2215" actId="1076"/>
          <ac:picMkLst>
            <pc:docMk/>
            <pc:sldMk cId="2659228924" sldId="1071"/>
            <ac:picMk id="7" creationId="{C2B0A497-7D2C-45A5-9D13-6DD135F183FF}"/>
          </ac:picMkLst>
        </pc:picChg>
      </pc:sldChg>
      <pc:sldChg chg="delSp modSp mod">
        <pc:chgData name="Dennis Hendriks - DHFS" userId="ceacf04f-0b47-4d6f-9d04-eca8f76fbd3c" providerId="ADAL" clId="{6BF22A83-B45F-4C2E-919F-A38CCDC27124}" dt="2021-10-28T12:37:18.056" v="5088" actId="20577"/>
        <pc:sldMkLst>
          <pc:docMk/>
          <pc:sldMk cId="1768273606" sldId="1072"/>
        </pc:sldMkLst>
        <pc:spChg chg="mod">
          <ac:chgData name="Dennis Hendriks - DHFS" userId="ceacf04f-0b47-4d6f-9d04-eca8f76fbd3c" providerId="ADAL" clId="{6BF22A83-B45F-4C2E-919F-A38CCDC27124}" dt="2021-10-28T12:37:18.056" v="5088" actId="20577"/>
          <ac:spMkLst>
            <pc:docMk/>
            <pc:sldMk cId="1768273606" sldId="1072"/>
            <ac:spMk id="2" creationId="{24CCB04A-78F0-44EC-AD7A-9502BEC58A09}"/>
          </ac:spMkLst>
        </pc:spChg>
        <pc:spChg chg="del">
          <ac:chgData name="Dennis Hendriks - DHFS" userId="ceacf04f-0b47-4d6f-9d04-eca8f76fbd3c" providerId="ADAL" clId="{6BF22A83-B45F-4C2E-919F-A38CCDC27124}" dt="2021-10-27T08:04:12.707" v="2210" actId="478"/>
          <ac:spMkLst>
            <pc:docMk/>
            <pc:sldMk cId="1768273606" sldId="1072"/>
            <ac:spMk id="6" creationId="{55442F5A-75DE-482B-B1D7-D00AE079567E}"/>
          </ac:spMkLst>
        </pc:spChg>
        <pc:picChg chg="mod modCrop">
          <ac:chgData name="Dennis Hendriks - DHFS" userId="ceacf04f-0b47-4d6f-9d04-eca8f76fbd3c" providerId="ADAL" clId="{6BF22A83-B45F-4C2E-919F-A38CCDC27124}" dt="2021-10-27T08:04:10.908" v="2209" actId="1076"/>
          <ac:picMkLst>
            <pc:docMk/>
            <pc:sldMk cId="1768273606" sldId="1072"/>
            <ac:picMk id="7" creationId="{E842AFDD-8EF7-4A4D-A07F-8A802AC4C4A6}"/>
          </ac:picMkLst>
        </pc:picChg>
      </pc:sldChg>
      <pc:sldChg chg="addSp delSp modSp mod addCm delCm">
        <pc:chgData name="Dennis Hendriks - DHFS" userId="ceacf04f-0b47-4d6f-9d04-eca8f76fbd3c" providerId="ADAL" clId="{6BF22A83-B45F-4C2E-919F-A38CCDC27124}" dt="2021-10-27T08:20:10.512" v="2666" actId="20577"/>
        <pc:sldMkLst>
          <pc:docMk/>
          <pc:sldMk cId="1002399906" sldId="1075"/>
        </pc:sldMkLst>
        <pc:spChg chg="mod">
          <ac:chgData name="Dennis Hendriks - DHFS" userId="ceacf04f-0b47-4d6f-9d04-eca8f76fbd3c" providerId="ADAL" clId="{6BF22A83-B45F-4C2E-919F-A38CCDC27124}" dt="2021-10-27T08:20:10.512" v="2666" actId="20577"/>
          <ac:spMkLst>
            <pc:docMk/>
            <pc:sldMk cId="1002399906" sldId="1075"/>
            <ac:spMk id="2" creationId="{B957BCA6-102A-429D-A232-854B87C24FF3}"/>
          </ac:spMkLst>
        </pc:spChg>
        <pc:spChg chg="mod">
          <ac:chgData name="Dennis Hendriks - DHFS" userId="ceacf04f-0b47-4d6f-9d04-eca8f76fbd3c" providerId="ADAL" clId="{6BF22A83-B45F-4C2E-919F-A38CCDC27124}" dt="2021-10-27T07:12:37.740" v="621" actId="122"/>
          <ac:spMkLst>
            <pc:docMk/>
            <pc:sldMk cId="1002399906" sldId="1075"/>
            <ac:spMk id="3" creationId="{5A2DAA75-5287-41CA-A915-A9126CD14C3A}"/>
          </ac:spMkLst>
        </pc:spChg>
        <pc:spChg chg="mod">
          <ac:chgData name="Dennis Hendriks - DHFS" userId="ceacf04f-0b47-4d6f-9d04-eca8f76fbd3c" providerId="ADAL" clId="{6BF22A83-B45F-4C2E-919F-A38CCDC27124}" dt="2021-10-27T07:12:37.740" v="621" actId="122"/>
          <ac:spMkLst>
            <pc:docMk/>
            <pc:sldMk cId="1002399906" sldId="1075"/>
            <ac:spMk id="4" creationId="{0E1A3782-74AB-451E-BA38-0330431DD1CA}"/>
          </ac:spMkLst>
        </pc:spChg>
        <pc:spChg chg="del mod">
          <ac:chgData name="Dennis Hendriks - DHFS" userId="ceacf04f-0b47-4d6f-9d04-eca8f76fbd3c" providerId="ADAL" clId="{6BF22A83-B45F-4C2E-919F-A38CCDC27124}" dt="2021-10-27T07:12:27.785" v="617" actId="478"/>
          <ac:spMkLst>
            <pc:docMk/>
            <pc:sldMk cId="1002399906" sldId="1075"/>
            <ac:spMk id="5" creationId="{35618454-42B7-4D5A-85C3-81DC08380C04}"/>
          </ac:spMkLst>
        </pc:spChg>
        <pc:spChg chg="add mod">
          <ac:chgData name="Dennis Hendriks - DHFS" userId="ceacf04f-0b47-4d6f-9d04-eca8f76fbd3c" providerId="ADAL" clId="{6BF22A83-B45F-4C2E-919F-A38CCDC27124}" dt="2021-10-27T08:10:53.701" v="2424" actId="14100"/>
          <ac:spMkLst>
            <pc:docMk/>
            <pc:sldMk cId="1002399906" sldId="1075"/>
            <ac:spMk id="7" creationId="{F6297831-3D02-4F71-8259-AC20621506DE}"/>
          </ac:spMkLst>
        </pc:spChg>
      </pc:sldChg>
      <pc:sldChg chg="addSp delSp modSp mod">
        <pc:chgData name="Dennis Hendriks - DHFS" userId="ceacf04f-0b47-4d6f-9d04-eca8f76fbd3c" providerId="ADAL" clId="{6BF22A83-B45F-4C2E-919F-A38CCDC27124}" dt="2021-10-27T08:20:40.212" v="2730" actId="20577"/>
        <pc:sldMkLst>
          <pc:docMk/>
          <pc:sldMk cId="254963194" sldId="1086"/>
        </pc:sldMkLst>
        <pc:spChg chg="mod">
          <ac:chgData name="Dennis Hendriks - DHFS" userId="ceacf04f-0b47-4d6f-9d04-eca8f76fbd3c" providerId="ADAL" clId="{6BF22A83-B45F-4C2E-919F-A38CCDC27124}" dt="2021-10-27T08:20:40.212" v="2730" actId="20577"/>
          <ac:spMkLst>
            <pc:docMk/>
            <pc:sldMk cId="254963194" sldId="1086"/>
            <ac:spMk id="2" creationId="{6B4F03B3-FDB5-4883-9907-BC1B4C27AF5F}"/>
          </ac:spMkLst>
        </pc:spChg>
        <pc:spChg chg="mod">
          <ac:chgData name="Dennis Hendriks - DHFS" userId="ceacf04f-0b47-4d6f-9d04-eca8f76fbd3c" providerId="ADAL" clId="{6BF22A83-B45F-4C2E-919F-A38CCDC27124}" dt="2021-10-27T07:05:46.363" v="429" actId="14100"/>
          <ac:spMkLst>
            <pc:docMk/>
            <pc:sldMk cId="254963194" sldId="1086"/>
            <ac:spMk id="5" creationId="{0F261FE0-184C-4983-8B46-33AF7B6C8105}"/>
          </ac:spMkLst>
        </pc:spChg>
        <pc:spChg chg="mod">
          <ac:chgData name="Dennis Hendriks - DHFS" userId="ceacf04f-0b47-4d6f-9d04-eca8f76fbd3c" providerId="ADAL" clId="{6BF22A83-B45F-4C2E-919F-A38CCDC27124}" dt="2021-10-27T07:05:52.585" v="435" actId="14100"/>
          <ac:spMkLst>
            <pc:docMk/>
            <pc:sldMk cId="254963194" sldId="1086"/>
            <ac:spMk id="8" creationId="{7680997F-BF54-49B7-8141-67E7B88BE51D}"/>
          </ac:spMkLst>
        </pc:spChg>
        <pc:spChg chg="mod">
          <ac:chgData name="Dennis Hendriks - DHFS" userId="ceacf04f-0b47-4d6f-9d04-eca8f76fbd3c" providerId="ADAL" clId="{6BF22A83-B45F-4C2E-919F-A38CCDC27124}" dt="2021-10-27T07:06:27.751" v="464" actId="14100"/>
          <ac:spMkLst>
            <pc:docMk/>
            <pc:sldMk cId="254963194" sldId="1086"/>
            <ac:spMk id="12" creationId="{596332ED-6E58-4283-B20E-E34778B20B0E}"/>
          </ac:spMkLst>
        </pc:spChg>
        <pc:spChg chg="mod">
          <ac:chgData name="Dennis Hendriks - DHFS" userId="ceacf04f-0b47-4d6f-9d04-eca8f76fbd3c" providerId="ADAL" clId="{6BF22A83-B45F-4C2E-919F-A38CCDC27124}" dt="2021-10-27T07:06:26.144" v="463" actId="14100"/>
          <ac:spMkLst>
            <pc:docMk/>
            <pc:sldMk cId="254963194" sldId="1086"/>
            <ac:spMk id="13" creationId="{8A440996-7D82-4796-9A31-A846748623E6}"/>
          </ac:spMkLst>
        </pc:spChg>
        <pc:spChg chg="mod">
          <ac:chgData name="Dennis Hendriks - DHFS" userId="ceacf04f-0b47-4d6f-9d04-eca8f76fbd3c" providerId="ADAL" clId="{6BF22A83-B45F-4C2E-919F-A38CCDC27124}" dt="2021-10-27T07:06:24.403" v="462" actId="14100"/>
          <ac:spMkLst>
            <pc:docMk/>
            <pc:sldMk cId="254963194" sldId="1086"/>
            <ac:spMk id="14" creationId="{E4D2EE06-969A-4D7C-8423-7F0F36FA0540}"/>
          </ac:spMkLst>
        </pc:spChg>
        <pc:spChg chg="del mod">
          <ac:chgData name="Dennis Hendriks - DHFS" userId="ceacf04f-0b47-4d6f-9d04-eca8f76fbd3c" providerId="ADAL" clId="{6BF22A83-B45F-4C2E-919F-A38CCDC27124}" dt="2021-10-27T07:12:04.850" v="604"/>
          <ac:spMkLst>
            <pc:docMk/>
            <pc:sldMk cId="254963194" sldId="1086"/>
            <ac:spMk id="15" creationId="{263D2FE3-5319-4030-A89C-08A155BB6391}"/>
          </ac:spMkLst>
        </pc:spChg>
        <pc:spChg chg="add mod">
          <ac:chgData name="Dennis Hendriks - DHFS" userId="ceacf04f-0b47-4d6f-9d04-eca8f76fbd3c" providerId="ADAL" clId="{6BF22A83-B45F-4C2E-919F-A38CCDC27124}" dt="2021-10-27T07:12:12.076" v="613" actId="20577"/>
          <ac:spMkLst>
            <pc:docMk/>
            <pc:sldMk cId="254963194" sldId="1086"/>
            <ac:spMk id="16" creationId="{09E63732-C62F-4E92-B7AE-229C61149050}"/>
          </ac:spMkLst>
        </pc:spChg>
        <pc:picChg chg="mod">
          <ac:chgData name="Dennis Hendriks - DHFS" userId="ceacf04f-0b47-4d6f-9d04-eca8f76fbd3c" providerId="ADAL" clId="{6BF22A83-B45F-4C2E-919F-A38CCDC27124}" dt="2021-10-27T07:05:03.148" v="404" actId="1037"/>
          <ac:picMkLst>
            <pc:docMk/>
            <pc:sldMk cId="254963194" sldId="1086"/>
            <ac:picMk id="6" creationId="{2E6B9CC6-CA77-46FA-9886-5C7964A92D10}"/>
          </ac:picMkLst>
        </pc:picChg>
        <pc:picChg chg="mod">
          <ac:chgData name="Dennis Hendriks - DHFS" userId="ceacf04f-0b47-4d6f-9d04-eca8f76fbd3c" providerId="ADAL" clId="{6BF22A83-B45F-4C2E-919F-A38CCDC27124}" dt="2021-10-27T07:06:03.244" v="446" actId="1035"/>
          <ac:picMkLst>
            <pc:docMk/>
            <pc:sldMk cId="254963194" sldId="1086"/>
            <ac:picMk id="7" creationId="{9CD522C4-234D-44CD-A03B-080012FD3738}"/>
          </ac:picMkLst>
        </pc:picChg>
        <pc:picChg chg="mod">
          <ac:chgData name="Dennis Hendriks - DHFS" userId="ceacf04f-0b47-4d6f-9d04-eca8f76fbd3c" providerId="ADAL" clId="{6BF22A83-B45F-4C2E-919F-A38CCDC27124}" dt="2021-10-27T07:05:38.195" v="426" actId="1037"/>
          <ac:picMkLst>
            <pc:docMk/>
            <pc:sldMk cId="254963194" sldId="1086"/>
            <ac:picMk id="9" creationId="{C6D20611-90C8-4334-9CA6-AAD55CEE1561}"/>
          </ac:picMkLst>
        </pc:picChg>
        <pc:picChg chg="mod">
          <ac:chgData name="Dennis Hendriks - DHFS" userId="ceacf04f-0b47-4d6f-9d04-eca8f76fbd3c" providerId="ADAL" clId="{6BF22A83-B45F-4C2E-919F-A38CCDC27124}" dt="2021-10-27T07:05:47.723" v="433" actId="1038"/>
          <ac:picMkLst>
            <pc:docMk/>
            <pc:sldMk cId="254963194" sldId="1086"/>
            <ac:picMk id="10" creationId="{4C81E474-DF33-4943-ACFF-130808D5441A}"/>
          </ac:picMkLst>
        </pc:picChg>
        <pc:picChg chg="mod">
          <ac:chgData name="Dennis Hendriks - DHFS" userId="ceacf04f-0b47-4d6f-9d04-eca8f76fbd3c" providerId="ADAL" clId="{6BF22A83-B45F-4C2E-919F-A38CCDC27124}" dt="2021-10-27T07:06:15.834" v="460" actId="1037"/>
          <ac:picMkLst>
            <pc:docMk/>
            <pc:sldMk cId="254963194" sldId="1086"/>
            <ac:picMk id="11" creationId="{80A9E0F0-7580-4406-89A3-DAA4EBE7364C}"/>
          </ac:picMkLst>
        </pc:picChg>
      </pc:sldChg>
      <pc:sldChg chg="modSp mod">
        <pc:chgData name="Dennis Hendriks - DHFS" userId="ceacf04f-0b47-4d6f-9d04-eca8f76fbd3c" providerId="ADAL" clId="{6BF22A83-B45F-4C2E-919F-A38CCDC27124}" dt="2021-10-27T08:25:54.853" v="2929" actId="20577"/>
        <pc:sldMkLst>
          <pc:docMk/>
          <pc:sldMk cId="2073591893" sldId="1088"/>
        </pc:sldMkLst>
        <pc:spChg chg="mod">
          <ac:chgData name="Dennis Hendriks - DHFS" userId="ceacf04f-0b47-4d6f-9d04-eca8f76fbd3c" providerId="ADAL" clId="{6BF22A83-B45F-4C2E-919F-A38CCDC27124}" dt="2021-10-27T08:25:54.853" v="2929" actId="20577"/>
          <ac:spMkLst>
            <pc:docMk/>
            <pc:sldMk cId="2073591893" sldId="1088"/>
            <ac:spMk id="2" creationId="{0CCCE8F1-B5C9-463E-AAD7-D446C7FAB026}"/>
          </ac:spMkLst>
        </pc:spChg>
        <pc:spChg chg="mod">
          <ac:chgData name="Dennis Hendriks - DHFS" userId="ceacf04f-0b47-4d6f-9d04-eca8f76fbd3c" providerId="ADAL" clId="{6BF22A83-B45F-4C2E-919F-A38CCDC27124}" dt="2021-10-27T06:58:16.260" v="138" actId="20577"/>
          <ac:spMkLst>
            <pc:docMk/>
            <pc:sldMk cId="2073591893" sldId="1088"/>
            <ac:spMk id="19" creationId="{D91070AD-2196-4CFB-A1F9-96A3BCCEAE38}"/>
          </ac:spMkLst>
        </pc:spChg>
      </pc:sldChg>
      <pc:sldChg chg="modSp mod">
        <pc:chgData name="Dennis Hendriks - DHFS" userId="ceacf04f-0b47-4d6f-9d04-eca8f76fbd3c" providerId="ADAL" clId="{6BF22A83-B45F-4C2E-919F-A38CCDC27124}" dt="2021-10-29T07:27:15.925" v="5233" actId="20577"/>
        <pc:sldMkLst>
          <pc:docMk/>
          <pc:sldMk cId="2712997306" sldId="1094"/>
        </pc:sldMkLst>
        <pc:spChg chg="mod">
          <ac:chgData name="Dennis Hendriks - DHFS" userId="ceacf04f-0b47-4d6f-9d04-eca8f76fbd3c" providerId="ADAL" clId="{6BF22A83-B45F-4C2E-919F-A38CCDC27124}" dt="2021-10-29T07:27:15.925" v="5233" actId="20577"/>
          <ac:spMkLst>
            <pc:docMk/>
            <pc:sldMk cId="2712997306" sldId="1094"/>
            <ac:spMk id="2" creationId="{F284C008-9758-4938-BCD7-5645AFD9A1F1}"/>
          </ac:spMkLst>
        </pc:spChg>
        <pc:spChg chg="mod">
          <ac:chgData name="Dennis Hendriks - DHFS" userId="ceacf04f-0b47-4d6f-9d04-eca8f76fbd3c" providerId="ADAL" clId="{6BF22A83-B45F-4C2E-919F-A38CCDC27124}" dt="2021-10-27T07:56:15.592" v="2037" actId="6549"/>
          <ac:spMkLst>
            <pc:docMk/>
            <pc:sldMk cId="2712997306" sldId="1094"/>
            <ac:spMk id="6" creationId="{A7EBF8B7-7F7C-4160-8732-AA20DEF5DC4A}"/>
          </ac:spMkLst>
        </pc:spChg>
      </pc:sldChg>
      <pc:sldChg chg="addSp modSp mod modAnim">
        <pc:chgData name="Dennis Hendriks - DHFS" userId="ceacf04f-0b47-4d6f-9d04-eca8f76fbd3c" providerId="ADAL" clId="{6BF22A83-B45F-4C2E-919F-A38CCDC27124}" dt="2021-10-27T08:21:07.902" v="2766" actId="20577"/>
        <pc:sldMkLst>
          <pc:docMk/>
          <pc:sldMk cId="1867670977" sldId="1096"/>
        </pc:sldMkLst>
        <pc:spChg chg="mod">
          <ac:chgData name="Dennis Hendriks - DHFS" userId="ceacf04f-0b47-4d6f-9d04-eca8f76fbd3c" providerId="ADAL" clId="{6BF22A83-B45F-4C2E-919F-A38CCDC27124}" dt="2021-10-27T08:21:01.983" v="2764" actId="20577"/>
          <ac:spMkLst>
            <pc:docMk/>
            <pc:sldMk cId="1867670977" sldId="1096"/>
            <ac:spMk id="2" creationId="{6009ED39-490C-49ED-940E-630C001C306B}"/>
          </ac:spMkLst>
        </pc:spChg>
        <pc:spChg chg="mod">
          <ac:chgData name="Dennis Hendriks - DHFS" userId="ceacf04f-0b47-4d6f-9d04-eca8f76fbd3c" providerId="ADAL" clId="{6BF22A83-B45F-4C2E-919F-A38CCDC27124}" dt="2021-10-27T07:10:58.351" v="579" actId="21"/>
          <ac:spMkLst>
            <pc:docMk/>
            <pc:sldMk cId="1867670977" sldId="1096"/>
            <ac:spMk id="5" creationId="{FDE7BEF5-25EC-4CF5-A934-71A874846172}"/>
          </ac:spMkLst>
        </pc:spChg>
        <pc:spChg chg="add mod">
          <ac:chgData name="Dennis Hendriks - DHFS" userId="ceacf04f-0b47-4d6f-9d04-eca8f76fbd3c" providerId="ADAL" clId="{6BF22A83-B45F-4C2E-919F-A38CCDC27124}" dt="2021-10-27T08:21:07.902" v="2766" actId="20577"/>
          <ac:spMkLst>
            <pc:docMk/>
            <pc:sldMk cId="1867670977" sldId="1096"/>
            <ac:spMk id="8" creationId="{0CFE3DE7-BED3-42E4-945C-E0A533DF3676}"/>
          </ac:spMkLst>
        </pc:spChg>
        <pc:picChg chg="mod">
          <ac:chgData name="Dennis Hendriks - DHFS" userId="ceacf04f-0b47-4d6f-9d04-eca8f76fbd3c" providerId="ADAL" clId="{6BF22A83-B45F-4C2E-919F-A38CCDC27124}" dt="2021-10-27T07:06:58.452" v="481" actId="1076"/>
          <ac:picMkLst>
            <pc:docMk/>
            <pc:sldMk cId="1867670977" sldId="1096"/>
            <ac:picMk id="7" creationId="{28570DBC-9AD1-410E-A3DC-A8C154092979}"/>
          </ac:picMkLst>
        </pc:picChg>
      </pc:sldChg>
      <pc:sldChg chg="addSp delSp modSp mod modAnim addCm delCm modCm modNotesTx">
        <pc:chgData name="Dennis Hendriks - DHFS" userId="ceacf04f-0b47-4d6f-9d04-eca8f76fbd3c" providerId="ADAL" clId="{6BF22A83-B45F-4C2E-919F-A38CCDC27124}" dt="2021-11-01T13:53:01.626" v="5523" actId="1592"/>
        <pc:sldMkLst>
          <pc:docMk/>
          <pc:sldMk cId="2435104620" sldId="1098"/>
        </pc:sldMkLst>
        <pc:spChg chg="mod">
          <ac:chgData name="Dennis Hendriks - DHFS" userId="ceacf04f-0b47-4d6f-9d04-eca8f76fbd3c" providerId="ADAL" clId="{6BF22A83-B45F-4C2E-919F-A38CCDC27124}" dt="2021-10-27T08:51:24.228" v="3221" actId="20577"/>
          <ac:spMkLst>
            <pc:docMk/>
            <pc:sldMk cId="2435104620" sldId="1098"/>
            <ac:spMk id="2" creationId="{53CB77FA-CF1B-4B0E-A304-10CE6620EE56}"/>
          </ac:spMkLst>
        </pc:spChg>
        <pc:spChg chg="add mod">
          <ac:chgData name="Dennis Hendriks - DHFS" userId="ceacf04f-0b47-4d6f-9d04-eca8f76fbd3c" providerId="ADAL" clId="{6BF22A83-B45F-4C2E-919F-A38CCDC27124}" dt="2021-10-28T12:31:30.350" v="4843" actId="206"/>
          <ac:spMkLst>
            <pc:docMk/>
            <pc:sldMk cId="2435104620" sldId="1098"/>
            <ac:spMk id="8" creationId="{7EB40DE3-70B6-4A57-B788-82AE06D1DEE4}"/>
          </ac:spMkLst>
        </pc:spChg>
        <pc:spChg chg="del mod">
          <ac:chgData name="Dennis Hendriks - DHFS" userId="ceacf04f-0b47-4d6f-9d04-eca8f76fbd3c" providerId="ADAL" clId="{6BF22A83-B45F-4C2E-919F-A38CCDC27124}" dt="2021-10-27T07:42:14.462" v="1774"/>
          <ac:spMkLst>
            <pc:docMk/>
            <pc:sldMk cId="2435104620" sldId="1098"/>
            <ac:spMk id="17" creationId="{6B8B1B31-0262-4A85-AF84-B56C12108DB4}"/>
          </ac:spMkLst>
        </pc:spChg>
        <pc:spChg chg="add del mod">
          <ac:chgData name="Dennis Hendriks - DHFS" userId="ceacf04f-0b47-4d6f-9d04-eca8f76fbd3c" providerId="ADAL" clId="{6BF22A83-B45F-4C2E-919F-A38CCDC27124}" dt="2021-10-27T07:43:52.142" v="1810" actId="478"/>
          <ac:spMkLst>
            <pc:docMk/>
            <pc:sldMk cId="2435104620" sldId="1098"/>
            <ac:spMk id="31" creationId="{625C3DC4-AF00-4738-953D-FA420AE7B6C1}"/>
          </ac:spMkLst>
        </pc:spChg>
        <pc:spChg chg="add mod">
          <ac:chgData name="Dennis Hendriks - DHFS" userId="ceacf04f-0b47-4d6f-9d04-eca8f76fbd3c" providerId="ADAL" clId="{6BF22A83-B45F-4C2E-919F-A38CCDC27124}" dt="2021-10-28T12:33:22.093" v="4877" actId="313"/>
          <ac:spMkLst>
            <pc:docMk/>
            <pc:sldMk cId="2435104620" sldId="1098"/>
            <ac:spMk id="32" creationId="{4335040F-4AEC-471D-8CE1-9173EEA01F5F}"/>
          </ac:spMkLst>
        </pc:spChg>
        <pc:spChg chg="add del mod">
          <ac:chgData name="Dennis Hendriks - DHFS" userId="ceacf04f-0b47-4d6f-9d04-eca8f76fbd3c" providerId="ADAL" clId="{6BF22A83-B45F-4C2E-919F-A38CCDC27124}" dt="2021-10-27T07:43:41.446" v="1807"/>
          <ac:spMkLst>
            <pc:docMk/>
            <pc:sldMk cId="2435104620" sldId="1098"/>
            <ac:spMk id="33" creationId="{EF75A88B-01CE-40CB-A250-036CD05B22D5}"/>
          </ac:spMkLst>
        </pc:spChg>
        <pc:spChg chg="add del mod">
          <ac:chgData name="Dennis Hendriks - DHFS" userId="ceacf04f-0b47-4d6f-9d04-eca8f76fbd3c" providerId="ADAL" clId="{6BF22A83-B45F-4C2E-919F-A38CCDC27124}" dt="2021-10-27T07:43:41.446" v="1807"/>
          <ac:spMkLst>
            <pc:docMk/>
            <pc:sldMk cId="2435104620" sldId="1098"/>
            <ac:spMk id="34" creationId="{86270139-B695-43D8-A50C-0C56ECC4BEA3}"/>
          </ac:spMkLst>
        </pc:spChg>
        <pc:spChg chg="add del mod">
          <ac:chgData name="Dennis Hendriks - DHFS" userId="ceacf04f-0b47-4d6f-9d04-eca8f76fbd3c" providerId="ADAL" clId="{6BF22A83-B45F-4C2E-919F-A38CCDC27124}" dt="2021-10-27T07:43:41.446" v="1807"/>
          <ac:spMkLst>
            <pc:docMk/>
            <pc:sldMk cId="2435104620" sldId="1098"/>
            <ac:spMk id="35" creationId="{ED3D5076-4365-40EE-939D-1AF19A1A1D28}"/>
          </ac:spMkLst>
        </pc:spChg>
        <pc:spChg chg="add del mod">
          <ac:chgData name="Dennis Hendriks - DHFS" userId="ceacf04f-0b47-4d6f-9d04-eca8f76fbd3c" providerId="ADAL" clId="{6BF22A83-B45F-4C2E-919F-A38CCDC27124}" dt="2021-10-27T07:43:41.446" v="1807"/>
          <ac:spMkLst>
            <pc:docMk/>
            <pc:sldMk cId="2435104620" sldId="1098"/>
            <ac:spMk id="36" creationId="{0510F316-56C1-420C-AD02-1DEA863A1170}"/>
          </ac:spMkLst>
        </pc:spChg>
        <pc:spChg chg="add del mod">
          <ac:chgData name="Dennis Hendriks - DHFS" userId="ceacf04f-0b47-4d6f-9d04-eca8f76fbd3c" providerId="ADAL" clId="{6BF22A83-B45F-4C2E-919F-A38CCDC27124}" dt="2021-10-27T07:43:41.446" v="1807"/>
          <ac:spMkLst>
            <pc:docMk/>
            <pc:sldMk cId="2435104620" sldId="1098"/>
            <ac:spMk id="37" creationId="{B5918AB9-368B-44D0-A1C4-35C09C3859DF}"/>
          </ac:spMkLst>
        </pc:spChg>
        <pc:spChg chg="add del mod">
          <ac:chgData name="Dennis Hendriks - DHFS" userId="ceacf04f-0b47-4d6f-9d04-eca8f76fbd3c" providerId="ADAL" clId="{6BF22A83-B45F-4C2E-919F-A38CCDC27124}" dt="2021-10-27T07:43:41.446" v="1807"/>
          <ac:spMkLst>
            <pc:docMk/>
            <pc:sldMk cId="2435104620" sldId="1098"/>
            <ac:spMk id="38" creationId="{7C77DB38-34AF-4104-BF3F-9326899C5A21}"/>
          </ac:spMkLst>
        </pc:spChg>
        <pc:spChg chg="add del mod">
          <ac:chgData name="Dennis Hendriks - DHFS" userId="ceacf04f-0b47-4d6f-9d04-eca8f76fbd3c" providerId="ADAL" clId="{6BF22A83-B45F-4C2E-919F-A38CCDC27124}" dt="2021-10-27T07:43:41.446" v="1807"/>
          <ac:spMkLst>
            <pc:docMk/>
            <pc:sldMk cId="2435104620" sldId="1098"/>
            <ac:spMk id="39" creationId="{4CF1D426-4B4B-40E3-9FB3-477395D1A132}"/>
          </ac:spMkLst>
        </pc:spChg>
        <pc:spChg chg="add del mod">
          <ac:chgData name="Dennis Hendriks - DHFS" userId="ceacf04f-0b47-4d6f-9d04-eca8f76fbd3c" providerId="ADAL" clId="{6BF22A83-B45F-4C2E-919F-A38CCDC27124}" dt="2021-10-27T07:43:41.446" v="1807"/>
          <ac:spMkLst>
            <pc:docMk/>
            <pc:sldMk cId="2435104620" sldId="1098"/>
            <ac:spMk id="40" creationId="{3D6C29E9-D9D3-4918-B192-594E12FECC8A}"/>
          </ac:spMkLst>
        </pc:spChg>
        <pc:spChg chg="add del">
          <ac:chgData name="Dennis Hendriks - DHFS" userId="ceacf04f-0b47-4d6f-9d04-eca8f76fbd3c" providerId="ADAL" clId="{6BF22A83-B45F-4C2E-919F-A38CCDC27124}" dt="2021-10-27T07:43:52.142" v="1810" actId="478"/>
          <ac:spMkLst>
            <pc:docMk/>
            <pc:sldMk cId="2435104620" sldId="1098"/>
            <ac:spMk id="43" creationId="{3C74AFFC-88C5-414D-8D5D-CEB2880D2741}"/>
          </ac:spMkLst>
        </pc:spChg>
        <pc:spChg chg="add del">
          <ac:chgData name="Dennis Hendriks - DHFS" userId="ceacf04f-0b47-4d6f-9d04-eca8f76fbd3c" providerId="ADAL" clId="{6BF22A83-B45F-4C2E-919F-A38CCDC27124}" dt="2021-10-27T07:43:52.142" v="1810" actId="478"/>
          <ac:spMkLst>
            <pc:docMk/>
            <pc:sldMk cId="2435104620" sldId="1098"/>
            <ac:spMk id="44" creationId="{71B7B269-A06B-4765-845D-2253D7626E1E}"/>
          </ac:spMkLst>
        </pc:spChg>
        <pc:spChg chg="add del">
          <ac:chgData name="Dennis Hendriks - DHFS" userId="ceacf04f-0b47-4d6f-9d04-eca8f76fbd3c" providerId="ADAL" clId="{6BF22A83-B45F-4C2E-919F-A38CCDC27124}" dt="2021-10-27T07:43:52.142" v="1810" actId="478"/>
          <ac:spMkLst>
            <pc:docMk/>
            <pc:sldMk cId="2435104620" sldId="1098"/>
            <ac:spMk id="45" creationId="{5CCD9305-7FBC-41CE-A146-FCC84A908069}"/>
          </ac:spMkLst>
        </pc:spChg>
        <pc:spChg chg="add del">
          <ac:chgData name="Dennis Hendriks - DHFS" userId="ceacf04f-0b47-4d6f-9d04-eca8f76fbd3c" providerId="ADAL" clId="{6BF22A83-B45F-4C2E-919F-A38CCDC27124}" dt="2021-10-27T07:43:52.142" v="1810" actId="478"/>
          <ac:spMkLst>
            <pc:docMk/>
            <pc:sldMk cId="2435104620" sldId="1098"/>
            <ac:spMk id="46" creationId="{D22BFB30-5B7C-45E6-AB23-5BFEE6FDF80E}"/>
          </ac:spMkLst>
        </pc:spChg>
        <pc:spChg chg="add del">
          <ac:chgData name="Dennis Hendriks - DHFS" userId="ceacf04f-0b47-4d6f-9d04-eca8f76fbd3c" providerId="ADAL" clId="{6BF22A83-B45F-4C2E-919F-A38CCDC27124}" dt="2021-10-27T07:43:52.142" v="1810" actId="478"/>
          <ac:spMkLst>
            <pc:docMk/>
            <pc:sldMk cId="2435104620" sldId="1098"/>
            <ac:spMk id="47" creationId="{04526A35-B78A-4983-9EC7-7CA174D71473}"/>
          </ac:spMkLst>
        </pc:spChg>
        <pc:spChg chg="add del">
          <ac:chgData name="Dennis Hendriks - DHFS" userId="ceacf04f-0b47-4d6f-9d04-eca8f76fbd3c" providerId="ADAL" clId="{6BF22A83-B45F-4C2E-919F-A38CCDC27124}" dt="2021-10-27T07:43:52.142" v="1810" actId="478"/>
          <ac:spMkLst>
            <pc:docMk/>
            <pc:sldMk cId="2435104620" sldId="1098"/>
            <ac:spMk id="48" creationId="{56476498-A834-493E-A0ED-8E380D6A14B5}"/>
          </ac:spMkLst>
        </pc:spChg>
        <pc:spChg chg="add del">
          <ac:chgData name="Dennis Hendriks - DHFS" userId="ceacf04f-0b47-4d6f-9d04-eca8f76fbd3c" providerId="ADAL" clId="{6BF22A83-B45F-4C2E-919F-A38CCDC27124}" dt="2021-10-27T07:43:52.142" v="1810" actId="478"/>
          <ac:spMkLst>
            <pc:docMk/>
            <pc:sldMk cId="2435104620" sldId="1098"/>
            <ac:spMk id="49" creationId="{4A170414-96B5-4841-A67A-241BA5C1C1D9}"/>
          </ac:spMkLst>
        </pc:spChg>
        <pc:spChg chg="add del">
          <ac:chgData name="Dennis Hendriks - DHFS" userId="ceacf04f-0b47-4d6f-9d04-eca8f76fbd3c" providerId="ADAL" clId="{6BF22A83-B45F-4C2E-919F-A38CCDC27124}" dt="2021-10-27T07:43:52.142" v="1810" actId="478"/>
          <ac:spMkLst>
            <pc:docMk/>
            <pc:sldMk cId="2435104620" sldId="1098"/>
            <ac:spMk id="50" creationId="{68643709-E45A-4DC1-B6D0-575F55B9F2A5}"/>
          </ac:spMkLst>
        </pc:spChg>
        <pc:spChg chg="add mod">
          <ac:chgData name="Dennis Hendriks - DHFS" userId="ceacf04f-0b47-4d6f-9d04-eca8f76fbd3c" providerId="ADAL" clId="{6BF22A83-B45F-4C2E-919F-A38CCDC27124}" dt="2021-10-28T11:59:48.792" v="4258" actId="6549"/>
          <ac:spMkLst>
            <pc:docMk/>
            <pc:sldMk cId="2435104620" sldId="1098"/>
            <ac:spMk id="51" creationId="{651A8AEB-59F3-49C4-B53A-B7957E4B5637}"/>
          </ac:spMkLst>
        </pc:spChg>
        <pc:spChg chg="del">
          <ac:chgData name="Dennis Hendriks - DHFS" userId="ceacf04f-0b47-4d6f-9d04-eca8f76fbd3c" providerId="ADAL" clId="{6BF22A83-B45F-4C2E-919F-A38CCDC27124}" dt="2021-10-28T12:18:15.771" v="4532" actId="478"/>
          <ac:spMkLst>
            <pc:docMk/>
            <pc:sldMk cId="2435104620" sldId="1098"/>
            <ac:spMk id="53" creationId="{16EB9F64-4856-4060-8FF5-EEFE702EF075}"/>
          </ac:spMkLst>
        </pc:spChg>
        <pc:spChg chg="add del">
          <ac:chgData name="Dennis Hendriks - DHFS" userId="ceacf04f-0b47-4d6f-9d04-eca8f76fbd3c" providerId="ADAL" clId="{6BF22A83-B45F-4C2E-919F-A38CCDC27124}" dt="2021-10-27T07:43:52.142" v="1810" actId="478"/>
          <ac:spMkLst>
            <pc:docMk/>
            <pc:sldMk cId="2435104620" sldId="1098"/>
            <ac:spMk id="54" creationId="{64897885-032F-4EDB-BB34-FEA8B08FB816}"/>
          </ac:spMkLst>
        </pc:spChg>
        <pc:spChg chg="del">
          <ac:chgData name="Dennis Hendriks - DHFS" userId="ceacf04f-0b47-4d6f-9d04-eca8f76fbd3c" providerId="ADAL" clId="{6BF22A83-B45F-4C2E-919F-A38CCDC27124}" dt="2021-10-28T12:18:15.771" v="4532" actId="478"/>
          <ac:spMkLst>
            <pc:docMk/>
            <pc:sldMk cId="2435104620" sldId="1098"/>
            <ac:spMk id="54" creationId="{F92EE10A-F835-420F-B1B1-D0DD5D098252}"/>
          </ac:spMkLst>
        </pc:spChg>
        <pc:spChg chg="add mod">
          <ac:chgData name="Dennis Hendriks - DHFS" userId="ceacf04f-0b47-4d6f-9d04-eca8f76fbd3c" providerId="ADAL" clId="{6BF22A83-B45F-4C2E-919F-A38CCDC27124}" dt="2021-10-29T07:30:06.394" v="5268" actId="20577"/>
          <ac:spMkLst>
            <pc:docMk/>
            <pc:sldMk cId="2435104620" sldId="1098"/>
            <ac:spMk id="55" creationId="{4F2CFFA9-FD94-4D9D-BB89-E1D0B56E020E}"/>
          </ac:spMkLst>
        </pc:spChg>
        <pc:spChg chg="add del">
          <ac:chgData name="Dennis Hendriks - DHFS" userId="ceacf04f-0b47-4d6f-9d04-eca8f76fbd3c" providerId="ADAL" clId="{6BF22A83-B45F-4C2E-919F-A38CCDC27124}" dt="2021-10-27T07:43:52.142" v="1810" actId="478"/>
          <ac:spMkLst>
            <pc:docMk/>
            <pc:sldMk cId="2435104620" sldId="1098"/>
            <ac:spMk id="55" creationId="{F2CC9A90-83AC-4CD4-ADFB-67F49E7F37EB}"/>
          </ac:spMkLst>
        </pc:spChg>
        <pc:spChg chg="add del">
          <ac:chgData name="Dennis Hendriks - DHFS" userId="ceacf04f-0b47-4d6f-9d04-eca8f76fbd3c" providerId="ADAL" clId="{6BF22A83-B45F-4C2E-919F-A38CCDC27124}" dt="2021-10-27T07:43:52.142" v="1810" actId="478"/>
          <ac:spMkLst>
            <pc:docMk/>
            <pc:sldMk cId="2435104620" sldId="1098"/>
            <ac:spMk id="56" creationId="{90373BB0-F4D9-4B2A-ACD7-5CF28454492F}"/>
          </ac:spMkLst>
        </pc:spChg>
        <pc:spChg chg="add del">
          <ac:chgData name="Dennis Hendriks - DHFS" userId="ceacf04f-0b47-4d6f-9d04-eca8f76fbd3c" providerId="ADAL" clId="{6BF22A83-B45F-4C2E-919F-A38CCDC27124}" dt="2021-10-27T07:43:52.142" v="1810" actId="478"/>
          <ac:spMkLst>
            <pc:docMk/>
            <pc:sldMk cId="2435104620" sldId="1098"/>
            <ac:spMk id="57" creationId="{B8E6C194-C2AA-47D7-A33D-6127D93AFF72}"/>
          </ac:spMkLst>
        </pc:spChg>
        <pc:spChg chg="add mod">
          <ac:chgData name="Dennis Hendriks - DHFS" userId="ceacf04f-0b47-4d6f-9d04-eca8f76fbd3c" providerId="ADAL" clId="{6BF22A83-B45F-4C2E-919F-A38CCDC27124}" dt="2021-10-29T07:30:08.845" v="5269" actId="20577"/>
          <ac:spMkLst>
            <pc:docMk/>
            <pc:sldMk cId="2435104620" sldId="1098"/>
            <ac:spMk id="57" creationId="{C81BDC5F-7DE7-42F3-9294-4B1FC429EBF3}"/>
          </ac:spMkLst>
        </pc:spChg>
        <pc:spChg chg="add del">
          <ac:chgData name="Dennis Hendriks - DHFS" userId="ceacf04f-0b47-4d6f-9d04-eca8f76fbd3c" providerId="ADAL" clId="{6BF22A83-B45F-4C2E-919F-A38CCDC27124}" dt="2021-10-27T07:43:52.142" v="1810" actId="478"/>
          <ac:spMkLst>
            <pc:docMk/>
            <pc:sldMk cId="2435104620" sldId="1098"/>
            <ac:spMk id="58" creationId="{95DBE54D-F0C6-4C99-B083-C077B06B1277}"/>
          </ac:spMkLst>
        </pc:spChg>
        <pc:spChg chg="add del">
          <ac:chgData name="Dennis Hendriks - DHFS" userId="ceacf04f-0b47-4d6f-9d04-eca8f76fbd3c" providerId="ADAL" clId="{6BF22A83-B45F-4C2E-919F-A38CCDC27124}" dt="2021-10-27T07:43:52.142" v="1810" actId="478"/>
          <ac:spMkLst>
            <pc:docMk/>
            <pc:sldMk cId="2435104620" sldId="1098"/>
            <ac:spMk id="59" creationId="{A3E29ECA-23EE-4A7E-8B42-83CB25C167C3}"/>
          </ac:spMkLst>
        </pc:spChg>
        <pc:spChg chg="del">
          <ac:chgData name="Dennis Hendriks - DHFS" userId="ceacf04f-0b47-4d6f-9d04-eca8f76fbd3c" providerId="ADAL" clId="{6BF22A83-B45F-4C2E-919F-A38CCDC27124}" dt="2021-10-28T11:51:56.529" v="4202" actId="478"/>
          <ac:spMkLst>
            <pc:docMk/>
            <pc:sldMk cId="2435104620" sldId="1098"/>
            <ac:spMk id="59" creationId="{D649C44D-6D41-4575-8B29-AE48E1987031}"/>
          </ac:spMkLst>
        </pc:spChg>
        <pc:spChg chg="add mod">
          <ac:chgData name="Dennis Hendriks - DHFS" userId="ceacf04f-0b47-4d6f-9d04-eca8f76fbd3c" providerId="ADAL" clId="{6BF22A83-B45F-4C2E-919F-A38CCDC27124}" dt="2021-10-28T11:59:45.543" v="4254" actId="6549"/>
          <ac:spMkLst>
            <pc:docMk/>
            <pc:sldMk cId="2435104620" sldId="1098"/>
            <ac:spMk id="60" creationId="{98CD8DB2-CE46-4A86-BC7E-CDF0CDA5076F}"/>
          </ac:spMkLst>
        </pc:spChg>
        <pc:spChg chg="add del mod">
          <ac:chgData name="Dennis Hendriks - DHFS" userId="ceacf04f-0b47-4d6f-9d04-eca8f76fbd3c" providerId="ADAL" clId="{6BF22A83-B45F-4C2E-919F-A38CCDC27124}" dt="2021-10-27T07:43:41.446" v="1807"/>
          <ac:spMkLst>
            <pc:docMk/>
            <pc:sldMk cId="2435104620" sldId="1098"/>
            <ac:spMk id="61" creationId="{22A9F2AA-912C-4D31-BF3B-33B012371E3E}"/>
          </ac:spMkLst>
        </pc:spChg>
        <pc:spChg chg="add mod">
          <ac:chgData name="Dennis Hendriks - DHFS" userId="ceacf04f-0b47-4d6f-9d04-eca8f76fbd3c" providerId="ADAL" clId="{6BF22A83-B45F-4C2E-919F-A38CCDC27124}" dt="2021-10-28T11:51:56.977" v="4203"/>
          <ac:spMkLst>
            <pc:docMk/>
            <pc:sldMk cId="2435104620" sldId="1098"/>
            <ac:spMk id="61" creationId="{33FE3D57-B81F-40C2-B53D-3F9F0B3CB3AC}"/>
          </ac:spMkLst>
        </pc:spChg>
        <pc:spChg chg="add del mod">
          <ac:chgData name="Dennis Hendriks - DHFS" userId="ceacf04f-0b47-4d6f-9d04-eca8f76fbd3c" providerId="ADAL" clId="{6BF22A83-B45F-4C2E-919F-A38CCDC27124}" dt="2021-10-27T07:43:41.446" v="1807"/>
          <ac:spMkLst>
            <pc:docMk/>
            <pc:sldMk cId="2435104620" sldId="1098"/>
            <ac:spMk id="63" creationId="{744DB924-68E4-4EC5-B9EF-734A948A7687}"/>
          </ac:spMkLst>
        </pc:spChg>
        <pc:spChg chg="add del mod">
          <ac:chgData name="Dennis Hendriks - DHFS" userId="ceacf04f-0b47-4d6f-9d04-eca8f76fbd3c" providerId="ADAL" clId="{6BF22A83-B45F-4C2E-919F-A38CCDC27124}" dt="2021-10-27T07:43:41.446" v="1807"/>
          <ac:spMkLst>
            <pc:docMk/>
            <pc:sldMk cId="2435104620" sldId="1098"/>
            <ac:spMk id="64" creationId="{B7A9D913-D103-4D2B-A578-B78383330C86}"/>
          </ac:spMkLst>
        </pc:spChg>
        <pc:spChg chg="add del">
          <ac:chgData name="Dennis Hendriks - DHFS" userId="ceacf04f-0b47-4d6f-9d04-eca8f76fbd3c" providerId="ADAL" clId="{6BF22A83-B45F-4C2E-919F-A38CCDC27124}" dt="2021-10-27T07:43:52.142" v="1810" actId="478"/>
          <ac:spMkLst>
            <pc:docMk/>
            <pc:sldMk cId="2435104620" sldId="1098"/>
            <ac:spMk id="66" creationId="{08076202-0DC6-4407-9656-357D437051DA}"/>
          </ac:spMkLst>
        </pc:spChg>
        <pc:spChg chg="del">
          <ac:chgData name="Dennis Hendriks - DHFS" userId="ceacf04f-0b47-4d6f-9d04-eca8f76fbd3c" providerId="ADAL" clId="{6BF22A83-B45F-4C2E-919F-A38CCDC27124}" dt="2021-10-27T07:40:55.585" v="1759" actId="478"/>
          <ac:spMkLst>
            <pc:docMk/>
            <pc:sldMk cId="2435104620" sldId="1098"/>
            <ac:spMk id="67" creationId="{C11E34EE-5DD7-4298-9FCC-CE0674039E0E}"/>
          </ac:spMkLst>
        </pc:spChg>
        <pc:spChg chg="add del mod">
          <ac:chgData name="Dennis Hendriks - DHFS" userId="ceacf04f-0b47-4d6f-9d04-eca8f76fbd3c" providerId="ADAL" clId="{6BF22A83-B45F-4C2E-919F-A38CCDC27124}" dt="2021-10-27T07:43:41.446" v="1807"/>
          <ac:spMkLst>
            <pc:docMk/>
            <pc:sldMk cId="2435104620" sldId="1098"/>
            <ac:spMk id="68" creationId="{D8E25D69-6C15-4CF2-8E82-A621DF577276}"/>
          </ac:spMkLst>
        </pc:spChg>
        <pc:spChg chg="add del mod">
          <ac:chgData name="Dennis Hendriks - DHFS" userId="ceacf04f-0b47-4d6f-9d04-eca8f76fbd3c" providerId="ADAL" clId="{6BF22A83-B45F-4C2E-919F-A38CCDC27124}" dt="2021-10-27T07:43:41.446" v="1807"/>
          <ac:spMkLst>
            <pc:docMk/>
            <pc:sldMk cId="2435104620" sldId="1098"/>
            <ac:spMk id="69" creationId="{7223217B-1CD4-4400-8E8B-C789BA7A108B}"/>
          </ac:spMkLst>
        </pc:spChg>
        <pc:spChg chg="add del mod">
          <ac:chgData name="Dennis Hendriks - DHFS" userId="ceacf04f-0b47-4d6f-9d04-eca8f76fbd3c" providerId="ADAL" clId="{6BF22A83-B45F-4C2E-919F-A38CCDC27124}" dt="2021-10-27T07:43:41.446" v="1807"/>
          <ac:spMkLst>
            <pc:docMk/>
            <pc:sldMk cId="2435104620" sldId="1098"/>
            <ac:spMk id="70" creationId="{9B19F5F4-A23B-46F5-9D3A-1DAC0A150F74}"/>
          </ac:spMkLst>
        </pc:spChg>
        <pc:spChg chg="add del mod">
          <ac:chgData name="Dennis Hendriks - DHFS" userId="ceacf04f-0b47-4d6f-9d04-eca8f76fbd3c" providerId="ADAL" clId="{6BF22A83-B45F-4C2E-919F-A38CCDC27124}" dt="2021-10-27T07:43:41.446" v="1807"/>
          <ac:spMkLst>
            <pc:docMk/>
            <pc:sldMk cId="2435104620" sldId="1098"/>
            <ac:spMk id="73" creationId="{D9E43E9E-AC01-4DE1-A01D-C8078D00EC3C}"/>
          </ac:spMkLst>
        </pc:spChg>
        <pc:spChg chg="add del mod">
          <ac:chgData name="Dennis Hendriks - DHFS" userId="ceacf04f-0b47-4d6f-9d04-eca8f76fbd3c" providerId="ADAL" clId="{6BF22A83-B45F-4C2E-919F-A38CCDC27124}" dt="2021-10-27T07:43:41.446" v="1807"/>
          <ac:spMkLst>
            <pc:docMk/>
            <pc:sldMk cId="2435104620" sldId="1098"/>
            <ac:spMk id="74" creationId="{6B75588A-C180-4D63-8148-AB82586A35AC}"/>
          </ac:spMkLst>
        </pc:spChg>
        <pc:spChg chg="add mod">
          <ac:chgData name="Dennis Hendriks - DHFS" userId="ceacf04f-0b47-4d6f-9d04-eca8f76fbd3c" providerId="ADAL" clId="{6BF22A83-B45F-4C2E-919F-A38CCDC27124}" dt="2021-10-27T07:45:13.921" v="1865" actId="1036"/>
          <ac:spMkLst>
            <pc:docMk/>
            <pc:sldMk cId="2435104620" sldId="1098"/>
            <ac:spMk id="75" creationId="{9C03CA8D-8BB1-4B8E-BFCB-165876FFC549}"/>
          </ac:spMkLst>
        </pc:spChg>
        <pc:spChg chg="add mod">
          <ac:chgData name="Dennis Hendriks - DHFS" userId="ceacf04f-0b47-4d6f-9d04-eca8f76fbd3c" providerId="ADAL" clId="{6BF22A83-B45F-4C2E-919F-A38CCDC27124}" dt="2021-10-27T07:45:13.921" v="1865" actId="1036"/>
          <ac:spMkLst>
            <pc:docMk/>
            <pc:sldMk cId="2435104620" sldId="1098"/>
            <ac:spMk id="76" creationId="{98DB6BAD-EB15-4894-A182-2D1301A1E864}"/>
          </ac:spMkLst>
        </pc:spChg>
        <pc:spChg chg="add mod">
          <ac:chgData name="Dennis Hendriks - DHFS" userId="ceacf04f-0b47-4d6f-9d04-eca8f76fbd3c" providerId="ADAL" clId="{6BF22A83-B45F-4C2E-919F-A38CCDC27124}" dt="2021-10-27T07:45:13.921" v="1865" actId="1036"/>
          <ac:spMkLst>
            <pc:docMk/>
            <pc:sldMk cId="2435104620" sldId="1098"/>
            <ac:spMk id="77" creationId="{150FC700-6CB0-49CC-B0A4-4C318AEDA55D}"/>
          </ac:spMkLst>
        </pc:spChg>
        <pc:spChg chg="add mod">
          <ac:chgData name="Dennis Hendriks - DHFS" userId="ceacf04f-0b47-4d6f-9d04-eca8f76fbd3c" providerId="ADAL" clId="{6BF22A83-B45F-4C2E-919F-A38CCDC27124}" dt="2021-10-27T07:45:13.921" v="1865" actId="1036"/>
          <ac:spMkLst>
            <pc:docMk/>
            <pc:sldMk cId="2435104620" sldId="1098"/>
            <ac:spMk id="78" creationId="{5A3B0AD1-D52D-43BA-AB27-7492E8977A9A}"/>
          </ac:spMkLst>
        </pc:spChg>
        <pc:spChg chg="add mod">
          <ac:chgData name="Dennis Hendriks - DHFS" userId="ceacf04f-0b47-4d6f-9d04-eca8f76fbd3c" providerId="ADAL" clId="{6BF22A83-B45F-4C2E-919F-A38CCDC27124}" dt="2021-10-27T09:02:14.989" v="3804" actId="14100"/>
          <ac:spMkLst>
            <pc:docMk/>
            <pc:sldMk cId="2435104620" sldId="1098"/>
            <ac:spMk id="79" creationId="{56BDB6B5-933E-4725-8630-285D72D9C708}"/>
          </ac:spMkLst>
        </pc:spChg>
        <pc:spChg chg="add del mod">
          <ac:chgData name="Dennis Hendriks - DHFS" userId="ceacf04f-0b47-4d6f-9d04-eca8f76fbd3c" providerId="ADAL" clId="{6BF22A83-B45F-4C2E-919F-A38CCDC27124}" dt="2021-10-27T09:02:12.840" v="3803" actId="478"/>
          <ac:spMkLst>
            <pc:docMk/>
            <pc:sldMk cId="2435104620" sldId="1098"/>
            <ac:spMk id="80" creationId="{B0164F47-2C6B-484C-B740-624128F7FFF6}"/>
          </ac:spMkLst>
        </pc:spChg>
        <pc:spChg chg="add mod">
          <ac:chgData name="Dennis Hendriks - DHFS" userId="ceacf04f-0b47-4d6f-9d04-eca8f76fbd3c" providerId="ADAL" clId="{6BF22A83-B45F-4C2E-919F-A38CCDC27124}" dt="2021-10-27T07:45:13.921" v="1865" actId="1036"/>
          <ac:spMkLst>
            <pc:docMk/>
            <pc:sldMk cId="2435104620" sldId="1098"/>
            <ac:spMk id="81" creationId="{27122C6D-FCC5-436A-A11D-B0BDFBB55FC5}"/>
          </ac:spMkLst>
        </pc:spChg>
        <pc:spChg chg="add mod">
          <ac:chgData name="Dennis Hendriks - DHFS" userId="ceacf04f-0b47-4d6f-9d04-eca8f76fbd3c" providerId="ADAL" clId="{6BF22A83-B45F-4C2E-919F-A38CCDC27124}" dt="2021-10-27T07:45:13.921" v="1865" actId="1036"/>
          <ac:spMkLst>
            <pc:docMk/>
            <pc:sldMk cId="2435104620" sldId="1098"/>
            <ac:spMk id="82" creationId="{055CCC95-25A5-4B06-9D48-E091CFAAAD37}"/>
          </ac:spMkLst>
        </pc:spChg>
        <pc:spChg chg="add mod">
          <ac:chgData name="Dennis Hendriks - DHFS" userId="ceacf04f-0b47-4d6f-9d04-eca8f76fbd3c" providerId="ADAL" clId="{6BF22A83-B45F-4C2E-919F-A38CCDC27124}" dt="2021-10-27T08:56:32.927" v="3368" actId="207"/>
          <ac:spMkLst>
            <pc:docMk/>
            <pc:sldMk cId="2435104620" sldId="1098"/>
            <ac:spMk id="86" creationId="{1ABD0C4F-5C84-4AC0-B226-CD1469C8E901}"/>
          </ac:spMkLst>
        </pc:spChg>
        <pc:spChg chg="add mod">
          <ac:chgData name="Dennis Hendriks - DHFS" userId="ceacf04f-0b47-4d6f-9d04-eca8f76fbd3c" providerId="ADAL" clId="{6BF22A83-B45F-4C2E-919F-A38CCDC27124}" dt="2021-10-27T08:13:21.155" v="2435" actId="207"/>
          <ac:spMkLst>
            <pc:docMk/>
            <pc:sldMk cId="2435104620" sldId="1098"/>
            <ac:spMk id="87" creationId="{35BEC41D-0611-4136-B9A0-FBA15FD7A128}"/>
          </ac:spMkLst>
        </pc:spChg>
        <pc:spChg chg="add mod">
          <ac:chgData name="Dennis Hendriks - DHFS" userId="ceacf04f-0b47-4d6f-9d04-eca8f76fbd3c" providerId="ADAL" clId="{6BF22A83-B45F-4C2E-919F-A38CCDC27124}" dt="2021-10-27T08:56:34.424" v="3369" actId="207"/>
          <ac:spMkLst>
            <pc:docMk/>
            <pc:sldMk cId="2435104620" sldId="1098"/>
            <ac:spMk id="88" creationId="{EF295510-BD8B-4C8C-A86F-8E65CD341EA4}"/>
          </ac:spMkLst>
        </pc:spChg>
        <pc:spChg chg="add mod">
          <ac:chgData name="Dennis Hendriks - DHFS" userId="ceacf04f-0b47-4d6f-9d04-eca8f76fbd3c" providerId="ADAL" clId="{6BF22A83-B45F-4C2E-919F-A38CCDC27124}" dt="2021-10-27T07:45:13.921" v="1865" actId="1036"/>
          <ac:spMkLst>
            <pc:docMk/>
            <pc:sldMk cId="2435104620" sldId="1098"/>
            <ac:spMk id="89" creationId="{A0BD32FB-4B3A-40D2-8A0A-60783D2389FC}"/>
          </ac:spMkLst>
        </pc:spChg>
        <pc:spChg chg="add mod">
          <ac:chgData name="Dennis Hendriks - DHFS" userId="ceacf04f-0b47-4d6f-9d04-eca8f76fbd3c" providerId="ADAL" clId="{6BF22A83-B45F-4C2E-919F-A38CCDC27124}" dt="2021-10-27T08:13:24.311" v="2436" actId="207"/>
          <ac:spMkLst>
            <pc:docMk/>
            <pc:sldMk cId="2435104620" sldId="1098"/>
            <ac:spMk id="90" creationId="{596BE23C-D7D7-4904-94D5-4ED792C7B3B7}"/>
          </ac:spMkLst>
        </pc:spChg>
        <pc:spChg chg="add mod">
          <ac:chgData name="Dennis Hendriks - DHFS" userId="ceacf04f-0b47-4d6f-9d04-eca8f76fbd3c" providerId="ADAL" clId="{6BF22A83-B45F-4C2E-919F-A38CCDC27124}" dt="2021-10-27T08:13:24.311" v="2436" actId="207"/>
          <ac:spMkLst>
            <pc:docMk/>
            <pc:sldMk cId="2435104620" sldId="1098"/>
            <ac:spMk id="91" creationId="{8CF368C0-0E8D-4DCA-8461-FBB9BCF3DD0E}"/>
          </ac:spMkLst>
        </pc:spChg>
        <pc:spChg chg="add mod">
          <ac:chgData name="Dennis Hendriks - DHFS" userId="ceacf04f-0b47-4d6f-9d04-eca8f76fbd3c" providerId="ADAL" clId="{6BF22A83-B45F-4C2E-919F-A38CCDC27124}" dt="2021-10-28T12:18:15.916" v="4533"/>
          <ac:spMkLst>
            <pc:docMk/>
            <pc:sldMk cId="2435104620" sldId="1098"/>
            <ac:spMk id="92" creationId="{462FDCD7-F122-4BB0-93C7-8CDD0CDB59D8}"/>
          </ac:spMkLst>
        </pc:spChg>
        <pc:spChg chg="add mod">
          <ac:chgData name="Dennis Hendriks - DHFS" userId="ceacf04f-0b47-4d6f-9d04-eca8f76fbd3c" providerId="ADAL" clId="{6BF22A83-B45F-4C2E-919F-A38CCDC27124}" dt="2021-10-28T12:18:15.916" v="4533"/>
          <ac:spMkLst>
            <pc:docMk/>
            <pc:sldMk cId="2435104620" sldId="1098"/>
            <ac:spMk id="93" creationId="{CCC744DB-E5EA-47FF-B874-220DD581F254}"/>
          </ac:spMkLst>
        </pc:spChg>
        <pc:spChg chg="add del mod">
          <ac:chgData name="Dennis Hendriks - DHFS" userId="ceacf04f-0b47-4d6f-9d04-eca8f76fbd3c" providerId="ADAL" clId="{6BF22A83-B45F-4C2E-919F-A38CCDC27124}" dt="2021-10-28T12:18:28.676" v="4546" actId="478"/>
          <ac:spMkLst>
            <pc:docMk/>
            <pc:sldMk cId="2435104620" sldId="1098"/>
            <ac:spMk id="94" creationId="{3D6C3332-C4D3-4C9F-B16F-62192A9679AD}"/>
          </ac:spMkLst>
        </pc:spChg>
        <pc:spChg chg="add mod">
          <ac:chgData name="Dennis Hendriks - DHFS" userId="ceacf04f-0b47-4d6f-9d04-eca8f76fbd3c" providerId="ADAL" clId="{6BF22A83-B45F-4C2E-919F-A38CCDC27124}" dt="2021-10-27T08:13:21.155" v="2435" actId="207"/>
          <ac:spMkLst>
            <pc:docMk/>
            <pc:sldMk cId="2435104620" sldId="1098"/>
            <ac:spMk id="94" creationId="{5F1C3CBB-4F6D-4FF0-A033-9D83208150A3}"/>
          </ac:spMkLst>
        </pc:spChg>
        <pc:spChg chg="add mod">
          <ac:chgData name="Dennis Hendriks - DHFS" userId="ceacf04f-0b47-4d6f-9d04-eca8f76fbd3c" providerId="ADAL" clId="{6BF22A83-B45F-4C2E-919F-A38CCDC27124}" dt="2021-10-27T08:50:13.227" v="3147" actId="1038"/>
          <ac:spMkLst>
            <pc:docMk/>
            <pc:sldMk cId="2435104620" sldId="1098"/>
            <ac:spMk id="95" creationId="{6980D8C7-5141-4A4E-90FE-BDFCA87C8EF7}"/>
          </ac:spMkLst>
        </pc:spChg>
        <pc:spChg chg="add mod">
          <ac:chgData name="Dennis Hendriks - DHFS" userId="ceacf04f-0b47-4d6f-9d04-eca8f76fbd3c" providerId="ADAL" clId="{6BF22A83-B45F-4C2E-919F-A38CCDC27124}" dt="2021-10-28T11:53:57.051" v="4232" actId="1076"/>
          <ac:spMkLst>
            <pc:docMk/>
            <pc:sldMk cId="2435104620" sldId="1098"/>
            <ac:spMk id="96" creationId="{31C389C5-7EB9-428B-957F-ECE9CA0994AC}"/>
          </ac:spMkLst>
        </pc:spChg>
        <pc:spChg chg="add mod">
          <ac:chgData name="Dennis Hendriks - DHFS" userId="ceacf04f-0b47-4d6f-9d04-eca8f76fbd3c" providerId="ADAL" clId="{6BF22A83-B45F-4C2E-919F-A38CCDC27124}" dt="2021-10-28T11:53:57.051" v="4232" actId="1076"/>
          <ac:spMkLst>
            <pc:docMk/>
            <pc:sldMk cId="2435104620" sldId="1098"/>
            <ac:spMk id="97" creationId="{5A9628B0-85DA-4991-88C5-2F55EEBACDB8}"/>
          </ac:spMkLst>
        </pc:spChg>
        <pc:spChg chg="add mod">
          <ac:chgData name="Dennis Hendriks - DHFS" userId="ceacf04f-0b47-4d6f-9d04-eca8f76fbd3c" providerId="ADAL" clId="{6BF22A83-B45F-4C2E-919F-A38CCDC27124}" dt="2021-10-28T11:53:57.051" v="4232" actId="1076"/>
          <ac:spMkLst>
            <pc:docMk/>
            <pc:sldMk cId="2435104620" sldId="1098"/>
            <ac:spMk id="100" creationId="{EC5FC586-4896-4DD1-A65B-972F82C8EE7B}"/>
          </ac:spMkLst>
        </pc:spChg>
        <pc:spChg chg="add mod">
          <ac:chgData name="Dennis Hendriks - DHFS" userId="ceacf04f-0b47-4d6f-9d04-eca8f76fbd3c" providerId="ADAL" clId="{6BF22A83-B45F-4C2E-919F-A38CCDC27124}" dt="2021-10-28T11:53:57.051" v="4232" actId="1076"/>
          <ac:spMkLst>
            <pc:docMk/>
            <pc:sldMk cId="2435104620" sldId="1098"/>
            <ac:spMk id="101" creationId="{F23B8817-B9D3-410F-8A7D-8C4A6E81B706}"/>
          </ac:spMkLst>
        </pc:spChg>
        <pc:spChg chg="add mod">
          <ac:chgData name="Dennis Hendriks - DHFS" userId="ceacf04f-0b47-4d6f-9d04-eca8f76fbd3c" providerId="ADAL" clId="{6BF22A83-B45F-4C2E-919F-A38CCDC27124}" dt="2021-10-28T11:53:57.051" v="4232" actId="1076"/>
          <ac:spMkLst>
            <pc:docMk/>
            <pc:sldMk cId="2435104620" sldId="1098"/>
            <ac:spMk id="102" creationId="{3DF5CF9C-8EFC-4FBE-ACD6-A581E36E0591}"/>
          </ac:spMkLst>
        </pc:spChg>
        <pc:spChg chg="add mod">
          <ac:chgData name="Dennis Hendriks - DHFS" userId="ceacf04f-0b47-4d6f-9d04-eca8f76fbd3c" providerId="ADAL" clId="{6BF22A83-B45F-4C2E-919F-A38CCDC27124}" dt="2021-10-28T11:53:57.051" v="4232" actId="1076"/>
          <ac:spMkLst>
            <pc:docMk/>
            <pc:sldMk cId="2435104620" sldId="1098"/>
            <ac:spMk id="106" creationId="{0D7F622F-8B33-4D0D-B4EB-490E3C30CF32}"/>
          </ac:spMkLst>
        </pc:spChg>
        <pc:spChg chg="mod">
          <ac:chgData name="Dennis Hendriks - DHFS" userId="ceacf04f-0b47-4d6f-9d04-eca8f76fbd3c" providerId="ADAL" clId="{6BF22A83-B45F-4C2E-919F-A38CCDC27124}" dt="2021-10-28T11:59:15.755" v="4249" actId="207"/>
          <ac:spMkLst>
            <pc:docMk/>
            <pc:sldMk cId="2435104620" sldId="1098"/>
            <ac:spMk id="116" creationId="{FEF0DDB8-1E8B-495E-872B-24566635F670}"/>
          </ac:spMkLst>
        </pc:spChg>
        <pc:spChg chg="mod">
          <ac:chgData name="Dennis Hendriks - DHFS" userId="ceacf04f-0b47-4d6f-9d04-eca8f76fbd3c" providerId="ADAL" clId="{6BF22A83-B45F-4C2E-919F-A38CCDC27124}" dt="2021-10-28T11:59:15.755" v="4249" actId="207"/>
          <ac:spMkLst>
            <pc:docMk/>
            <pc:sldMk cId="2435104620" sldId="1098"/>
            <ac:spMk id="118" creationId="{16CEB961-C1D5-49B7-ABCC-64E3AC639805}"/>
          </ac:spMkLst>
        </pc:spChg>
        <pc:spChg chg="del">
          <ac:chgData name="Dennis Hendriks - DHFS" userId="ceacf04f-0b47-4d6f-9d04-eca8f76fbd3c" providerId="ADAL" clId="{6BF22A83-B45F-4C2E-919F-A38CCDC27124}" dt="2021-10-28T11:45:47.550" v="4120" actId="478"/>
          <ac:spMkLst>
            <pc:docMk/>
            <pc:sldMk cId="2435104620" sldId="1098"/>
            <ac:spMk id="121" creationId="{0F6C94A0-06ED-4DB1-A424-B6DCCF7AE7D6}"/>
          </ac:spMkLst>
        </pc:spChg>
        <pc:spChg chg="del">
          <ac:chgData name="Dennis Hendriks - DHFS" userId="ceacf04f-0b47-4d6f-9d04-eca8f76fbd3c" providerId="ADAL" clId="{6BF22A83-B45F-4C2E-919F-A38CCDC27124}" dt="2021-10-28T11:45:47.550" v="4120" actId="478"/>
          <ac:spMkLst>
            <pc:docMk/>
            <pc:sldMk cId="2435104620" sldId="1098"/>
            <ac:spMk id="123" creationId="{467F9376-5228-450E-8E7F-D70A0D9E3546}"/>
          </ac:spMkLst>
        </pc:spChg>
        <pc:spChg chg="del">
          <ac:chgData name="Dennis Hendriks - DHFS" userId="ceacf04f-0b47-4d6f-9d04-eca8f76fbd3c" providerId="ADAL" clId="{6BF22A83-B45F-4C2E-919F-A38CCDC27124}" dt="2021-10-28T11:45:47.550" v="4120" actId="478"/>
          <ac:spMkLst>
            <pc:docMk/>
            <pc:sldMk cId="2435104620" sldId="1098"/>
            <ac:spMk id="127" creationId="{095AB1E0-035C-4172-8BAF-4C48A6981EB2}"/>
          </ac:spMkLst>
        </pc:spChg>
        <pc:spChg chg="del">
          <ac:chgData name="Dennis Hendriks - DHFS" userId="ceacf04f-0b47-4d6f-9d04-eca8f76fbd3c" providerId="ADAL" clId="{6BF22A83-B45F-4C2E-919F-A38CCDC27124}" dt="2021-10-28T11:45:47.550" v="4120" actId="478"/>
          <ac:spMkLst>
            <pc:docMk/>
            <pc:sldMk cId="2435104620" sldId="1098"/>
            <ac:spMk id="133" creationId="{B04BF20B-B310-4A36-BBD5-6286572EC36D}"/>
          </ac:spMkLst>
        </pc:spChg>
        <pc:spChg chg="add mod">
          <ac:chgData name="Dennis Hendriks - DHFS" userId="ceacf04f-0b47-4d6f-9d04-eca8f76fbd3c" providerId="ADAL" clId="{6BF22A83-B45F-4C2E-919F-A38CCDC27124}" dt="2021-10-28T12:18:28.795" v="4547"/>
          <ac:spMkLst>
            <pc:docMk/>
            <pc:sldMk cId="2435104620" sldId="1098"/>
            <ac:spMk id="134" creationId="{69B7C589-98C1-445A-99B5-8AB79AB7664A}"/>
          </ac:spMkLst>
        </pc:spChg>
        <pc:cxnChg chg="del mod">
          <ac:chgData name="Dennis Hendriks - DHFS" userId="ceacf04f-0b47-4d6f-9d04-eca8f76fbd3c" providerId="ADAL" clId="{6BF22A83-B45F-4C2E-919F-A38CCDC27124}" dt="2021-10-28T11:48:34.367" v="4159" actId="478"/>
          <ac:cxnSpMkLst>
            <pc:docMk/>
            <pc:sldMk cId="2435104620" sldId="1098"/>
            <ac:cxnSpMk id="9" creationId="{5DCFEDE2-C847-4BC3-80C7-5F7C3BBEC990}"/>
          </ac:cxnSpMkLst>
        </pc:cxnChg>
        <pc:cxnChg chg="add del mod">
          <ac:chgData name="Dennis Hendriks - DHFS" userId="ceacf04f-0b47-4d6f-9d04-eca8f76fbd3c" providerId="ADAL" clId="{6BF22A83-B45F-4C2E-919F-A38CCDC27124}" dt="2021-10-27T07:45:19.783" v="1866" actId="14100"/>
          <ac:cxnSpMkLst>
            <pc:docMk/>
            <pc:sldMk cId="2435104620" sldId="1098"/>
            <ac:cxnSpMk id="9" creationId="{80481994-D2EB-45A0-8D5D-1B69E66E22EA}"/>
          </ac:cxnSpMkLst>
        </pc:cxnChg>
        <pc:cxnChg chg="add del mod">
          <ac:chgData name="Dennis Hendriks - DHFS" userId="ceacf04f-0b47-4d6f-9d04-eca8f76fbd3c" providerId="ADAL" clId="{6BF22A83-B45F-4C2E-919F-A38CCDC27124}" dt="2021-10-27T08:49:55.209" v="3106" actId="478"/>
          <ac:cxnSpMkLst>
            <pc:docMk/>
            <pc:sldMk cId="2435104620" sldId="1098"/>
            <ac:cxnSpMk id="14" creationId="{F6298016-B119-4281-B4F4-C4ABADA710FB}"/>
          </ac:cxnSpMkLst>
        </pc:cxnChg>
        <pc:cxnChg chg="add del mod">
          <ac:chgData name="Dennis Hendriks - DHFS" userId="ceacf04f-0b47-4d6f-9d04-eca8f76fbd3c" providerId="ADAL" clId="{6BF22A83-B45F-4C2E-919F-A38CCDC27124}" dt="2021-10-27T07:43:52.142" v="1810" actId="478"/>
          <ac:cxnSpMkLst>
            <pc:docMk/>
            <pc:sldMk cId="2435104620" sldId="1098"/>
            <ac:cxnSpMk id="30" creationId="{60D01241-BE56-4C13-A49E-7971D28D1F5E}"/>
          </ac:cxnSpMkLst>
        </pc:cxnChg>
        <pc:cxnChg chg="add del mod">
          <ac:chgData name="Dennis Hendriks - DHFS" userId="ceacf04f-0b47-4d6f-9d04-eca8f76fbd3c" providerId="ADAL" clId="{6BF22A83-B45F-4C2E-919F-A38CCDC27124}" dt="2021-10-27T07:43:41.446" v="1807"/>
          <ac:cxnSpMkLst>
            <pc:docMk/>
            <pc:sldMk cId="2435104620" sldId="1098"/>
            <ac:cxnSpMk id="41" creationId="{EB5D66CD-8B60-4A62-B261-708183679772}"/>
          </ac:cxnSpMkLst>
        </pc:cxnChg>
        <pc:cxnChg chg="add del mod">
          <ac:chgData name="Dennis Hendriks - DHFS" userId="ceacf04f-0b47-4d6f-9d04-eca8f76fbd3c" providerId="ADAL" clId="{6BF22A83-B45F-4C2E-919F-A38CCDC27124}" dt="2021-10-27T07:43:41.446" v="1807"/>
          <ac:cxnSpMkLst>
            <pc:docMk/>
            <pc:sldMk cId="2435104620" sldId="1098"/>
            <ac:cxnSpMk id="42" creationId="{4323AAD5-79AD-4287-A749-4FDCD1E7AC2C}"/>
          </ac:cxnSpMkLst>
        </pc:cxnChg>
        <pc:cxnChg chg="add mod">
          <ac:chgData name="Dennis Hendriks - DHFS" userId="ceacf04f-0b47-4d6f-9d04-eca8f76fbd3c" providerId="ADAL" clId="{6BF22A83-B45F-4C2E-919F-A38CCDC27124}" dt="2021-10-28T11:45:47.837" v="4121"/>
          <ac:cxnSpMkLst>
            <pc:docMk/>
            <pc:sldMk cId="2435104620" sldId="1098"/>
            <ac:cxnSpMk id="50" creationId="{5E37CEB4-7D66-40D6-9021-2A7DCF2D49C9}"/>
          </ac:cxnSpMkLst>
        </pc:cxnChg>
        <pc:cxnChg chg="add del mod">
          <ac:chgData name="Dennis Hendriks - DHFS" userId="ceacf04f-0b47-4d6f-9d04-eca8f76fbd3c" providerId="ADAL" clId="{6BF22A83-B45F-4C2E-919F-A38CCDC27124}" dt="2021-10-27T07:43:52.142" v="1810" actId="478"/>
          <ac:cxnSpMkLst>
            <pc:docMk/>
            <pc:sldMk cId="2435104620" sldId="1098"/>
            <ac:cxnSpMk id="51" creationId="{787396A1-FDEF-4302-9632-8492FCBC0241}"/>
          </ac:cxnSpMkLst>
        </pc:cxnChg>
        <pc:cxnChg chg="add mod">
          <ac:chgData name="Dennis Hendriks - DHFS" userId="ceacf04f-0b47-4d6f-9d04-eca8f76fbd3c" providerId="ADAL" clId="{6BF22A83-B45F-4C2E-919F-A38CCDC27124}" dt="2021-10-28T11:45:47.837" v="4121"/>
          <ac:cxnSpMkLst>
            <pc:docMk/>
            <pc:sldMk cId="2435104620" sldId="1098"/>
            <ac:cxnSpMk id="52" creationId="{8711D19B-8E5A-4BDD-A2A2-C32A385EF170}"/>
          </ac:cxnSpMkLst>
        </pc:cxnChg>
        <pc:cxnChg chg="add del mod">
          <ac:chgData name="Dennis Hendriks - DHFS" userId="ceacf04f-0b47-4d6f-9d04-eca8f76fbd3c" providerId="ADAL" clId="{6BF22A83-B45F-4C2E-919F-A38CCDC27124}" dt="2021-10-27T07:43:52.142" v="1810" actId="478"/>
          <ac:cxnSpMkLst>
            <pc:docMk/>
            <pc:sldMk cId="2435104620" sldId="1098"/>
            <ac:cxnSpMk id="52" creationId="{E22D3F04-A57A-4AC3-A012-747C1F680F0F}"/>
          </ac:cxnSpMkLst>
        </pc:cxnChg>
        <pc:cxnChg chg="add del mod">
          <ac:chgData name="Dennis Hendriks - DHFS" userId="ceacf04f-0b47-4d6f-9d04-eca8f76fbd3c" providerId="ADAL" clId="{6BF22A83-B45F-4C2E-919F-A38CCDC27124}" dt="2021-10-27T07:43:52.142" v="1810" actId="478"/>
          <ac:cxnSpMkLst>
            <pc:docMk/>
            <pc:sldMk cId="2435104620" sldId="1098"/>
            <ac:cxnSpMk id="53" creationId="{7D84282D-BEAF-450F-8438-6A99CD6E286D}"/>
          </ac:cxnSpMkLst>
        </pc:cxnChg>
        <pc:cxnChg chg="add mod">
          <ac:chgData name="Dennis Hendriks - DHFS" userId="ceacf04f-0b47-4d6f-9d04-eca8f76fbd3c" providerId="ADAL" clId="{6BF22A83-B45F-4C2E-919F-A38CCDC27124}" dt="2021-10-28T11:45:47.837" v="4121"/>
          <ac:cxnSpMkLst>
            <pc:docMk/>
            <pc:sldMk cId="2435104620" sldId="1098"/>
            <ac:cxnSpMk id="56" creationId="{23B8ED8F-A27A-4E33-9C43-13003BD2C55E}"/>
          </ac:cxnSpMkLst>
        </pc:cxnChg>
        <pc:cxnChg chg="add mod">
          <ac:chgData name="Dennis Hendriks - DHFS" userId="ceacf04f-0b47-4d6f-9d04-eca8f76fbd3c" providerId="ADAL" clId="{6BF22A83-B45F-4C2E-919F-A38CCDC27124}" dt="2021-10-28T11:45:47.837" v="4121"/>
          <ac:cxnSpMkLst>
            <pc:docMk/>
            <pc:sldMk cId="2435104620" sldId="1098"/>
            <ac:cxnSpMk id="58" creationId="{33689920-94B3-4D10-93DA-EDAE49B1D1E6}"/>
          </ac:cxnSpMkLst>
        </pc:cxnChg>
        <pc:cxnChg chg="add del mod">
          <ac:chgData name="Dennis Hendriks - DHFS" userId="ceacf04f-0b47-4d6f-9d04-eca8f76fbd3c" providerId="ADAL" clId="{6BF22A83-B45F-4C2E-919F-A38CCDC27124}" dt="2021-10-27T07:43:41.446" v="1807"/>
          <ac:cxnSpMkLst>
            <pc:docMk/>
            <pc:sldMk cId="2435104620" sldId="1098"/>
            <ac:cxnSpMk id="60" creationId="{63F44EB4-00AA-4337-978C-558081F5B608}"/>
          </ac:cxnSpMkLst>
        </pc:cxnChg>
        <pc:cxnChg chg="add del">
          <ac:chgData name="Dennis Hendriks - DHFS" userId="ceacf04f-0b47-4d6f-9d04-eca8f76fbd3c" providerId="ADAL" clId="{6BF22A83-B45F-4C2E-919F-A38CCDC27124}" dt="2021-10-27T07:43:52.142" v="1810" actId="478"/>
          <ac:cxnSpMkLst>
            <pc:docMk/>
            <pc:sldMk cId="2435104620" sldId="1098"/>
            <ac:cxnSpMk id="62" creationId="{A30F93F9-DD9A-44CB-A718-BBECE10333B8}"/>
          </ac:cxnSpMkLst>
        </pc:cxnChg>
        <pc:cxnChg chg="del">
          <ac:chgData name="Dennis Hendriks - DHFS" userId="ceacf04f-0b47-4d6f-9d04-eca8f76fbd3c" providerId="ADAL" clId="{6BF22A83-B45F-4C2E-919F-A38CCDC27124}" dt="2021-10-27T07:40:55.585" v="1759" actId="478"/>
          <ac:cxnSpMkLst>
            <pc:docMk/>
            <pc:sldMk cId="2435104620" sldId="1098"/>
            <ac:cxnSpMk id="65" creationId="{3F0498BF-7573-466F-9D6D-603E134D246A}"/>
          </ac:cxnSpMkLst>
        </pc:cxnChg>
        <pc:cxnChg chg="add del mod">
          <ac:chgData name="Dennis Hendriks - DHFS" userId="ceacf04f-0b47-4d6f-9d04-eca8f76fbd3c" providerId="ADAL" clId="{6BF22A83-B45F-4C2E-919F-A38CCDC27124}" dt="2021-10-27T07:43:41.446" v="1807"/>
          <ac:cxnSpMkLst>
            <pc:docMk/>
            <pc:sldMk cId="2435104620" sldId="1098"/>
            <ac:cxnSpMk id="71" creationId="{10480D72-0873-4F20-AB01-F6CDEFBB9757}"/>
          </ac:cxnSpMkLst>
        </pc:cxnChg>
        <pc:cxnChg chg="add del mod">
          <ac:chgData name="Dennis Hendriks - DHFS" userId="ceacf04f-0b47-4d6f-9d04-eca8f76fbd3c" providerId="ADAL" clId="{6BF22A83-B45F-4C2E-919F-A38CCDC27124}" dt="2021-10-27T07:43:41.446" v="1807"/>
          <ac:cxnSpMkLst>
            <pc:docMk/>
            <pc:sldMk cId="2435104620" sldId="1098"/>
            <ac:cxnSpMk id="72" creationId="{5D70F2BE-4883-4D4C-B104-142C5808D8A3}"/>
          </ac:cxnSpMkLst>
        </pc:cxnChg>
        <pc:cxnChg chg="add mod">
          <ac:chgData name="Dennis Hendriks - DHFS" userId="ceacf04f-0b47-4d6f-9d04-eca8f76fbd3c" providerId="ADAL" clId="{6BF22A83-B45F-4C2E-919F-A38CCDC27124}" dt="2021-10-27T07:45:13.921" v="1865" actId="1036"/>
          <ac:cxnSpMkLst>
            <pc:docMk/>
            <pc:sldMk cId="2435104620" sldId="1098"/>
            <ac:cxnSpMk id="83" creationId="{4277BD9A-C377-468B-A661-67297092A84A}"/>
          </ac:cxnSpMkLst>
        </pc:cxnChg>
        <pc:cxnChg chg="add mod">
          <ac:chgData name="Dennis Hendriks - DHFS" userId="ceacf04f-0b47-4d6f-9d04-eca8f76fbd3c" providerId="ADAL" clId="{6BF22A83-B45F-4C2E-919F-A38CCDC27124}" dt="2021-10-27T07:45:13.921" v="1865" actId="1036"/>
          <ac:cxnSpMkLst>
            <pc:docMk/>
            <pc:sldMk cId="2435104620" sldId="1098"/>
            <ac:cxnSpMk id="84" creationId="{F1815A4E-912B-4291-915F-BF0394E5C6EB}"/>
          </ac:cxnSpMkLst>
        </pc:cxnChg>
        <pc:cxnChg chg="add mod">
          <ac:chgData name="Dennis Hendriks - DHFS" userId="ceacf04f-0b47-4d6f-9d04-eca8f76fbd3c" providerId="ADAL" clId="{6BF22A83-B45F-4C2E-919F-A38CCDC27124}" dt="2021-10-27T07:45:13.921" v="1865" actId="1036"/>
          <ac:cxnSpMkLst>
            <pc:docMk/>
            <pc:sldMk cId="2435104620" sldId="1098"/>
            <ac:cxnSpMk id="85" creationId="{59F75A52-599C-4FF0-85AD-2CF1D30FD7D8}"/>
          </ac:cxnSpMkLst>
        </pc:cxnChg>
        <pc:cxnChg chg="add mod">
          <ac:chgData name="Dennis Hendriks - DHFS" userId="ceacf04f-0b47-4d6f-9d04-eca8f76fbd3c" providerId="ADAL" clId="{6BF22A83-B45F-4C2E-919F-A38CCDC27124}" dt="2021-10-27T07:45:13.921" v="1865" actId="1036"/>
          <ac:cxnSpMkLst>
            <pc:docMk/>
            <pc:sldMk cId="2435104620" sldId="1098"/>
            <ac:cxnSpMk id="92" creationId="{9567D8D8-BA8F-4182-9094-8D7934E85770}"/>
          </ac:cxnSpMkLst>
        </pc:cxnChg>
        <pc:cxnChg chg="add mod">
          <ac:chgData name="Dennis Hendriks - DHFS" userId="ceacf04f-0b47-4d6f-9d04-eca8f76fbd3c" providerId="ADAL" clId="{6BF22A83-B45F-4C2E-919F-A38CCDC27124}" dt="2021-10-27T09:02:14.989" v="3804" actId="14100"/>
          <ac:cxnSpMkLst>
            <pc:docMk/>
            <pc:sldMk cId="2435104620" sldId="1098"/>
            <ac:cxnSpMk id="93" creationId="{A33811C2-44C5-4B2B-ABB0-F1183074ED75}"/>
          </ac:cxnSpMkLst>
        </pc:cxnChg>
        <pc:cxnChg chg="add mod">
          <ac:chgData name="Dennis Hendriks - DHFS" userId="ceacf04f-0b47-4d6f-9d04-eca8f76fbd3c" providerId="ADAL" clId="{6BF22A83-B45F-4C2E-919F-A38CCDC27124}" dt="2021-10-28T11:53:57.051" v="4232" actId="1076"/>
          <ac:cxnSpMkLst>
            <pc:docMk/>
            <pc:sldMk cId="2435104620" sldId="1098"/>
            <ac:cxnSpMk id="98" creationId="{B2581B55-F228-4882-B29A-E9B2B7F9C1C4}"/>
          </ac:cxnSpMkLst>
        </pc:cxnChg>
        <pc:cxnChg chg="add mod">
          <ac:chgData name="Dennis Hendriks - DHFS" userId="ceacf04f-0b47-4d6f-9d04-eca8f76fbd3c" providerId="ADAL" clId="{6BF22A83-B45F-4C2E-919F-A38CCDC27124}" dt="2021-10-28T11:53:57.051" v="4232" actId="1076"/>
          <ac:cxnSpMkLst>
            <pc:docMk/>
            <pc:sldMk cId="2435104620" sldId="1098"/>
            <ac:cxnSpMk id="99" creationId="{535EAC64-488B-4113-915C-376CD8B4ADA5}"/>
          </ac:cxnSpMkLst>
        </pc:cxnChg>
        <pc:cxnChg chg="add mod">
          <ac:chgData name="Dennis Hendriks - DHFS" userId="ceacf04f-0b47-4d6f-9d04-eca8f76fbd3c" providerId="ADAL" clId="{6BF22A83-B45F-4C2E-919F-A38CCDC27124}" dt="2021-10-28T11:53:57.051" v="4232" actId="1076"/>
          <ac:cxnSpMkLst>
            <pc:docMk/>
            <pc:sldMk cId="2435104620" sldId="1098"/>
            <ac:cxnSpMk id="103" creationId="{6E70E93C-26BC-4797-94CE-DA021D83E357}"/>
          </ac:cxnSpMkLst>
        </pc:cxnChg>
        <pc:cxnChg chg="add mod">
          <ac:chgData name="Dennis Hendriks - DHFS" userId="ceacf04f-0b47-4d6f-9d04-eca8f76fbd3c" providerId="ADAL" clId="{6BF22A83-B45F-4C2E-919F-A38CCDC27124}" dt="2021-10-28T11:53:57.051" v="4232" actId="1076"/>
          <ac:cxnSpMkLst>
            <pc:docMk/>
            <pc:sldMk cId="2435104620" sldId="1098"/>
            <ac:cxnSpMk id="104" creationId="{368616DD-6F5B-4E6C-9FC5-F6F5218FBC8F}"/>
          </ac:cxnSpMkLst>
        </pc:cxnChg>
        <pc:cxnChg chg="add mod">
          <ac:chgData name="Dennis Hendriks - DHFS" userId="ceacf04f-0b47-4d6f-9d04-eca8f76fbd3c" providerId="ADAL" clId="{6BF22A83-B45F-4C2E-919F-A38CCDC27124}" dt="2021-10-28T11:53:57.051" v="4232" actId="1076"/>
          <ac:cxnSpMkLst>
            <pc:docMk/>
            <pc:sldMk cId="2435104620" sldId="1098"/>
            <ac:cxnSpMk id="105" creationId="{30754E02-B119-4044-92C3-E839E08A4414}"/>
          </ac:cxnSpMkLst>
        </pc:cxnChg>
        <pc:cxnChg chg="del">
          <ac:chgData name="Dennis Hendriks - DHFS" userId="ceacf04f-0b47-4d6f-9d04-eca8f76fbd3c" providerId="ADAL" clId="{6BF22A83-B45F-4C2E-919F-A38CCDC27124}" dt="2021-10-28T11:45:47.550" v="4120" actId="478"/>
          <ac:cxnSpMkLst>
            <pc:docMk/>
            <pc:sldMk cId="2435104620" sldId="1098"/>
            <ac:cxnSpMk id="120" creationId="{1EA7EE29-923E-4967-B28B-C260AC3DF6DF}"/>
          </ac:cxnSpMkLst>
        </pc:cxnChg>
        <pc:cxnChg chg="del">
          <ac:chgData name="Dennis Hendriks - DHFS" userId="ceacf04f-0b47-4d6f-9d04-eca8f76fbd3c" providerId="ADAL" clId="{6BF22A83-B45F-4C2E-919F-A38CCDC27124}" dt="2021-10-28T11:45:47.550" v="4120" actId="478"/>
          <ac:cxnSpMkLst>
            <pc:docMk/>
            <pc:sldMk cId="2435104620" sldId="1098"/>
            <ac:cxnSpMk id="122" creationId="{546791DB-8AF6-4E5B-B56C-DA94C9FDBE6C}"/>
          </ac:cxnSpMkLst>
        </pc:cxnChg>
        <pc:cxnChg chg="del">
          <ac:chgData name="Dennis Hendriks - DHFS" userId="ceacf04f-0b47-4d6f-9d04-eca8f76fbd3c" providerId="ADAL" clId="{6BF22A83-B45F-4C2E-919F-A38CCDC27124}" dt="2021-10-28T11:45:47.550" v="4120" actId="478"/>
          <ac:cxnSpMkLst>
            <pc:docMk/>
            <pc:sldMk cId="2435104620" sldId="1098"/>
            <ac:cxnSpMk id="126" creationId="{9F1762FE-B052-4599-A8AD-2F2A386E42D4}"/>
          </ac:cxnSpMkLst>
        </pc:cxnChg>
        <pc:cxnChg chg="del mod">
          <ac:chgData name="Dennis Hendriks - DHFS" userId="ceacf04f-0b47-4d6f-9d04-eca8f76fbd3c" providerId="ADAL" clId="{6BF22A83-B45F-4C2E-919F-A38CCDC27124}" dt="2021-10-28T11:45:47.550" v="4120" actId="478"/>
          <ac:cxnSpMkLst>
            <pc:docMk/>
            <pc:sldMk cId="2435104620" sldId="1098"/>
            <ac:cxnSpMk id="132" creationId="{9B8AAD35-758C-49F3-9385-1578AA6AA371}"/>
          </ac:cxnSpMkLst>
        </pc:cxnChg>
      </pc:sldChg>
      <pc:sldChg chg="del">
        <pc:chgData name="Dennis Hendriks - DHFS" userId="ceacf04f-0b47-4d6f-9d04-eca8f76fbd3c" providerId="ADAL" clId="{6BF22A83-B45F-4C2E-919F-A38CCDC27124}" dt="2021-10-27T07:28:23.575" v="1192" actId="2696"/>
        <pc:sldMkLst>
          <pc:docMk/>
          <pc:sldMk cId="580675787" sldId="1100"/>
        </pc:sldMkLst>
      </pc:sldChg>
      <pc:sldChg chg="modSp add del mod">
        <pc:chgData name="Dennis Hendriks - DHFS" userId="ceacf04f-0b47-4d6f-9d04-eca8f76fbd3c" providerId="ADAL" clId="{6BF22A83-B45F-4C2E-919F-A38CCDC27124}" dt="2021-10-27T09:11:29.244" v="3881" actId="47"/>
        <pc:sldMkLst>
          <pc:docMk/>
          <pc:sldMk cId="3200014408" sldId="1100"/>
        </pc:sldMkLst>
        <pc:spChg chg="mod">
          <ac:chgData name="Dennis Hendriks - DHFS" userId="ceacf04f-0b47-4d6f-9d04-eca8f76fbd3c" providerId="ADAL" clId="{6BF22A83-B45F-4C2E-919F-A38CCDC27124}" dt="2021-10-27T09:11:17.917" v="3879" actId="21"/>
          <ac:spMkLst>
            <pc:docMk/>
            <pc:sldMk cId="3200014408" sldId="1100"/>
            <ac:spMk id="6" creationId="{E4F6F090-8BE4-4D7B-8188-4363AE6423F4}"/>
          </ac:spMkLst>
        </pc:spChg>
      </pc:sldChg>
      <pc:sldChg chg="add del">
        <pc:chgData name="Dennis Hendriks - DHFS" userId="ceacf04f-0b47-4d6f-9d04-eca8f76fbd3c" providerId="ADAL" clId="{6BF22A83-B45F-4C2E-919F-A38CCDC27124}" dt="2021-10-27T09:11:47.459" v="3882" actId="47"/>
        <pc:sldMkLst>
          <pc:docMk/>
          <pc:sldMk cId="2529367367" sldId="1101"/>
        </pc:sldMkLst>
      </pc:sldChg>
      <pc:sldChg chg="del">
        <pc:chgData name="Dennis Hendriks - DHFS" userId="ceacf04f-0b47-4d6f-9d04-eca8f76fbd3c" providerId="ADAL" clId="{6BF22A83-B45F-4C2E-919F-A38CCDC27124}" dt="2021-10-27T07:28:42.118" v="1197" actId="2696"/>
        <pc:sldMkLst>
          <pc:docMk/>
          <pc:sldMk cId="3565405970" sldId="1101"/>
        </pc:sldMkLst>
      </pc:sldChg>
      <pc:sldChg chg="modSp del mod">
        <pc:chgData name="Dennis Hendriks - DHFS" userId="ceacf04f-0b47-4d6f-9d04-eca8f76fbd3c" providerId="ADAL" clId="{6BF22A83-B45F-4C2E-919F-A38CCDC27124}" dt="2021-10-27T08:25:37.155" v="2893" actId="47"/>
        <pc:sldMkLst>
          <pc:docMk/>
          <pc:sldMk cId="2481146114" sldId="1103"/>
        </pc:sldMkLst>
        <pc:spChg chg="mod">
          <ac:chgData name="Dennis Hendriks - DHFS" userId="ceacf04f-0b47-4d6f-9d04-eca8f76fbd3c" providerId="ADAL" clId="{6BF22A83-B45F-4C2E-919F-A38CCDC27124}" dt="2021-10-27T08:22:17.592" v="2771" actId="21"/>
          <ac:spMkLst>
            <pc:docMk/>
            <pc:sldMk cId="2481146114" sldId="1103"/>
            <ac:spMk id="6" creationId="{2853F1CC-A771-4A03-9299-057C088EF20C}"/>
          </ac:spMkLst>
        </pc:spChg>
      </pc:sldChg>
      <pc:sldChg chg="modSp mod">
        <pc:chgData name="Dennis Hendriks - DHFS" userId="ceacf04f-0b47-4d6f-9d04-eca8f76fbd3c" providerId="ADAL" clId="{6BF22A83-B45F-4C2E-919F-A38CCDC27124}" dt="2021-10-27T08:26:26.028" v="2969" actId="1076"/>
        <pc:sldMkLst>
          <pc:docMk/>
          <pc:sldMk cId="579590064" sldId="1107"/>
        </pc:sldMkLst>
        <pc:spChg chg="mod">
          <ac:chgData name="Dennis Hendriks - DHFS" userId="ceacf04f-0b47-4d6f-9d04-eca8f76fbd3c" providerId="ADAL" clId="{6BF22A83-B45F-4C2E-919F-A38CCDC27124}" dt="2021-10-27T08:26:18.172" v="2966" actId="6549"/>
          <ac:spMkLst>
            <pc:docMk/>
            <pc:sldMk cId="579590064" sldId="1107"/>
            <ac:spMk id="2" creationId="{6E152B49-A927-4745-9D7A-444DD308408F}"/>
          </ac:spMkLst>
        </pc:spChg>
        <pc:picChg chg="mod">
          <ac:chgData name="Dennis Hendriks - DHFS" userId="ceacf04f-0b47-4d6f-9d04-eca8f76fbd3c" providerId="ADAL" clId="{6BF22A83-B45F-4C2E-919F-A38CCDC27124}" dt="2021-10-27T08:26:26.028" v="2969" actId="1076"/>
          <ac:picMkLst>
            <pc:docMk/>
            <pc:sldMk cId="579590064" sldId="1107"/>
            <ac:picMk id="7" creationId="{DB2C3655-6E17-4A8A-8D66-1896014B968B}"/>
          </ac:picMkLst>
        </pc:picChg>
      </pc:sldChg>
      <pc:sldChg chg="modSp del mod">
        <pc:chgData name="Dennis Hendriks - DHFS" userId="ceacf04f-0b47-4d6f-9d04-eca8f76fbd3c" providerId="ADAL" clId="{6BF22A83-B45F-4C2E-919F-A38CCDC27124}" dt="2021-10-28T12:26:41.856" v="4659" actId="47"/>
        <pc:sldMkLst>
          <pc:docMk/>
          <pc:sldMk cId="3385077853" sldId="1108"/>
        </pc:sldMkLst>
        <pc:spChg chg="mod">
          <ac:chgData name="Dennis Hendriks - DHFS" userId="ceacf04f-0b47-4d6f-9d04-eca8f76fbd3c" providerId="ADAL" clId="{6BF22A83-B45F-4C2E-919F-A38CCDC27124}" dt="2021-10-27T07:55:17.164" v="2019"/>
          <ac:spMkLst>
            <pc:docMk/>
            <pc:sldMk cId="3385077853" sldId="1108"/>
            <ac:spMk id="2" creationId="{53CB77FA-CF1B-4B0E-A304-10CE6620EE56}"/>
          </ac:spMkLst>
        </pc:spChg>
        <pc:spChg chg="mod">
          <ac:chgData name="Dennis Hendriks - DHFS" userId="ceacf04f-0b47-4d6f-9d04-eca8f76fbd3c" providerId="ADAL" clId="{6BF22A83-B45F-4C2E-919F-A38CCDC27124}" dt="2021-10-27T08:12:20.137" v="2427" actId="207"/>
          <ac:spMkLst>
            <pc:docMk/>
            <pc:sldMk cId="3385077853" sldId="1108"/>
            <ac:spMk id="43" creationId="{612C57C5-C3FD-4AEA-AFAC-2BEBFF75A352}"/>
          </ac:spMkLst>
        </pc:spChg>
        <pc:spChg chg="mod">
          <ac:chgData name="Dennis Hendriks - DHFS" userId="ceacf04f-0b47-4d6f-9d04-eca8f76fbd3c" providerId="ADAL" clId="{6BF22A83-B45F-4C2E-919F-A38CCDC27124}" dt="2021-10-27T08:12:20.137" v="2427" actId="207"/>
          <ac:spMkLst>
            <pc:docMk/>
            <pc:sldMk cId="3385077853" sldId="1108"/>
            <ac:spMk id="48" creationId="{EC47B659-3763-453D-B857-EC9F829B5BC3}"/>
          </ac:spMkLst>
        </pc:spChg>
        <pc:spChg chg="mod">
          <ac:chgData name="Dennis Hendriks - DHFS" userId="ceacf04f-0b47-4d6f-9d04-eca8f76fbd3c" providerId="ADAL" clId="{6BF22A83-B45F-4C2E-919F-A38CCDC27124}" dt="2021-10-27T08:12:20.137" v="2427" actId="207"/>
          <ac:spMkLst>
            <pc:docMk/>
            <pc:sldMk cId="3385077853" sldId="1108"/>
            <ac:spMk id="49" creationId="{6EA8BC74-6012-4D65-A66B-05786ED0F00B}"/>
          </ac:spMkLst>
        </pc:spChg>
        <pc:spChg chg="mod">
          <ac:chgData name="Dennis Hendriks - DHFS" userId="ceacf04f-0b47-4d6f-9d04-eca8f76fbd3c" providerId="ADAL" clId="{6BF22A83-B45F-4C2E-919F-A38CCDC27124}" dt="2021-10-27T08:12:20.137" v="2427" actId="207"/>
          <ac:spMkLst>
            <pc:docMk/>
            <pc:sldMk cId="3385077853" sldId="1108"/>
            <ac:spMk id="50" creationId="{3B87FBEB-1F4B-46FE-BFA4-1A1B44E76407}"/>
          </ac:spMkLst>
        </pc:spChg>
        <pc:spChg chg="mod">
          <ac:chgData name="Dennis Hendriks - DHFS" userId="ceacf04f-0b47-4d6f-9d04-eca8f76fbd3c" providerId="ADAL" clId="{6BF22A83-B45F-4C2E-919F-A38CCDC27124}" dt="2021-10-27T08:12:20.137" v="2427" actId="207"/>
          <ac:spMkLst>
            <pc:docMk/>
            <pc:sldMk cId="3385077853" sldId="1108"/>
            <ac:spMk id="51" creationId="{ABED5051-E556-4DEB-BD67-B61E160BB524}"/>
          </ac:spMkLst>
        </pc:spChg>
        <pc:spChg chg="mod">
          <ac:chgData name="Dennis Hendriks - DHFS" userId="ceacf04f-0b47-4d6f-9d04-eca8f76fbd3c" providerId="ADAL" clId="{6BF22A83-B45F-4C2E-919F-A38CCDC27124}" dt="2021-10-27T08:12:20.137" v="2427" actId="207"/>
          <ac:spMkLst>
            <pc:docMk/>
            <pc:sldMk cId="3385077853" sldId="1108"/>
            <ac:spMk id="52" creationId="{6BF31AE1-CE56-4607-AF74-01BE3587081D}"/>
          </ac:spMkLst>
        </pc:spChg>
        <pc:spChg chg="mod">
          <ac:chgData name="Dennis Hendriks - DHFS" userId="ceacf04f-0b47-4d6f-9d04-eca8f76fbd3c" providerId="ADAL" clId="{6BF22A83-B45F-4C2E-919F-A38CCDC27124}" dt="2021-10-27T08:12:20.137" v="2427" actId="207"/>
          <ac:spMkLst>
            <pc:docMk/>
            <pc:sldMk cId="3385077853" sldId="1108"/>
            <ac:spMk id="53" creationId="{8B6F1395-B070-43A9-BA99-E60CA023686C}"/>
          </ac:spMkLst>
        </pc:spChg>
        <pc:spChg chg="mod">
          <ac:chgData name="Dennis Hendriks - DHFS" userId="ceacf04f-0b47-4d6f-9d04-eca8f76fbd3c" providerId="ADAL" clId="{6BF22A83-B45F-4C2E-919F-A38CCDC27124}" dt="2021-10-27T08:12:20.137" v="2427" actId="207"/>
          <ac:spMkLst>
            <pc:docMk/>
            <pc:sldMk cId="3385077853" sldId="1108"/>
            <ac:spMk id="55" creationId="{6900E034-B2C4-4FB1-A4FB-3726A37CF0F0}"/>
          </ac:spMkLst>
        </pc:spChg>
        <pc:spChg chg="mod">
          <ac:chgData name="Dennis Hendriks - DHFS" userId="ceacf04f-0b47-4d6f-9d04-eca8f76fbd3c" providerId="ADAL" clId="{6BF22A83-B45F-4C2E-919F-A38CCDC27124}" dt="2021-10-27T08:12:20.137" v="2427" actId="207"/>
          <ac:spMkLst>
            <pc:docMk/>
            <pc:sldMk cId="3385077853" sldId="1108"/>
            <ac:spMk id="56" creationId="{21DA479D-3C31-4776-9981-576F6F930F62}"/>
          </ac:spMkLst>
        </pc:spChg>
        <pc:spChg chg="mod">
          <ac:chgData name="Dennis Hendriks - DHFS" userId="ceacf04f-0b47-4d6f-9d04-eca8f76fbd3c" providerId="ADAL" clId="{6BF22A83-B45F-4C2E-919F-A38CCDC27124}" dt="2021-10-27T08:12:20.137" v="2427" actId="207"/>
          <ac:spMkLst>
            <pc:docMk/>
            <pc:sldMk cId="3385077853" sldId="1108"/>
            <ac:spMk id="57" creationId="{38EB5E1C-FEA8-4B93-A5EF-232FEBE6B8E1}"/>
          </ac:spMkLst>
        </pc:spChg>
        <pc:spChg chg="mod">
          <ac:chgData name="Dennis Hendriks - DHFS" userId="ceacf04f-0b47-4d6f-9d04-eca8f76fbd3c" providerId="ADAL" clId="{6BF22A83-B45F-4C2E-919F-A38CCDC27124}" dt="2021-10-27T08:12:20.137" v="2427" actId="207"/>
          <ac:spMkLst>
            <pc:docMk/>
            <pc:sldMk cId="3385077853" sldId="1108"/>
            <ac:spMk id="58" creationId="{ECD1B08B-245D-46B1-AED9-616831266093}"/>
          </ac:spMkLst>
        </pc:spChg>
        <pc:spChg chg="mod">
          <ac:chgData name="Dennis Hendriks - DHFS" userId="ceacf04f-0b47-4d6f-9d04-eca8f76fbd3c" providerId="ADAL" clId="{6BF22A83-B45F-4C2E-919F-A38CCDC27124}" dt="2021-10-27T08:12:20.137" v="2427" actId="207"/>
          <ac:spMkLst>
            <pc:docMk/>
            <pc:sldMk cId="3385077853" sldId="1108"/>
            <ac:spMk id="59" creationId="{9B632230-2158-4DCA-84E9-87BD563DD015}"/>
          </ac:spMkLst>
        </pc:spChg>
      </pc:sldChg>
      <pc:sldChg chg="modSp mod addCm delCm modCm">
        <pc:chgData name="Dennis Hendriks - DHFS" userId="ceacf04f-0b47-4d6f-9d04-eca8f76fbd3c" providerId="ADAL" clId="{6BF22A83-B45F-4C2E-919F-A38CCDC27124}" dt="2021-10-29T07:39:46.545" v="5488" actId="1592"/>
        <pc:sldMkLst>
          <pc:docMk/>
          <pc:sldMk cId="3959803911" sldId="1113"/>
        </pc:sldMkLst>
        <pc:spChg chg="mod ord">
          <ac:chgData name="Dennis Hendriks - DHFS" userId="ceacf04f-0b47-4d6f-9d04-eca8f76fbd3c" providerId="ADAL" clId="{6BF22A83-B45F-4C2E-919F-A38CCDC27124}" dt="2021-10-27T08:20:33.751" v="2711" actId="20577"/>
          <ac:spMkLst>
            <pc:docMk/>
            <pc:sldMk cId="3959803911" sldId="1113"/>
            <ac:spMk id="2" creationId="{ECA7C3C6-BB37-40AE-B552-32E43D120D8F}"/>
          </ac:spMkLst>
        </pc:spChg>
        <pc:picChg chg="mod">
          <ac:chgData name="Dennis Hendriks - DHFS" userId="ceacf04f-0b47-4d6f-9d04-eca8f76fbd3c" providerId="ADAL" clId="{6BF22A83-B45F-4C2E-919F-A38CCDC27124}" dt="2021-10-27T07:29:40.021" v="1241" actId="1076"/>
          <ac:picMkLst>
            <pc:docMk/>
            <pc:sldMk cId="3959803911" sldId="1113"/>
            <ac:picMk id="12" creationId="{8D67FA59-26D7-48E6-987E-D832F6960A59}"/>
          </ac:picMkLst>
        </pc:picChg>
      </pc:sldChg>
      <pc:sldChg chg="del">
        <pc:chgData name="Dennis Hendriks - DHFS" userId="ceacf04f-0b47-4d6f-9d04-eca8f76fbd3c" providerId="ADAL" clId="{6BF22A83-B45F-4C2E-919F-A38CCDC27124}" dt="2021-10-27T07:08:11.345" v="508" actId="47"/>
        <pc:sldMkLst>
          <pc:docMk/>
          <pc:sldMk cId="565793534" sldId="1114"/>
        </pc:sldMkLst>
      </pc:sldChg>
      <pc:sldChg chg="addSp delSp modSp mod delAnim modAnim">
        <pc:chgData name="Dennis Hendriks - DHFS" userId="ceacf04f-0b47-4d6f-9d04-eca8f76fbd3c" providerId="ADAL" clId="{6BF22A83-B45F-4C2E-919F-A38CCDC27124}" dt="2021-10-27T07:50:45.863" v="1979" actId="20577"/>
        <pc:sldMkLst>
          <pc:docMk/>
          <pc:sldMk cId="4228508098" sldId="1115"/>
        </pc:sldMkLst>
        <pc:spChg chg="mod">
          <ac:chgData name="Dennis Hendriks - DHFS" userId="ceacf04f-0b47-4d6f-9d04-eca8f76fbd3c" providerId="ADAL" clId="{6BF22A83-B45F-4C2E-919F-A38CCDC27124}" dt="2021-10-27T07:50:45.863" v="1979" actId="20577"/>
          <ac:spMkLst>
            <pc:docMk/>
            <pc:sldMk cId="4228508098" sldId="1115"/>
            <ac:spMk id="2" creationId="{A077C089-3A7E-44C2-88D4-DE7D0F1EA5A2}"/>
          </ac:spMkLst>
        </pc:spChg>
        <pc:spChg chg="del mod topLvl">
          <ac:chgData name="Dennis Hendriks - DHFS" userId="ceacf04f-0b47-4d6f-9d04-eca8f76fbd3c" providerId="ADAL" clId="{6BF22A83-B45F-4C2E-919F-A38CCDC27124}" dt="2021-10-27T07:49:05.201" v="1946" actId="478"/>
          <ac:spMkLst>
            <pc:docMk/>
            <pc:sldMk cId="4228508098" sldId="1115"/>
            <ac:spMk id="6" creationId="{D525383D-F1AE-4B4C-B713-E8C4E68A48A3}"/>
          </ac:spMkLst>
        </pc:spChg>
        <pc:spChg chg="mod topLvl">
          <ac:chgData name="Dennis Hendriks - DHFS" userId="ceacf04f-0b47-4d6f-9d04-eca8f76fbd3c" providerId="ADAL" clId="{6BF22A83-B45F-4C2E-919F-A38CCDC27124}" dt="2021-10-27T07:48:59.023" v="1944"/>
          <ac:spMkLst>
            <pc:docMk/>
            <pc:sldMk cId="4228508098" sldId="1115"/>
            <ac:spMk id="7" creationId="{6D23690B-CCF6-4ED5-8578-F974EE0ED9B0}"/>
          </ac:spMkLst>
        </pc:spChg>
        <pc:spChg chg="mod topLvl">
          <ac:chgData name="Dennis Hendriks - DHFS" userId="ceacf04f-0b47-4d6f-9d04-eca8f76fbd3c" providerId="ADAL" clId="{6BF22A83-B45F-4C2E-919F-A38CCDC27124}" dt="2021-10-27T07:48:59.023" v="1944"/>
          <ac:spMkLst>
            <pc:docMk/>
            <pc:sldMk cId="4228508098" sldId="1115"/>
            <ac:spMk id="8" creationId="{749D42A6-4748-4D26-AD1F-1410F8966EFB}"/>
          </ac:spMkLst>
        </pc:spChg>
        <pc:spChg chg="mod topLvl">
          <ac:chgData name="Dennis Hendriks - DHFS" userId="ceacf04f-0b47-4d6f-9d04-eca8f76fbd3c" providerId="ADAL" clId="{6BF22A83-B45F-4C2E-919F-A38CCDC27124}" dt="2021-10-27T07:48:59.023" v="1944"/>
          <ac:spMkLst>
            <pc:docMk/>
            <pc:sldMk cId="4228508098" sldId="1115"/>
            <ac:spMk id="9" creationId="{161A1D8D-AFA3-4FA3-A09B-4DA14D898FEE}"/>
          </ac:spMkLst>
        </pc:spChg>
        <pc:spChg chg="mod topLvl">
          <ac:chgData name="Dennis Hendriks - DHFS" userId="ceacf04f-0b47-4d6f-9d04-eca8f76fbd3c" providerId="ADAL" clId="{6BF22A83-B45F-4C2E-919F-A38CCDC27124}" dt="2021-10-27T07:48:59.023" v="1944"/>
          <ac:spMkLst>
            <pc:docMk/>
            <pc:sldMk cId="4228508098" sldId="1115"/>
            <ac:spMk id="10" creationId="{FC359D38-C6BF-43E2-B893-823B95413044}"/>
          </ac:spMkLst>
        </pc:spChg>
        <pc:spChg chg="mod topLvl">
          <ac:chgData name="Dennis Hendriks - DHFS" userId="ceacf04f-0b47-4d6f-9d04-eca8f76fbd3c" providerId="ADAL" clId="{6BF22A83-B45F-4C2E-919F-A38CCDC27124}" dt="2021-10-27T07:48:59.023" v="1944"/>
          <ac:spMkLst>
            <pc:docMk/>
            <pc:sldMk cId="4228508098" sldId="1115"/>
            <ac:spMk id="11" creationId="{7B338E93-2A0B-4DBB-BFE2-50FE487719D8}"/>
          </ac:spMkLst>
        </pc:spChg>
        <pc:spChg chg="mod topLvl">
          <ac:chgData name="Dennis Hendriks - DHFS" userId="ceacf04f-0b47-4d6f-9d04-eca8f76fbd3c" providerId="ADAL" clId="{6BF22A83-B45F-4C2E-919F-A38CCDC27124}" dt="2021-10-27T07:48:59.023" v="1944"/>
          <ac:spMkLst>
            <pc:docMk/>
            <pc:sldMk cId="4228508098" sldId="1115"/>
            <ac:spMk id="12" creationId="{B12AD1B6-D28E-4E1D-8FA2-06132B4C0FDF}"/>
          </ac:spMkLst>
        </pc:spChg>
        <pc:spChg chg="mod topLvl">
          <ac:chgData name="Dennis Hendriks - DHFS" userId="ceacf04f-0b47-4d6f-9d04-eca8f76fbd3c" providerId="ADAL" clId="{6BF22A83-B45F-4C2E-919F-A38CCDC27124}" dt="2021-10-27T07:48:59.023" v="1944"/>
          <ac:spMkLst>
            <pc:docMk/>
            <pc:sldMk cId="4228508098" sldId="1115"/>
            <ac:spMk id="13" creationId="{39E7063F-0E97-4739-B371-10313C76EB09}"/>
          </ac:spMkLst>
        </pc:spChg>
        <pc:spChg chg="mod topLvl">
          <ac:chgData name="Dennis Hendriks - DHFS" userId="ceacf04f-0b47-4d6f-9d04-eca8f76fbd3c" providerId="ADAL" clId="{6BF22A83-B45F-4C2E-919F-A38CCDC27124}" dt="2021-10-27T07:48:59.023" v="1944"/>
          <ac:spMkLst>
            <pc:docMk/>
            <pc:sldMk cId="4228508098" sldId="1115"/>
            <ac:spMk id="14" creationId="{05C6BFB8-ABD4-4F0B-AF70-7D4314083796}"/>
          </ac:spMkLst>
        </pc:spChg>
        <pc:spChg chg="mod topLvl">
          <ac:chgData name="Dennis Hendriks - DHFS" userId="ceacf04f-0b47-4d6f-9d04-eca8f76fbd3c" providerId="ADAL" clId="{6BF22A83-B45F-4C2E-919F-A38CCDC27124}" dt="2021-10-27T07:49:19.341" v="1954" actId="1076"/>
          <ac:spMkLst>
            <pc:docMk/>
            <pc:sldMk cId="4228508098" sldId="1115"/>
            <ac:spMk id="15" creationId="{45ACCE62-D817-429E-99C0-29E90C0004AE}"/>
          </ac:spMkLst>
        </pc:spChg>
        <pc:spChg chg="mod topLvl">
          <ac:chgData name="Dennis Hendriks - DHFS" userId="ceacf04f-0b47-4d6f-9d04-eca8f76fbd3c" providerId="ADAL" clId="{6BF22A83-B45F-4C2E-919F-A38CCDC27124}" dt="2021-10-27T07:48:59.023" v="1944"/>
          <ac:spMkLst>
            <pc:docMk/>
            <pc:sldMk cId="4228508098" sldId="1115"/>
            <ac:spMk id="16" creationId="{5DF7E345-1717-457F-B361-09FC6C933541}"/>
          </ac:spMkLst>
        </pc:spChg>
        <pc:spChg chg="mod topLvl">
          <ac:chgData name="Dennis Hendriks - DHFS" userId="ceacf04f-0b47-4d6f-9d04-eca8f76fbd3c" providerId="ADAL" clId="{6BF22A83-B45F-4C2E-919F-A38CCDC27124}" dt="2021-10-27T07:49:22.568" v="1956" actId="1076"/>
          <ac:spMkLst>
            <pc:docMk/>
            <pc:sldMk cId="4228508098" sldId="1115"/>
            <ac:spMk id="17" creationId="{FA5FBA44-1A18-4177-8379-AA73E640DFF9}"/>
          </ac:spMkLst>
        </pc:spChg>
        <pc:spChg chg="mod topLvl">
          <ac:chgData name="Dennis Hendriks - DHFS" userId="ceacf04f-0b47-4d6f-9d04-eca8f76fbd3c" providerId="ADAL" clId="{6BF22A83-B45F-4C2E-919F-A38CCDC27124}" dt="2021-10-27T07:49:27.492" v="1958" actId="1076"/>
          <ac:spMkLst>
            <pc:docMk/>
            <pc:sldMk cId="4228508098" sldId="1115"/>
            <ac:spMk id="18" creationId="{4090F086-B1AA-476C-BF44-D41B324E5356}"/>
          </ac:spMkLst>
        </pc:spChg>
        <pc:spChg chg="mod topLvl">
          <ac:chgData name="Dennis Hendriks - DHFS" userId="ceacf04f-0b47-4d6f-9d04-eca8f76fbd3c" providerId="ADAL" clId="{6BF22A83-B45F-4C2E-919F-A38CCDC27124}" dt="2021-10-27T07:48:59.023" v="1944"/>
          <ac:spMkLst>
            <pc:docMk/>
            <pc:sldMk cId="4228508098" sldId="1115"/>
            <ac:spMk id="19" creationId="{B433080E-286F-4612-A4B6-0977D1871A2C}"/>
          </ac:spMkLst>
        </pc:spChg>
        <pc:spChg chg="mod topLvl">
          <ac:chgData name="Dennis Hendriks - DHFS" userId="ceacf04f-0b47-4d6f-9d04-eca8f76fbd3c" providerId="ADAL" clId="{6BF22A83-B45F-4C2E-919F-A38CCDC27124}" dt="2021-10-27T07:49:29.004" v="1959" actId="1076"/>
          <ac:spMkLst>
            <pc:docMk/>
            <pc:sldMk cId="4228508098" sldId="1115"/>
            <ac:spMk id="20" creationId="{1D6BDAE1-94AD-41F4-B142-42DA2E454205}"/>
          </ac:spMkLst>
        </pc:spChg>
        <pc:spChg chg="mod topLvl">
          <ac:chgData name="Dennis Hendriks - DHFS" userId="ceacf04f-0b47-4d6f-9d04-eca8f76fbd3c" providerId="ADAL" clId="{6BF22A83-B45F-4C2E-919F-A38CCDC27124}" dt="2021-10-27T07:49:24.909" v="1957" actId="1076"/>
          <ac:spMkLst>
            <pc:docMk/>
            <pc:sldMk cId="4228508098" sldId="1115"/>
            <ac:spMk id="21" creationId="{93A8C00C-829C-45D0-B729-0DC7A6CFF833}"/>
          </ac:spMkLst>
        </pc:spChg>
        <pc:spChg chg="mod topLvl">
          <ac:chgData name="Dennis Hendriks - DHFS" userId="ceacf04f-0b47-4d6f-9d04-eca8f76fbd3c" providerId="ADAL" clId="{6BF22A83-B45F-4C2E-919F-A38CCDC27124}" dt="2021-10-27T07:49:20.736" v="1955" actId="1076"/>
          <ac:spMkLst>
            <pc:docMk/>
            <pc:sldMk cId="4228508098" sldId="1115"/>
            <ac:spMk id="22" creationId="{CD404A15-56AF-47D3-98C2-22FAD78CA59C}"/>
          </ac:spMkLst>
        </pc:spChg>
        <pc:spChg chg="mod topLvl">
          <ac:chgData name="Dennis Hendriks - DHFS" userId="ceacf04f-0b47-4d6f-9d04-eca8f76fbd3c" providerId="ADAL" clId="{6BF22A83-B45F-4C2E-919F-A38CCDC27124}" dt="2021-10-27T07:48:59.023" v="1944"/>
          <ac:spMkLst>
            <pc:docMk/>
            <pc:sldMk cId="4228508098" sldId="1115"/>
            <ac:spMk id="23" creationId="{F8C24E07-2FC9-4107-B097-7DCCE394171E}"/>
          </ac:spMkLst>
        </pc:spChg>
        <pc:spChg chg="mod topLvl">
          <ac:chgData name="Dennis Hendriks - DHFS" userId="ceacf04f-0b47-4d6f-9d04-eca8f76fbd3c" providerId="ADAL" clId="{6BF22A83-B45F-4C2E-919F-A38CCDC27124}" dt="2021-10-27T07:46:41.478" v="1893" actId="165"/>
          <ac:spMkLst>
            <pc:docMk/>
            <pc:sldMk cId="4228508098" sldId="1115"/>
            <ac:spMk id="25" creationId="{9EB00A02-7F87-4562-8A39-D3D5E883FD3E}"/>
          </ac:spMkLst>
        </pc:spChg>
        <pc:spChg chg="mod topLvl">
          <ac:chgData name="Dennis Hendriks - DHFS" userId="ceacf04f-0b47-4d6f-9d04-eca8f76fbd3c" providerId="ADAL" clId="{6BF22A83-B45F-4C2E-919F-A38CCDC27124}" dt="2021-10-27T07:49:55.757" v="1969" actId="1076"/>
          <ac:spMkLst>
            <pc:docMk/>
            <pc:sldMk cId="4228508098" sldId="1115"/>
            <ac:spMk id="26" creationId="{7E19ED19-4CF6-43A8-AFB5-9F637C8182F2}"/>
          </ac:spMkLst>
        </pc:spChg>
        <pc:spChg chg="mod topLvl">
          <ac:chgData name="Dennis Hendriks - DHFS" userId="ceacf04f-0b47-4d6f-9d04-eca8f76fbd3c" providerId="ADAL" clId="{6BF22A83-B45F-4C2E-919F-A38CCDC27124}" dt="2021-10-27T07:49:57.249" v="1970" actId="1076"/>
          <ac:spMkLst>
            <pc:docMk/>
            <pc:sldMk cId="4228508098" sldId="1115"/>
            <ac:spMk id="27" creationId="{D4185C62-5A69-4D03-AF3C-7A8EB28AAFF3}"/>
          </ac:spMkLst>
        </pc:spChg>
        <pc:spChg chg="mod topLvl">
          <ac:chgData name="Dennis Hendriks - DHFS" userId="ceacf04f-0b47-4d6f-9d04-eca8f76fbd3c" providerId="ADAL" clId="{6BF22A83-B45F-4C2E-919F-A38CCDC27124}" dt="2021-10-27T07:49:37.475" v="1962" actId="1076"/>
          <ac:spMkLst>
            <pc:docMk/>
            <pc:sldMk cId="4228508098" sldId="1115"/>
            <ac:spMk id="28" creationId="{59557FBF-5E33-48FA-A4D9-1EBE4FD23AAF}"/>
          </ac:spMkLst>
        </pc:spChg>
        <pc:spChg chg="mod topLvl">
          <ac:chgData name="Dennis Hendriks - DHFS" userId="ceacf04f-0b47-4d6f-9d04-eca8f76fbd3c" providerId="ADAL" clId="{6BF22A83-B45F-4C2E-919F-A38CCDC27124}" dt="2021-10-27T07:49:45.186" v="1966" actId="1076"/>
          <ac:spMkLst>
            <pc:docMk/>
            <pc:sldMk cId="4228508098" sldId="1115"/>
            <ac:spMk id="29" creationId="{6970AF9C-6F58-47A9-B653-848D35D1835F}"/>
          </ac:spMkLst>
        </pc:spChg>
        <pc:spChg chg="mod topLvl">
          <ac:chgData name="Dennis Hendriks - DHFS" userId="ceacf04f-0b47-4d6f-9d04-eca8f76fbd3c" providerId="ADAL" clId="{6BF22A83-B45F-4C2E-919F-A38CCDC27124}" dt="2021-10-27T07:49:51.415" v="1968" actId="1076"/>
          <ac:spMkLst>
            <pc:docMk/>
            <pc:sldMk cId="4228508098" sldId="1115"/>
            <ac:spMk id="30" creationId="{0E98BD62-FF76-4837-9FEC-F7C1E6406C80}"/>
          </ac:spMkLst>
        </pc:spChg>
        <pc:spChg chg="mod topLvl">
          <ac:chgData name="Dennis Hendriks - DHFS" userId="ceacf04f-0b47-4d6f-9d04-eca8f76fbd3c" providerId="ADAL" clId="{6BF22A83-B45F-4C2E-919F-A38CCDC27124}" dt="2021-10-27T07:48:59.023" v="1944"/>
          <ac:spMkLst>
            <pc:docMk/>
            <pc:sldMk cId="4228508098" sldId="1115"/>
            <ac:spMk id="31" creationId="{AE34956D-9252-4779-B7B9-B466E6D09148}"/>
          </ac:spMkLst>
        </pc:spChg>
        <pc:spChg chg="mod topLvl">
          <ac:chgData name="Dennis Hendriks - DHFS" userId="ceacf04f-0b47-4d6f-9d04-eca8f76fbd3c" providerId="ADAL" clId="{6BF22A83-B45F-4C2E-919F-A38CCDC27124}" dt="2021-10-27T07:48:59.023" v="1944"/>
          <ac:spMkLst>
            <pc:docMk/>
            <pc:sldMk cId="4228508098" sldId="1115"/>
            <ac:spMk id="32" creationId="{AAB14F3A-04C0-485C-9F63-18BA5F6F2995}"/>
          </ac:spMkLst>
        </pc:spChg>
        <pc:spChg chg="mod topLvl">
          <ac:chgData name="Dennis Hendriks - DHFS" userId="ceacf04f-0b47-4d6f-9d04-eca8f76fbd3c" providerId="ADAL" clId="{6BF22A83-B45F-4C2E-919F-A38CCDC27124}" dt="2021-10-27T07:48:59.023" v="1944"/>
          <ac:spMkLst>
            <pc:docMk/>
            <pc:sldMk cId="4228508098" sldId="1115"/>
            <ac:spMk id="33" creationId="{7A5C231A-004B-4595-9502-D55C643AE1B7}"/>
          </ac:spMkLst>
        </pc:spChg>
        <pc:spChg chg="mod topLvl">
          <ac:chgData name="Dennis Hendriks - DHFS" userId="ceacf04f-0b47-4d6f-9d04-eca8f76fbd3c" providerId="ADAL" clId="{6BF22A83-B45F-4C2E-919F-A38CCDC27124}" dt="2021-10-27T07:46:41.478" v="1893" actId="165"/>
          <ac:spMkLst>
            <pc:docMk/>
            <pc:sldMk cId="4228508098" sldId="1115"/>
            <ac:spMk id="34" creationId="{B56F3528-7EFC-4EA0-A697-611D5AF202AA}"/>
          </ac:spMkLst>
        </pc:spChg>
        <pc:spChg chg="mod topLvl">
          <ac:chgData name="Dennis Hendriks - DHFS" userId="ceacf04f-0b47-4d6f-9d04-eca8f76fbd3c" providerId="ADAL" clId="{6BF22A83-B45F-4C2E-919F-A38CCDC27124}" dt="2021-10-27T07:49:34.805" v="1960" actId="1076"/>
          <ac:spMkLst>
            <pc:docMk/>
            <pc:sldMk cId="4228508098" sldId="1115"/>
            <ac:spMk id="35" creationId="{2381AED4-755B-4E4F-9396-115A6F1163E2}"/>
          </ac:spMkLst>
        </pc:spChg>
        <pc:spChg chg="mod topLvl">
          <ac:chgData name="Dennis Hendriks - DHFS" userId="ceacf04f-0b47-4d6f-9d04-eca8f76fbd3c" providerId="ADAL" clId="{6BF22A83-B45F-4C2E-919F-A38CCDC27124}" dt="2021-10-27T07:48:59.023" v="1944"/>
          <ac:spMkLst>
            <pc:docMk/>
            <pc:sldMk cId="4228508098" sldId="1115"/>
            <ac:spMk id="36" creationId="{AD0E07BD-F304-4E3E-9984-1716DB293706}"/>
          </ac:spMkLst>
        </pc:spChg>
        <pc:spChg chg="mod topLvl">
          <ac:chgData name="Dennis Hendriks - DHFS" userId="ceacf04f-0b47-4d6f-9d04-eca8f76fbd3c" providerId="ADAL" clId="{6BF22A83-B45F-4C2E-919F-A38CCDC27124}" dt="2021-10-27T07:49:49.076" v="1967" actId="1076"/>
          <ac:spMkLst>
            <pc:docMk/>
            <pc:sldMk cId="4228508098" sldId="1115"/>
            <ac:spMk id="37" creationId="{FE0198BE-DE02-4362-8929-52485F14F190}"/>
          </ac:spMkLst>
        </pc:spChg>
        <pc:spChg chg="mod topLvl">
          <ac:chgData name="Dennis Hendriks - DHFS" userId="ceacf04f-0b47-4d6f-9d04-eca8f76fbd3c" providerId="ADAL" clId="{6BF22A83-B45F-4C2E-919F-A38CCDC27124}" dt="2021-10-27T07:48:59.023" v="1944"/>
          <ac:spMkLst>
            <pc:docMk/>
            <pc:sldMk cId="4228508098" sldId="1115"/>
            <ac:spMk id="38" creationId="{80A7CD93-4735-4DBD-A27C-2D9151C63F82}"/>
          </ac:spMkLst>
        </pc:spChg>
        <pc:spChg chg="mod topLvl">
          <ac:chgData name="Dennis Hendriks - DHFS" userId="ceacf04f-0b47-4d6f-9d04-eca8f76fbd3c" providerId="ADAL" clId="{6BF22A83-B45F-4C2E-919F-A38CCDC27124}" dt="2021-10-27T07:47:23.327" v="1918" actId="554"/>
          <ac:spMkLst>
            <pc:docMk/>
            <pc:sldMk cId="4228508098" sldId="1115"/>
            <ac:spMk id="39" creationId="{60B6EA00-27AF-45D7-91B8-86CCDB2D6058}"/>
          </ac:spMkLst>
        </pc:spChg>
        <pc:spChg chg="mod topLvl">
          <ac:chgData name="Dennis Hendriks - DHFS" userId="ceacf04f-0b47-4d6f-9d04-eca8f76fbd3c" providerId="ADAL" clId="{6BF22A83-B45F-4C2E-919F-A38CCDC27124}" dt="2021-10-27T07:47:23.327" v="1918" actId="554"/>
          <ac:spMkLst>
            <pc:docMk/>
            <pc:sldMk cId="4228508098" sldId="1115"/>
            <ac:spMk id="40" creationId="{C09BEA99-9DDB-49EB-80AD-A862787C9705}"/>
          </ac:spMkLst>
        </pc:spChg>
        <pc:spChg chg="add del mod">
          <ac:chgData name="Dennis Hendriks - DHFS" userId="ceacf04f-0b47-4d6f-9d04-eca8f76fbd3c" providerId="ADAL" clId="{6BF22A83-B45F-4C2E-919F-A38CCDC27124}" dt="2021-10-27T07:48:33.359" v="1939" actId="21"/>
          <ac:spMkLst>
            <pc:docMk/>
            <pc:sldMk cId="4228508098" sldId="1115"/>
            <ac:spMk id="41" creationId="{7AB47FEF-A76F-4569-B398-199A24907A55}"/>
          </ac:spMkLst>
        </pc:spChg>
        <pc:spChg chg="add mod">
          <ac:chgData name="Dennis Hendriks - DHFS" userId="ceacf04f-0b47-4d6f-9d04-eca8f76fbd3c" providerId="ADAL" clId="{6BF22A83-B45F-4C2E-919F-A38CCDC27124}" dt="2021-10-27T07:50:01.489" v="1971"/>
          <ac:spMkLst>
            <pc:docMk/>
            <pc:sldMk cId="4228508098" sldId="1115"/>
            <ac:spMk id="42" creationId="{F92D98F8-5D4F-4F47-9F31-F840B5FDF8A8}"/>
          </ac:spMkLst>
        </pc:spChg>
        <pc:grpChg chg="add del mod">
          <ac:chgData name="Dennis Hendriks - DHFS" userId="ceacf04f-0b47-4d6f-9d04-eca8f76fbd3c" providerId="ADAL" clId="{6BF22A83-B45F-4C2E-919F-A38CCDC27124}" dt="2021-10-27T07:46:41.478" v="1893" actId="165"/>
          <ac:grpSpMkLst>
            <pc:docMk/>
            <pc:sldMk cId="4228508098" sldId="1115"/>
            <ac:grpSpMk id="24" creationId="{D282A73B-5187-4B9A-88EB-2638500C8AA3}"/>
          </ac:grpSpMkLst>
        </pc:grpChg>
      </pc:sldChg>
      <pc:sldChg chg="addSp delSp modSp mod addCm delCm modCm">
        <pc:chgData name="Dennis Hendriks - DHFS" userId="ceacf04f-0b47-4d6f-9d04-eca8f76fbd3c" providerId="ADAL" clId="{6BF22A83-B45F-4C2E-919F-A38CCDC27124}" dt="2021-10-29T07:34:51.176" v="5294" actId="2061"/>
        <pc:sldMkLst>
          <pc:docMk/>
          <pc:sldMk cId="2671899600" sldId="1116"/>
        </pc:sldMkLst>
        <pc:spChg chg="add mod">
          <ac:chgData name="Dennis Hendriks - DHFS" userId="ceacf04f-0b47-4d6f-9d04-eca8f76fbd3c" providerId="ADAL" clId="{6BF22A83-B45F-4C2E-919F-A38CCDC27124}" dt="2021-10-29T07:27:19.846" v="5239" actId="20577"/>
          <ac:spMkLst>
            <pc:docMk/>
            <pc:sldMk cId="2671899600" sldId="1116"/>
            <ac:spMk id="7" creationId="{A765E64A-5E8D-4327-BB89-ABEE82D3CCE4}"/>
          </ac:spMkLst>
        </pc:spChg>
        <pc:graphicFrameChg chg="add mod modGraphic">
          <ac:chgData name="Dennis Hendriks - DHFS" userId="ceacf04f-0b47-4d6f-9d04-eca8f76fbd3c" providerId="ADAL" clId="{6BF22A83-B45F-4C2E-919F-A38CCDC27124}" dt="2021-10-29T07:34:51.176" v="5294" actId="2061"/>
          <ac:graphicFrameMkLst>
            <pc:docMk/>
            <pc:sldMk cId="2671899600" sldId="1116"/>
            <ac:graphicFrameMk id="6" creationId="{4C1FF3E8-1A0E-46EA-AD0B-4738F6B6816F}"/>
          </ac:graphicFrameMkLst>
        </pc:graphicFrameChg>
        <pc:graphicFrameChg chg="del modGraphic">
          <ac:chgData name="Dennis Hendriks - DHFS" userId="ceacf04f-0b47-4d6f-9d04-eca8f76fbd3c" providerId="ADAL" clId="{6BF22A83-B45F-4C2E-919F-A38CCDC27124}" dt="2021-10-27T07:36:12.966" v="1609" actId="478"/>
          <ac:graphicFrameMkLst>
            <pc:docMk/>
            <pc:sldMk cId="2671899600" sldId="1116"/>
            <ac:graphicFrameMk id="8" creationId="{3382420A-ABE0-4BFE-A914-12212A89A270}"/>
          </ac:graphicFrameMkLst>
        </pc:graphicFrameChg>
      </pc:sldChg>
      <pc:sldChg chg="addSp delSp modSp mod addCm delCm modCm">
        <pc:chgData name="Dennis Hendriks - DHFS" userId="ceacf04f-0b47-4d6f-9d04-eca8f76fbd3c" providerId="ADAL" clId="{6BF22A83-B45F-4C2E-919F-A38CCDC27124}" dt="2021-10-29T07:27:13.005" v="5226" actId="20577"/>
        <pc:sldMkLst>
          <pc:docMk/>
          <pc:sldMk cId="2590100134" sldId="1117"/>
        </pc:sldMkLst>
        <pc:spChg chg="mod">
          <ac:chgData name="Dennis Hendriks - DHFS" userId="ceacf04f-0b47-4d6f-9d04-eca8f76fbd3c" providerId="ADAL" clId="{6BF22A83-B45F-4C2E-919F-A38CCDC27124}" dt="2021-10-27T07:34:04.299" v="1488" actId="1036"/>
          <ac:spMkLst>
            <pc:docMk/>
            <pc:sldMk cId="2590100134" sldId="1117"/>
            <ac:spMk id="6" creationId="{12D40F17-C05B-49F9-82D2-FD742BEBC3C8}"/>
          </ac:spMkLst>
        </pc:spChg>
        <pc:spChg chg="mod">
          <ac:chgData name="Dennis Hendriks - DHFS" userId="ceacf04f-0b47-4d6f-9d04-eca8f76fbd3c" providerId="ADAL" clId="{6BF22A83-B45F-4C2E-919F-A38CCDC27124}" dt="2021-10-27T07:34:04.299" v="1488" actId="1036"/>
          <ac:spMkLst>
            <pc:docMk/>
            <pc:sldMk cId="2590100134" sldId="1117"/>
            <ac:spMk id="7" creationId="{C5F53F77-ECFE-461F-827A-0903178739AB}"/>
          </ac:spMkLst>
        </pc:spChg>
        <pc:spChg chg="add mod">
          <ac:chgData name="Dennis Hendriks - DHFS" userId="ceacf04f-0b47-4d6f-9d04-eca8f76fbd3c" providerId="ADAL" clId="{6BF22A83-B45F-4C2E-919F-A38CCDC27124}" dt="2021-10-29T07:27:13.005" v="5226" actId="20577"/>
          <ac:spMkLst>
            <pc:docMk/>
            <pc:sldMk cId="2590100134" sldId="1117"/>
            <ac:spMk id="9" creationId="{FF3EE541-8F5E-4B0F-9026-606CA2F4AE8E}"/>
          </ac:spMkLst>
        </pc:spChg>
        <pc:graphicFrameChg chg="mod modGraphic">
          <ac:chgData name="Dennis Hendriks - DHFS" userId="ceacf04f-0b47-4d6f-9d04-eca8f76fbd3c" providerId="ADAL" clId="{6BF22A83-B45F-4C2E-919F-A38CCDC27124}" dt="2021-10-27T08:45:23.988" v="3103" actId="14100"/>
          <ac:graphicFrameMkLst>
            <pc:docMk/>
            <pc:sldMk cId="2590100134" sldId="1117"/>
            <ac:graphicFrameMk id="8" creationId="{3382420A-ABE0-4BFE-A914-12212A89A270}"/>
          </ac:graphicFrameMkLst>
        </pc:graphicFrameChg>
        <pc:graphicFrameChg chg="add del mod modGraphic">
          <ac:chgData name="Dennis Hendriks - DHFS" userId="ceacf04f-0b47-4d6f-9d04-eca8f76fbd3c" providerId="ADAL" clId="{6BF22A83-B45F-4C2E-919F-A38CCDC27124}" dt="2021-10-27T07:36:09.914" v="1608" actId="21"/>
          <ac:graphicFrameMkLst>
            <pc:docMk/>
            <pc:sldMk cId="2590100134" sldId="1117"/>
            <ac:graphicFrameMk id="10" creationId="{89F28A37-9C46-45D0-8218-C7226F1F74EB}"/>
          </ac:graphicFrameMkLst>
        </pc:graphicFrameChg>
      </pc:sldChg>
      <pc:sldChg chg="modSp mod ord addCm delCm modCm modNotesTx">
        <pc:chgData name="Dennis Hendriks - DHFS" userId="ceacf04f-0b47-4d6f-9d04-eca8f76fbd3c" providerId="ADAL" clId="{6BF22A83-B45F-4C2E-919F-A38CCDC27124}" dt="2021-11-01T13:52:19.050" v="5505" actId="1592"/>
        <pc:sldMkLst>
          <pc:docMk/>
          <pc:sldMk cId="847182652" sldId="1119"/>
        </pc:sldMkLst>
        <pc:spChg chg="mod">
          <ac:chgData name="Dennis Hendriks - DHFS" userId="ceacf04f-0b47-4d6f-9d04-eca8f76fbd3c" providerId="ADAL" clId="{6BF22A83-B45F-4C2E-919F-A38CCDC27124}" dt="2021-10-29T07:40:56.101" v="5496" actId="20577"/>
          <ac:spMkLst>
            <pc:docMk/>
            <pc:sldMk cId="847182652" sldId="1119"/>
            <ac:spMk id="2" creationId="{AC18CA00-5FBF-47E7-8F84-043A194AE890}"/>
          </ac:spMkLst>
        </pc:spChg>
        <pc:spChg chg="mod">
          <ac:chgData name="Dennis Hendriks - DHFS" userId="ceacf04f-0b47-4d6f-9d04-eca8f76fbd3c" providerId="ADAL" clId="{6BF22A83-B45F-4C2E-919F-A38CCDC27124}" dt="2021-10-27T07:09:16.670" v="528" actId="114"/>
          <ac:spMkLst>
            <pc:docMk/>
            <pc:sldMk cId="847182652" sldId="1119"/>
            <ac:spMk id="36" creationId="{73472EA8-9B6A-4DBD-97A0-654A371F21CE}"/>
          </ac:spMkLst>
        </pc:spChg>
        <pc:spChg chg="mod">
          <ac:chgData name="Dennis Hendriks - DHFS" userId="ceacf04f-0b47-4d6f-9d04-eca8f76fbd3c" providerId="ADAL" clId="{6BF22A83-B45F-4C2E-919F-A38CCDC27124}" dt="2021-10-27T07:09:20.959" v="530" actId="114"/>
          <ac:spMkLst>
            <pc:docMk/>
            <pc:sldMk cId="847182652" sldId="1119"/>
            <ac:spMk id="38" creationId="{37D72904-908F-4EDC-9EE2-82D335CEB55B}"/>
          </ac:spMkLst>
        </pc:spChg>
        <pc:spChg chg="mod">
          <ac:chgData name="Dennis Hendriks - DHFS" userId="ceacf04f-0b47-4d6f-9d04-eca8f76fbd3c" providerId="ADAL" clId="{6BF22A83-B45F-4C2E-919F-A38CCDC27124}" dt="2021-10-27T07:09:25.352" v="532" actId="114"/>
          <ac:spMkLst>
            <pc:docMk/>
            <pc:sldMk cId="847182652" sldId="1119"/>
            <ac:spMk id="39" creationId="{58704511-0FC6-4905-9145-7E898852C44C}"/>
          </ac:spMkLst>
        </pc:spChg>
        <pc:picChg chg="mod modCrop">
          <ac:chgData name="Dennis Hendriks - DHFS" userId="ceacf04f-0b47-4d6f-9d04-eca8f76fbd3c" providerId="ADAL" clId="{6BF22A83-B45F-4C2E-919F-A38CCDC27124}" dt="2021-10-27T07:27:00.627" v="1178" actId="732"/>
          <ac:picMkLst>
            <pc:docMk/>
            <pc:sldMk cId="847182652" sldId="1119"/>
            <ac:picMk id="30" creationId="{53AF082D-AB7F-4861-B596-DF4864CA02C5}"/>
          </ac:picMkLst>
        </pc:picChg>
      </pc:sldChg>
      <pc:sldChg chg="addSp delSp modSp mod addCm delCm modCm modNotesTx">
        <pc:chgData name="Dennis Hendriks - DHFS" userId="ceacf04f-0b47-4d6f-9d04-eca8f76fbd3c" providerId="ADAL" clId="{6BF22A83-B45F-4C2E-919F-A38CCDC27124}" dt="2021-11-01T13:52:52.302" v="5522" actId="1592"/>
        <pc:sldMkLst>
          <pc:docMk/>
          <pc:sldMk cId="1057191630" sldId="1122"/>
        </pc:sldMkLst>
        <pc:spChg chg="mod">
          <ac:chgData name="Dennis Hendriks - DHFS" userId="ceacf04f-0b47-4d6f-9d04-eca8f76fbd3c" providerId="ADAL" clId="{6BF22A83-B45F-4C2E-919F-A38CCDC27124}" dt="2021-10-27T08:51:13.451" v="3174" actId="20577"/>
          <ac:spMkLst>
            <pc:docMk/>
            <pc:sldMk cId="1057191630" sldId="1122"/>
            <ac:spMk id="2" creationId="{53CB77FA-CF1B-4B0E-A304-10CE6620EE56}"/>
          </ac:spMkLst>
        </pc:spChg>
        <pc:spChg chg="mod">
          <ac:chgData name="Dennis Hendriks - DHFS" userId="ceacf04f-0b47-4d6f-9d04-eca8f76fbd3c" providerId="ADAL" clId="{6BF22A83-B45F-4C2E-919F-A38CCDC27124}" dt="2021-10-28T12:18:12.975" v="4531" actId="552"/>
          <ac:spMkLst>
            <pc:docMk/>
            <pc:sldMk cId="1057191630" sldId="1122"/>
            <ac:spMk id="6" creationId="{EFF25976-C0D4-4259-AB50-81301790BD65}"/>
          </ac:spMkLst>
        </pc:spChg>
        <pc:spChg chg="mod">
          <ac:chgData name="Dennis Hendriks - DHFS" userId="ceacf04f-0b47-4d6f-9d04-eca8f76fbd3c" providerId="ADAL" clId="{6BF22A83-B45F-4C2E-919F-A38CCDC27124}" dt="2021-10-28T12:18:12.975" v="4531" actId="552"/>
          <ac:spMkLst>
            <pc:docMk/>
            <pc:sldMk cId="1057191630" sldId="1122"/>
            <ac:spMk id="8" creationId="{C3406E72-D449-4FB0-8390-1D03AFE00053}"/>
          </ac:spMkLst>
        </pc:spChg>
        <pc:spChg chg="add mod">
          <ac:chgData name="Dennis Hendriks - DHFS" userId="ceacf04f-0b47-4d6f-9d04-eca8f76fbd3c" providerId="ADAL" clId="{6BF22A83-B45F-4C2E-919F-A38CCDC27124}" dt="2021-10-28T11:51:30.504" v="4195" actId="1076"/>
          <ac:spMkLst>
            <pc:docMk/>
            <pc:sldMk cId="1057191630" sldId="1122"/>
            <ac:spMk id="14" creationId="{312C6B6A-834E-4D5E-8FF4-40FF86BD9DEB}"/>
          </ac:spMkLst>
        </pc:spChg>
        <pc:spChg chg="mod">
          <ac:chgData name="Dennis Hendriks - DHFS" userId="ceacf04f-0b47-4d6f-9d04-eca8f76fbd3c" providerId="ADAL" clId="{6BF22A83-B45F-4C2E-919F-A38CCDC27124}" dt="2021-10-27T07:45:05.273" v="1845" actId="1036"/>
          <ac:spMkLst>
            <pc:docMk/>
            <pc:sldMk cId="1057191630" sldId="1122"/>
            <ac:spMk id="28" creationId="{F0E48F8D-C071-4581-A9C5-B5AC90BB64D8}"/>
          </ac:spMkLst>
        </pc:spChg>
        <pc:spChg chg="mod">
          <ac:chgData name="Dennis Hendriks - DHFS" userId="ceacf04f-0b47-4d6f-9d04-eca8f76fbd3c" providerId="ADAL" clId="{6BF22A83-B45F-4C2E-919F-A38CCDC27124}" dt="2021-10-27T07:45:05.273" v="1845" actId="1036"/>
          <ac:spMkLst>
            <pc:docMk/>
            <pc:sldMk cId="1057191630" sldId="1122"/>
            <ac:spMk id="29" creationId="{6D322FB5-30D4-4C01-B356-951D89C08DBD}"/>
          </ac:spMkLst>
        </pc:spChg>
        <pc:spChg chg="mod">
          <ac:chgData name="Dennis Hendriks - DHFS" userId="ceacf04f-0b47-4d6f-9d04-eca8f76fbd3c" providerId="ADAL" clId="{6BF22A83-B45F-4C2E-919F-A38CCDC27124}" dt="2021-10-27T07:45:05.273" v="1845" actId="1036"/>
          <ac:spMkLst>
            <pc:docMk/>
            <pc:sldMk cId="1057191630" sldId="1122"/>
            <ac:spMk id="30" creationId="{AC0E10EE-2D3E-4F8F-9FCF-394CADC514ED}"/>
          </ac:spMkLst>
        </pc:spChg>
        <pc:spChg chg="mod">
          <ac:chgData name="Dennis Hendriks - DHFS" userId="ceacf04f-0b47-4d6f-9d04-eca8f76fbd3c" providerId="ADAL" clId="{6BF22A83-B45F-4C2E-919F-A38CCDC27124}" dt="2021-10-27T07:45:05.273" v="1845" actId="1036"/>
          <ac:spMkLst>
            <pc:docMk/>
            <pc:sldMk cId="1057191630" sldId="1122"/>
            <ac:spMk id="31" creationId="{C16A223B-73C3-419A-9AC0-2AB7FB7CEAE6}"/>
          </ac:spMkLst>
        </pc:spChg>
        <pc:spChg chg="mod">
          <ac:chgData name="Dennis Hendriks - DHFS" userId="ceacf04f-0b47-4d6f-9d04-eca8f76fbd3c" providerId="ADAL" clId="{6BF22A83-B45F-4C2E-919F-A38CCDC27124}" dt="2021-10-27T09:02:18.117" v="3806" actId="14100"/>
          <ac:spMkLst>
            <pc:docMk/>
            <pc:sldMk cId="1057191630" sldId="1122"/>
            <ac:spMk id="32" creationId="{AFD41579-109B-4E22-8855-FC2D6F935732}"/>
          </ac:spMkLst>
        </pc:spChg>
        <pc:spChg chg="del mod">
          <ac:chgData name="Dennis Hendriks - DHFS" userId="ceacf04f-0b47-4d6f-9d04-eca8f76fbd3c" providerId="ADAL" clId="{6BF22A83-B45F-4C2E-919F-A38CCDC27124}" dt="2021-10-27T09:02:16.446" v="3805" actId="478"/>
          <ac:spMkLst>
            <pc:docMk/>
            <pc:sldMk cId="1057191630" sldId="1122"/>
            <ac:spMk id="33" creationId="{002F8C92-4BD9-49DD-8196-DB6F1B372A26}"/>
          </ac:spMkLst>
        </pc:spChg>
        <pc:spChg chg="mod">
          <ac:chgData name="Dennis Hendriks - DHFS" userId="ceacf04f-0b47-4d6f-9d04-eca8f76fbd3c" providerId="ADAL" clId="{6BF22A83-B45F-4C2E-919F-A38CCDC27124}" dt="2021-10-27T08:13:40.423" v="2438" actId="207"/>
          <ac:spMkLst>
            <pc:docMk/>
            <pc:sldMk cId="1057191630" sldId="1122"/>
            <ac:spMk id="36" creationId="{43FFFAD8-4908-4803-930B-2EC5F5A1C745}"/>
          </ac:spMkLst>
        </pc:spChg>
        <pc:spChg chg="del mod">
          <ac:chgData name="Dennis Hendriks - DHFS" userId="ceacf04f-0b47-4d6f-9d04-eca8f76fbd3c" providerId="ADAL" clId="{6BF22A83-B45F-4C2E-919F-A38CCDC27124}" dt="2021-10-27T08:50:18.364" v="3148" actId="478"/>
          <ac:spMkLst>
            <pc:docMk/>
            <pc:sldMk cId="1057191630" sldId="1122"/>
            <ac:spMk id="37" creationId="{9EF89426-8367-4C61-B92E-0EA40F06A55D}"/>
          </ac:spMkLst>
        </pc:spChg>
        <pc:spChg chg="mod">
          <ac:chgData name="Dennis Hendriks - DHFS" userId="ceacf04f-0b47-4d6f-9d04-eca8f76fbd3c" providerId="ADAL" clId="{6BF22A83-B45F-4C2E-919F-A38CCDC27124}" dt="2021-10-27T07:45:05.273" v="1845" actId="1036"/>
          <ac:spMkLst>
            <pc:docMk/>
            <pc:sldMk cId="1057191630" sldId="1122"/>
            <ac:spMk id="38" creationId="{8F045400-06D8-48E2-9083-8FAFDB8E009B}"/>
          </ac:spMkLst>
        </pc:spChg>
        <pc:spChg chg="mod">
          <ac:chgData name="Dennis Hendriks - DHFS" userId="ceacf04f-0b47-4d6f-9d04-eca8f76fbd3c" providerId="ADAL" clId="{6BF22A83-B45F-4C2E-919F-A38CCDC27124}" dt="2021-10-27T07:45:05.273" v="1845" actId="1036"/>
          <ac:spMkLst>
            <pc:docMk/>
            <pc:sldMk cId="1057191630" sldId="1122"/>
            <ac:spMk id="39" creationId="{36B7E453-BCA2-4681-BA1F-23E845D84100}"/>
          </ac:spMkLst>
        </pc:spChg>
        <pc:spChg chg="add mod">
          <ac:chgData name="Dennis Hendriks - DHFS" userId="ceacf04f-0b47-4d6f-9d04-eca8f76fbd3c" providerId="ADAL" clId="{6BF22A83-B45F-4C2E-919F-A38CCDC27124}" dt="2021-10-27T08:50:18.545" v="3149"/>
          <ac:spMkLst>
            <pc:docMk/>
            <pc:sldMk cId="1057191630" sldId="1122"/>
            <ac:spMk id="41" creationId="{E564BBDB-5B67-4BD0-A5B1-49B109987096}"/>
          </ac:spMkLst>
        </pc:spChg>
        <pc:spChg chg="del mod">
          <ac:chgData name="Dennis Hendriks - DHFS" userId="ceacf04f-0b47-4d6f-9d04-eca8f76fbd3c" providerId="ADAL" clId="{6BF22A83-B45F-4C2E-919F-A38CCDC27124}" dt="2021-10-28T11:51:35.350" v="4196" actId="21"/>
          <ac:spMkLst>
            <pc:docMk/>
            <pc:sldMk cId="1057191630" sldId="1122"/>
            <ac:spMk id="43" creationId="{770814A7-D04E-4868-9932-F853D318A0C0}"/>
          </ac:spMkLst>
        </pc:spChg>
        <pc:spChg chg="add mod">
          <ac:chgData name="Dennis Hendriks - DHFS" userId="ceacf04f-0b47-4d6f-9d04-eca8f76fbd3c" providerId="ADAL" clId="{6BF22A83-B45F-4C2E-919F-A38CCDC27124}" dt="2021-10-28T11:47:02.991" v="4143" actId="6549"/>
          <ac:spMkLst>
            <pc:docMk/>
            <pc:sldMk cId="1057191630" sldId="1122"/>
            <ac:spMk id="46" creationId="{62FC6AA1-148F-4778-8E95-C15F0C707D6D}"/>
          </ac:spMkLst>
        </pc:spChg>
        <pc:spChg chg="add mod">
          <ac:chgData name="Dennis Hendriks - DHFS" userId="ceacf04f-0b47-4d6f-9d04-eca8f76fbd3c" providerId="ADAL" clId="{6BF22A83-B45F-4C2E-919F-A38CCDC27124}" dt="2021-10-29T08:05:49.177" v="5500" actId="20577"/>
          <ac:spMkLst>
            <pc:docMk/>
            <pc:sldMk cId="1057191630" sldId="1122"/>
            <ac:spMk id="49" creationId="{AF8120F8-4738-48F2-84C4-ACF1D310CAFB}"/>
          </ac:spMkLst>
        </pc:spChg>
        <pc:spChg chg="add mod">
          <ac:chgData name="Dennis Hendriks - DHFS" userId="ceacf04f-0b47-4d6f-9d04-eca8f76fbd3c" providerId="ADAL" clId="{6BF22A83-B45F-4C2E-919F-A38CCDC27124}" dt="2021-10-29T08:05:51.580" v="5501" actId="20577"/>
          <ac:spMkLst>
            <pc:docMk/>
            <pc:sldMk cId="1057191630" sldId="1122"/>
            <ac:spMk id="51" creationId="{57DCA602-4AF5-4B0D-B71E-CBBD5B103EC1}"/>
          </ac:spMkLst>
        </pc:spChg>
        <pc:spChg chg="mod">
          <ac:chgData name="Dennis Hendriks - DHFS" userId="ceacf04f-0b47-4d6f-9d04-eca8f76fbd3c" providerId="ADAL" clId="{6BF22A83-B45F-4C2E-919F-A38CCDC27124}" dt="2021-10-27T08:13:40.423" v="2438" actId="207"/>
          <ac:spMkLst>
            <pc:docMk/>
            <pc:sldMk cId="1057191630" sldId="1122"/>
            <ac:spMk id="52" creationId="{9F51B146-5A62-4F16-A297-12913B5DB8C4}"/>
          </ac:spMkLst>
        </pc:spChg>
        <pc:spChg chg="mod">
          <ac:chgData name="Dennis Hendriks - DHFS" userId="ceacf04f-0b47-4d6f-9d04-eca8f76fbd3c" providerId="ADAL" clId="{6BF22A83-B45F-4C2E-919F-A38CCDC27124}" dt="2021-10-27T08:13:40.423" v="2438" actId="207"/>
          <ac:spMkLst>
            <pc:docMk/>
            <pc:sldMk cId="1057191630" sldId="1122"/>
            <ac:spMk id="56" creationId="{226676F7-CACB-4408-B3B8-495C7B5578CD}"/>
          </ac:spMkLst>
        </pc:spChg>
        <pc:spChg chg="add mod">
          <ac:chgData name="Dennis Hendriks - DHFS" userId="ceacf04f-0b47-4d6f-9d04-eca8f76fbd3c" providerId="ADAL" clId="{6BF22A83-B45F-4C2E-919F-A38CCDC27124}" dt="2021-10-28T11:47:16.463" v="4149" actId="20577"/>
          <ac:spMkLst>
            <pc:docMk/>
            <pc:sldMk cId="1057191630" sldId="1122"/>
            <ac:spMk id="56" creationId="{F8EEABF4-C0D2-4253-A1BF-09AA8E303B14}"/>
          </ac:spMkLst>
        </pc:spChg>
        <pc:spChg chg="mod">
          <ac:chgData name="Dennis Hendriks - DHFS" userId="ceacf04f-0b47-4d6f-9d04-eca8f76fbd3c" providerId="ADAL" clId="{6BF22A83-B45F-4C2E-919F-A38CCDC27124}" dt="2021-10-27T08:13:40.423" v="2438" actId="207"/>
          <ac:spMkLst>
            <pc:docMk/>
            <pc:sldMk cId="1057191630" sldId="1122"/>
            <ac:spMk id="57" creationId="{D0C84354-0BD0-433F-BED2-E07A32F4BD3E}"/>
          </ac:spMkLst>
        </pc:spChg>
        <pc:spChg chg="add mod">
          <ac:chgData name="Dennis Hendriks - DHFS" userId="ceacf04f-0b47-4d6f-9d04-eca8f76fbd3c" providerId="ADAL" clId="{6BF22A83-B45F-4C2E-919F-A38CCDC27124}" dt="2021-10-28T11:51:41.185" v="4198" actId="1076"/>
          <ac:spMkLst>
            <pc:docMk/>
            <pc:sldMk cId="1057191630" sldId="1122"/>
            <ac:spMk id="57" creationId="{F194A0A5-0651-4A27-A67D-60D450DD91DC}"/>
          </ac:spMkLst>
        </pc:spChg>
        <pc:spChg chg="mod">
          <ac:chgData name="Dennis Hendriks - DHFS" userId="ceacf04f-0b47-4d6f-9d04-eca8f76fbd3c" providerId="ADAL" clId="{6BF22A83-B45F-4C2E-919F-A38CCDC27124}" dt="2021-10-27T07:45:05.273" v="1845" actId="1036"/>
          <ac:spMkLst>
            <pc:docMk/>
            <pc:sldMk cId="1057191630" sldId="1122"/>
            <ac:spMk id="58" creationId="{16F5055A-AA4F-466A-88F0-FF2A20EF94B2}"/>
          </ac:spMkLst>
        </pc:spChg>
        <pc:spChg chg="del mod">
          <ac:chgData name="Dennis Hendriks - DHFS" userId="ceacf04f-0b47-4d6f-9d04-eca8f76fbd3c" providerId="ADAL" clId="{6BF22A83-B45F-4C2E-919F-A38CCDC27124}" dt="2021-10-28T11:51:35.350" v="4196" actId="21"/>
          <ac:spMkLst>
            <pc:docMk/>
            <pc:sldMk cId="1057191630" sldId="1122"/>
            <ac:spMk id="61" creationId="{DFB961A7-07C0-48FC-A394-2EA6CD6FDBCC}"/>
          </ac:spMkLst>
        </pc:spChg>
        <pc:spChg chg="del mod">
          <ac:chgData name="Dennis Hendriks - DHFS" userId="ceacf04f-0b47-4d6f-9d04-eca8f76fbd3c" providerId="ADAL" clId="{6BF22A83-B45F-4C2E-919F-A38CCDC27124}" dt="2021-10-28T11:51:35.350" v="4196" actId="21"/>
          <ac:spMkLst>
            <pc:docMk/>
            <pc:sldMk cId="1057191630" sldId="1122"/>
            <ac:spMk id="63" creationId="{3C9738C2-8D59-42C0-8252-EBB2956C2A73}"/>
          </ac:spMkLst>
        </pc:spChg>
        <pc:spChg chg="del mod">
          <ac:chgData name="Dennis Hendriks - DHFS" userId="ceacf04f-0b47-4d6f-9d04-eca8f76fbd3c" providerId="ADAL" clId="{6BF22A83-B45F-4C2E-919F-A38CCDC27124}" dt="2021-10-28T11:51:35.350" v="4196" actId="21"/>
          <ac:spMkLst>
            <pc:docMk/>
            <pc:sldMk cId="1057191630" sldId="1122"/>
            <ac:spMk id="64" creationId="{EAB20B6E-BB39-4127-8094-86661EDEBC61}"/>
          </ac:spMkLst>
        </pc:spChg>
        <pc:spChg chg="del">
          <ac:chgData name="Dennis Hendriks - DHFS" userId="ceacf04f-0b47-4d6f-9d04-eca8f76fbd3c" providerId="ADAL" clId="{6BF22A83-B45F-4C2E-919F-A38CCDC27124}" dt="2021-10-28T11:46:51.694" v="4134" actId="478"/>
          <ac:spMkLst>
            <pc:docMk/>
            <pc:sldMk cId="1057191630" sldId="1122"/>
            <ac:spMk id="74" creationId="{EA1FBD3F-15F1-4510-8B29-8010804FD214}"/>
          </ac:spMkLst>
        </pc:spChg>
        <pc:spChg chg="del">
          <ac:chgData name="Dennis Hendriks - DHFS" userId="ceacf04f-0b47-4d6f-9d04-eca8f76fbd3c" providerId="ADAL" clId="{6BF22A83-B45F-4C2E-919F-A38CCDC27124}" dt="2021-10-28T11:46:53.269" v="4135" actId="478"/>
          <ac:spMkLst>
            <pc:docMk/>
            <pc:sldMk cId="1057191630" sldId="1122"/>
            <ac:spMk id="76" creationId="{B6C93001-826F-4AA6-9E76-3E75C53E39EB}"/>
          </ac:spMkLst>
        </pc:spChg>
        <pc:spChg chg="del">
          <ac:chgData name="Dennis Hendriks - DHFS" userId="ceacf04f-0b47-4d6f-9d04-eca8f76fbd3c" providerId="ADAL" clId="{6BF22A83-B45F-4C2E-919F-A38CCDC27124}" dt="2021-10-28T11:46:51.694" v="4134" actId="478"/>
          <ac:spMkLst>
            <pc:docMk/>
            <pc:sldMk cId="1057191630" sldId="1122"/>
            <ac:spMk id="80" creationId="{E52AE323-77B9-4607-814C-48279910CF69}"/>
          </ac:spMkLst>
        </pc:spChg>
        <pc:spChg chg="mod">
          <ac:chgData name="Dennis Hendriks - DHFS" userId="ceacf04f-0b47-4d6f-9d04-eca8f76fbd3c" providerId="ADAL" clId="{6BF22A83-B45F-4C2E-919F-A38CCDC27124}" dt="2021-10-28T11:40:18.478" v="4081" actId="14100"/>
          <ac:spMkLst>
            <pc:docMk/>
            <pc:sldMk cId="1057191630" sldId="1122"/>
            <ac:spMk id="81" creationId="{8DDCD678-6C71-4622-AA4C-D9215F7694F2}"/>
          </ac:spMkLst>
        </pc:spChg>
        <pc:spChg chg="mod">
          <ac:chgData name="Dennis Hendriks - DHFS" userId="ceacf04f-0b47-4d6f-9d04-eca8f76fbd3c" providerId="ADAL" clId="{6BF22A83-B45F-4C2E-919F-A38CCDC27124}" dt="2021-10-28T11:40:18.125" v="4080" actId="14100"/>
          <ac:spMkLst>
            <pc:docMk/>
            <pc:sldMk cId="1057191630" sldId="1122"/>
            <ac:spMk id="82" creationId="{B05E6330-EC84-4F0F-90FC-86980CCCAD8B}"/>
          </ac:spMkLst>
        </pc:spChg>
        <pc:spChg chg="mod">
          <ac:chgData name="Dennis Hendriks - DHFS" userId="ceacf04f-0b47-4d6f-9d04-eca8f76fbd3c" providerId="ADAL" clId="{6BF22A83-B45F-4C2E-919F-A38CCDC27124}" dt="2021-10-28T11:40:17.465" v="4078" actId="14100"/>
          <ac:spMkLst>
            <pc:docMk/>
            <pc:sldMk cId="1057191630" sldId="1122"/>
            <ac:spMk id="83" creationId="{6534D0AA-ED31-4382-A45C-A94F85D449FD}"/>
          </ac:spMkLst>
        </pc:spChg>
        <pc:spChg chg="del">
          <ac:chgData name="Dennis Hendriks - DHFS" userId="ceacf04f-0b47-4d6f-9d04-eca8f76fbd3c" providerId="ADAL" clId="{6BF22A83-B45F-4C2E-919F-A38CCDC27124}" dt="2021-10-28T11:46:51.694" v="4134" actId="478"/>
          <ac:spMkLst>
            <pc:docMk/>
            <pc:sldMk cId="1057191630" sldId="1122"/>
            <ac:spMk id="86" creationId="{A46BD5B0-6B11-434E-8B52-25865E6EA9E2}"/>
          </ac:spMkLst>
        </pc:spChg>
        <pc:spChg chg="add mod">
          <ac:chgData name="Dennis Hendriks - DHFS" userId="ceacf04f-0b47-4d6f-9d04-eca8f76fbd3c" providerId="ADAL" clId="{6BF22A83-B45F-4C2E-919F-A38CCDC27124}" dt="2021-10-28T11:51:49.239" v="4201" actId="1076"/>
          <ac:spMkLst>
            <pc:docMk/>
            <pc:sldMk cId="1057191630" sldId="1122"/>
            <ac:spMk id="87" creationId="{D082C51D-BD4B-49A1-BF4B-5FF52F125A07}"/>
          </ac:spMkLst>
        </pc:spChg>
        <pc:spChg chg="add mod">
          <ac:chgData name="Dennis Hendriks - DHFS" userId="ceacf04f-0b47-4d6f-9d04-eca8f76fbd3c" providerId="ADAL" clId="{6BF22A83-B45F-4C2E-919F-A38CCDC27124}" dt="2021-10-28T11:51:44.759" v="4199" actId="1076"/>
          <ac:spMkLst>
            <pc:docMk/>
            <pc:sldMk cId="1057191630" sldId="1122"/>
            <ac:spMk id="88" creationId="{1C9D7F72-A9F2-4C62-82AB-7294934697B1}"/>
          </ac:spMkLst>
        </pc:spChg>
        <pc:spChg chg="add mod">
          <ac:chgData name="Dennis Hendriks - DHFS" userId="ceacf04f-0b47-4d6f-9d04-eca8f76fbd3c" providerId="ADAL" clId="{6BF22A83-B45F-4C2E-919F-A38CCDC27124}" dt="2021-10-28T11:51:47.352" v="4200" actId="1076"/>
          <ac:spMkLst>
            <pc:docMk/>
            <pc:sldMk cId="1057191630" sldId="1122"/>
            <ac:spMk id="89" creationId="{90BE6CE4-65E4-497F-9434-BEFB99BB1CD7}"/>
          </ac:spMkLst>
        </pc:spChg>
        <pc:spChg chg="add del mod">
          <ac:chgData name="Dennis Hendriks - DHFS" userId="ceacf04f-0b47-4d6f-9d04-eca8f76fbd3c" providerId="ADAL" clId="{6BF22A83-B45F-4C2E-919F-A38CCDC27124}" dt="2021-10-28T12:18:30.926" v="4548" actId="478"/>
          <ac:spMkLst>
            <pc:docMk/>
            <pc:sldMk cId="1057191630" sldId="1122"/>
            <ac:spMk id="93" creationId="{155213E3-AE3A-410F-9E67-BDF8234943FF}"/>
          </ac:spMkLst>
        </pc:spChg>
        <pc:spChg chg="add mod">
          <ac:chgData name="Dennis Hendriks - DHFS" userId="ceacf04f-0b47-4d6f-9d04-eca8f76fbd3c" providerId="ADAL" clId="{6BF22A83-B45F-4C2E-919F-A38CCDC27124}" dt="2021-10-28T12:18:31.053" v="4549"/>
          <ac:spMkLst>
            <pc:docMk/>
            <pc:sldMk cId="1057191630" sldId="1122"/>
            <ac:spMk id="94" creationId="{1C8F1413-4C0D-458A-8D41-362F57EE237E}"/>
          </ac:spMkLst>
        </pc:spChg>
        <pc:cxnChg chg="del mod">
          <ac:chgData name="Dennis Hendriks - DHFS" userId="ceacf04f-0b47-4d6f-9d04-eca8f76fbd3c" providerId="ADAL" clId="{6BF22A83-B45F-4C2E-919F-A38CCDC27124}" dt="2021-10-28T11:51:35.350" v="4196" actId="21"/>
          <ac:cxnSpMkLst>
            <pc:docMk/>
            <pc:sldMk cId="1057191630" sldId="1122"/>
            <ac:cxnSpMk id="7" creationId="{9C07DE62-A8D9-4B58-8D06-22DA10518B49}"/>
          </ac:cxnSpMkLst>
        </pc:cxnChg>
        <pc:cxnChg chg="add del">
          <ac:chgData name="Dennis Hendriks - DHFS" userId="ceacf04f-0b47-4d6f-9d04-eca8f76fbd3c" providerId="ADAL" clId="{6BF22A83-B45F-4C2E-919F-A38CCDC27124}" dt="2021-10-27T08:54:44.335" v="3230" actId="478"/>
          <ac:cxnSpMkLst>
            <pc:docMk/>
            <pc:sldMk cId="1057191630" sldId="1122"/>
            <ac:cxnSpMk id="13" creationId="{90136E70-6686-46C4-9998-4FA25A0A9170}"/>
          </ac:cxnSpMkLst>
        </pc:cxnChg>
        <pc:cxnChg chg="del mod">
          <ac:chgData name="Dennis Hendriks - DHFS" userId="ceacf04f-0b47-4d6f-9d04-eca8f76fbd3c" providerId="ADAL" clId="{6BF22A83-B45F-4C2E-919F-A38CCDC27124}" dt="2021-10-28T11:51:35.350" v="4196" actId="21"/>
          <ac:cxnSpMkLst>
            <pc:docMk/>
            <pc:sldMk cId="1057191630" sldId="1122"/>
            <ac:cxnSpMk id="15" creationId="{B17D155E-1FA0-4AE5-BACB-F779F700399B}"/>
          </ac:cxnSpMkLst>
        </pc:cxnChg>
        <pc:cxnChg chg="del mod">
          <ac:chgData name="Dennis Hendriks - DHFS" userId="ceacf04f-0b47-4d6f-9d04-eca8f76fbd3c" providerId="ADAL" clId="{6BF22A83-B45F-4C2E-919F-A38CCDC27124}" dt="2021-10-28T11:51:35.350" v="4196" actId="21"/>
          <ac:cxnSpMkLst>
            <pc:docMk/>
            <pc:sldMk cId="1057191630" sldId="1122"/>
            <ac:cxnSpMk id="17" creationId="{C9686E58-6C7F-4903-B62D-80DB98DED21C}"/>
          </ac:cxnSpMkLst>
        </pc:cxnChg>
        <pc:cxnChg chg="mod">
          <ac:chgData name="Dennis Hendriks - DHFS" userId="ceacf04f-0b47-4d6f-9d04-eca8f76fbd3c" providerId="ADAL" clId="{6BF22A83-B45F-4C2E-919F-A38CCDC27124}" dt="2021-10-27T07:45:05.273" v="1845" actId="1036"/>
          <ac:cxnSpMkLst>
            <pc:docMk/>
            <pc:sldMk cId="1057191630" sldId="1122"/>
            <ac:cxnSpMk id="34" creationId="{6106B9A8-8F0E-457F-B871-E67980A2780E}"/>
          </ac:cxnSpMkLst>
        </pc:cxnChg>
        <pc:cxnChg chg="del mod">
          <ac:chgData name="Dennis Hendriks - DHFS" userId="ceacf04f-0b47-4d6f-9d04-eca8f76fbd3c" providerId="ADAL" clId="{6BF22A83-B45F-4C2E-919F-A38CCDC27124}" dt="2021-10-27T08:50:18.364" v="3148" actId="478"/>
          <ac:cxnSpMkLst>
            <pc:docMk/>
            <pc:sldMk cId="1057191630" sldId="1122"/>
            <ac:cxnSpMk id="35" creationId="{16E3FA22-EB9E-493A-86CB-A1A4F494AC82}"/>
          </ac:cxnSpMkLst>
        </pc:cxnChg>
        <pc:cxnChg chg="add mod">
          <ac:chgData name="Dennis Hendriks - DHFS" userId="ceacf04f-0b47-4d6f-9d04-eca8f76fbd3c" providerId="ADAL" clId="{6BF22A83-B45F-4C2E-919F-A38CCDC27124}" dt="2021-10-27T08:50:18.545" v="3149"/>
          <ac:cxnSpMkLst>
            <pc:docMk/>
            <pc:sldMk cId="1057191630" sldId="1122"/>
            <ac:cxnSpMk id="40" creationId="{5DFC4400-F082-4A45-9F7F-4218034A6058}"/>
          </ac:cxnSpMkLst>
        </pc:cxnChg>
        <pc:cxnChg chg="add mod">
          <ac:chgData name="Dennis Hendriks - DHFS" userId="ceacf04f-0b47-4d6f-9d04-eca8f76fbd3c" providerId="ADAL" clId="{6BF22A83-B45F-4C2E-919F-A38CCDC27124}" dt="2021-10-28T11:46:56.789" v="4140"/>
          <ac:cxnSpMkLst>
            <pc:docMk/>
            <pc:sldMk cId="1057191630" sldId="1122"/>
            <ac:cxnSpMk id="45" creationId="{ABE7C2E6-853F-43D2-B908-91AC3D419018}"/>
          </ac:cxnSpMkLst>
        </pc:cxnChg>
        <pc:cxnChg chg="add mod">
          <ac:chgData name="Dennis Hendriks - DHFS" userId="ceacf04f-0b47-4d6f-9d04-eca8f76fbd3c" providerId="ADAL" clId="{6BF22A83-B45F-4C2E-919F-A38CCDC27124}" dt="2021-10-28T11:46:56.789" v="4140"/>
          <ac:cxnSpMkLst>
            <pc:docMk/>
            <pc:sldMk cId="1057191630" sldId="1122"/>
            <ac:cxnSpMk id="47" creationId="{46F85CC2-038C-4614-8BB1-89D41B83F5F8}"/>
          </ac:cxnSpMkLst>
        </pc:cxnChg>
        <pc:cxnChg chg="mod">
          <ac:chgData name="Dennis Hendriks - DHFS" userId="ceacf04f-0b47-4d6f-9d04-eca8f76fbd3c" providerId="ADAL" clId="{6BF22A83-B45F-4C2E-919F-A38CCDC27124}" dt="2021-10-27T07:45:05.273" v="1845" actId="1036"/>
          <ac:cxnSpMkLst>
            <pc:docMk/>
            <pc:sldMk cId="1057191630" sldId="1122"/>
            <ac:cxnSpMk id="49" creationId="{DDCA1091-D361-430C-827D-D3C762563321}"/>
          </ac:cxnSpMkLst>
        </pc:cxnChg>
        <pc:cxnChg chg="add mod">
          <ac:chgData name="Dennis Hendriks - DHFS" userId="ceacf04f-0b47-4d6f-9d04-eca8f76fbd3c" providerId="ADAL" clId="{6BF22A83-B45F-4C2E-919F-A38CCDC27124}" dt="2021-10-28T11:46:56.789" v="4140"/>
          <ac:cxnSpMkLst>
            <pc:docMk/>
            <pc:sldMk cId="1057191630" sldId="1122"/>
            <ac:cxnSpMk id="50" creationId="{97196112-CB79-4CE0-93C3-4EC61E4BCC3C}"/>
          </ac:cxnSpMkLst>
        </pc:cxnChg>
        <pc:cxnChg chg="mod">
          <ac:chgData name="Dennis Hendriks - DHFS" userId="ceacf04f-0b47-4d6f-9d04-eca8f76fbd3c" providerId="ADAL" clId="{6BF22A83-B45F-4C2E-919F-A38CCDC27124}" dt="2021-10-27T07:45:05.273" v="1845" actId="1036"/>
          <ac:cxnSpMkLst>
            <pc:docMk/>
            <pc:sldMk cId="1057191630" sldId="1122"/>
            <ac:cxnSpMk id="50" creationId="{B7522B28-564A-49F2-BBE9-9D02968C1FA2}"/>
          </ac:cxnSpMkLst>
        </pc:cxnChg>
        <pc:cxnChg chg="mod">
          <ac:chgData name="Dennis Hendriks - DHFS" userId="ceacf04f-0b47-4d6f-9d04-eca8f76fbd3c" providerId="ADAL" clId="{6BF22A83-B45F-4C2E-919F-A38CCDC27124}" dt="2021-10-27T07:45:05.273" v="1845" actId="1036"/>
          <ac:cxnSpMkLst>
            <pc:docMk/>
            <pc:sldMk cId="1057191630" sldId="1122"/>
            <ac:cxnSpMk id="51" creationId="{11060D11-EC1E-4458-ABF7-17E2EC4BB6DF}"/>
          </ac:cxnSpMkLst>
        </pc:cxnChg>
        <pc:cxnChg chg="add mod">
          <ac:chgData name="Dennis Hendriks - DHFS" userId="ceacf04f-0b47-4d6f-9d04-eca8f76fbd3c" providerId="ADAL" clId="{6BF22A83-B45F-4C2E-919F-A38CCDC27124}" dt="2021-10-28T11:46:56.789" v="4140"/>
          <ac:cxnSpMkLst>
            <pc:docMk/>
            <pc:sldMk cId="1057191630" sldId="1122"/>
            <ac:cxnSpMk id="52" creationId="{F3A3ED4A-67F8-496B-96F7-699688B20E0E}"/>
          </ac:cxnSpMkLst>
        </pc:cxnChg>
        <pc:cxnChg chg="add mod">
          <ac:chgData name="Dennis Hendriks - DHFS" userId="ceacf04f-0b47-4d6f-9d04-eca8f76fbd3c" providerId="ADAL" clId="{6BF22A83-B45F-4C2E-919F-A38CCDC27124}" dt="2021-10-28T11:51:41.185" v="4198" actId="1076"/>
          <ac:cxnSpMkLst>
            <pc:docMk/>
            <pc:sldMk cId="1057191630" sldId="1122"/>
            <ac:cxnSpMk id="58" creationId="{BCC6A313-3C7E-4D38-B0DB-4DF8848D3E4A}"/>
          </ac:cxnSpMkLst>
        </pc:cxnChg>
        <pc:cxnChg chg="del mod">
          <ac:chgData name="Dennis Hendriks - DHFS" userId="ceacf04f-0b47-4d6f-9d04-eca8f76fbd3c" providerId="ADAL" clId="{6BF22A83-B45F-4C2E-919F-A38CCDC27124}" dt="2021-10-28T11:51:35.350" v="4196" actId="21"/>
          <ac:cxnSpMkLst>
            <pc:docMk/>
            <pc:sldMk cId="1057191630" sldId="1122"/>
            <ac:cxnSpMk id="60" creationId="{CBAA7CE2-9385-430B-A8A1-EF8DD6393C2C}"/>
          </ac:cxnSpMkLst>
        </pc:cxnChg>
        <pc:cxnChg chg="del">
          <ac:chgData name="Dennis Hendriks - DHFS" userId="ceacf04f-0b47-4d6f-9d04-eca8f76fbd3c" providerId="ADAL" clId="{6BF22A83-B45F-4C2E-919F-A38CCDC27124}" dt="2021-10-28T11:46:53.937" v="4136" actId="478"/>
          <ac:cxnSpMkLst>
            <pc:docMk/>
            <pc:sldMk cId="1057191630" sldId="1122"/>
            <ac:cxnSpMk id="73" creationId="{2690474A-EC76-4724-8C04-99A592E2958E}"/>
          </ac:cxnSpMkLst>
        </pc:cxnChg>
        <pc:cxnChg chg="del">
          <ac:chgData name="Dennis Hendriks - DHFS" userId="ceacf04f-0b47-4d6f-9d04-eca8f76fbd3c" providerId="ADAL" clId="{6BF22A83-B45F-4C2E-919F-A38CCDC27124}" dt="2021-10-28T11:46:54.561" v="4137" actId="478"/>
          <ac:cxnSpMkLst>
            <pc:docMk/>
            <pc:sldMk cId="1057191630" sldId="1122"/>
            <ac:cxnSpMk id="75" creationId="{6255CFA0-AE11-4DC7-B89D-62432303DA51}"/>
          </ac:cxnSpMkLst>
        </pc:cxnChg>
        <pc:cxnChg chg="del">
          <ac:chgData name="Dennis Hendriks - DHFS" userId="ceacf04f-0b47-4d6f-9d04-eca8f76fbd3c" providerId="ADAL" clId="{6BF22A83-B45F-4C2E-919F-A38CCDC27124}" dt="2021-10-28T11:46:56.009" v="4139" actId="478"/>
          <ac:cxnSpMkLst>
            <pc:docMk/>
            <pc:sldMk cId="1057191630" sldId="1122"/>
            <ac:cxnSpMk id="79" creationId="{4F45DEFF-FCC0-4755-881B-13AABE076382}"/>
          </ac:cxnSpMkLst>
        </pc:cxnChg>
        <pc:cxnChg chg="del mod">
          <ac:chgData name="Dennis Hendriks - DHFS" userId="ceacf04f-0b47-4d6f-9d04-eca8f76fbd3c" providerId="ADAL" clId="{6BF22A83-B45F-4C2E-919F-A38CCDC27124}" dt="2021-10-28T11:46:55.326" v="4138" actId="478"/>
          <ac:cxnSpMkLst>
            <pc:docMk/>
            <pc:sldMk cId="1057191630" sldId="1122"/>
            <ac:cxnSpMk id="85" creationId="{B6385049-C9E7-4112-B713-F13C72F0E85D}"/>
          </ac:cxnSpMkLst>
        </pc:cxnChg>
        <pc:cxnChg chg="add mod">
          <ac:chgData name="Dennis Hendriks - DHFS" userId="ceacf04f-0b47-4d6f-9d04-eca8f76fbd3c" providerId="ADAL" clId="{6BF22A83-B45F-4C2E-919F-A38CCDC27124}" dt="2021-10-28T11:51:41.185" v="4198" actId="1076"/>
          <ac:cxnSpMkLst>
            <pc:docMk/>
            <pc:sldMk cId="1057191630" sldId="1122"/>
            <ac:cxnSpMk id="90" creationId="{FD73FEBE-6FB8-45FC-A024-70B737FBFDD2}"/>
          </ac:cxnSpMkLst>
        </pc:cxnChg>
        <pc:cxnChg chg="add mod">
          <ac:chgData name="Dennis Hendriks - DHFS" userId="ceacf04f-0b47-4d6f-9d04-eca8f76fbd3c" providerId="ADAL" clId="{6BF22A83-B45F-4C2E-919F-A38CCDC27124}" dt="2021-10-28T11:51:41.185" v="4198" actId="1076"/>
          <ac:cxnSpMkLst>
            <pc:docMk/>
            <pc:sldMk cId="1057191630" sldId="1122"/>
            <ac:cxnSpMk id="91" creationId="{E2708E0B-78C7-4269-95E2-362B7D4A7505}"/>
          </ac:cxnSpMkLst>
        </pc:cxnChg>
        <pc:cxnChg chg="add mod">
          <ac:chgData name="Dennis Hendriks - DHFS" userId="ceacf04f-0b47-4d6f-9d04-eca8f76fbd3c" providerId="ADAL" clId="{6BF22A83-B45F-4C2E-919F-A38CCDC27124}" dt="2021-10-28T11:55:27.781" v="4248" actId="14100"/>
          <ac:cxnSpMkLst>
            <pc:docMk/>
            <pc:sldMk cId="1057191630" sldId="1122"/>
            <ac:cxnSpMk id="92" creationId="{7FF9A1D2-013E-486F-BC06-F63BFABEF2C1}"/>
          </ac:cxnSpMkLst>
        </pc:cxnChg>
      </pc:sldChg>
      <pc:sldChg chg="modSp del mod">
        <pc:chgData name="Dennis Hendriks - DHFS" userId="ceacf04f-0b47-4d6f-9d04-eca8f76fbd3c" providerId="ADAL" clId="{6BF22A83-B45F-4C2E-919F-A38CCDC27124}" dt="2021-10-28T12:20:01.429" v="4576" actId="47"/>
        <pc:sldMkLst>
          <pc:docMk/>
          <pc:sldMk cId="2448761889" sldId="1123"/>
        </pc:sldMkLst>
        <pc:spChg chg="mod">
          <ac:chgData name="Dennis Hendriks - DHFS" userId="ceacf04f-0b47-4d6f-9d04-eca8f76fbd3c" providerId="ADAL" clId="{6BF22A83-B45F-4C2E-919F-A38CCDC27124}" dt="2021-10-27T07:55:15.056" v="2018"/>
          <ac:spMkLst>
            <pc:docMk/>
            <pc:sldMk cId="2448761889" sldId="1123"/>
            <ac:spMk id="2" creationId="{53CB77FA-CF1B-4B0E-A304-10CE6620EE56}"/>
          </ac:spMkLst>
        </pc:spChg>
        <pc:spChg chg="mod">
          <ac:chgData name="Dennis Hendriks - DHFS" userId="ceacf04f-0b47-4d6f-9d04-eca8f76fbd3c" providerId="ADAL" clId="{6BF22A83-B45F-4C2E-919F-A38CCDC27124}" dt="2021-10-27T08:12:28.340" v="2428" actId="207"/>
          <ac:spMkLst>
            <pc:docMk/>
            <pc:sldMk cId="2448761889" sldId="1123"/>
            <ac:spMk id="19" creationId="{69D233B8-BD14-42F3-8D3D-E627BF753CE3}"/>
          </ac:spMkLst>
        </pc:spChg>
        <pc:spChg chg="mod">
          <ac:chgData name="Dennis Hendriks - DHFS" userId="ceacf04f-0b47-4d6f-9d04-eca8f76fbd3c" providerId="ADAL" clId="{6BF22A83-B45F-4C2E-919F-A38CCDC27124}" dt="2021-10-27T08:12:28.340" v="2428" actId="207"/>
          <ac:spMkLst>
            <pc:docMk/>
            <pc:sldMk cId="2448761889" sldId="1123"/>
            <ac:spMk id="20" creationId="{AE503076-64F9-4971-927E-2FB0D6A204CD}"/>
          </ac:spMkLst>
        </pc:spChg>
        <pc:spChg chg="mod">
          <ac:chgData name="Dennis Hendriks - DHFS" userId="ceacf04f-0b47-4d6f-9d04-eca8f76fbd3c" providerId="ADAL" clId="{6BF22A83-B45F-4C2E-919F-A38CCDC27124}" dt="2021-10-27T08:12:28.340" v="2428" actId="207"/>
          <ac:spMkLst>
            <pc:docMk/>
            <pc:sldMk cId="2448761889" sldId="1123"/>
            <ac:spMk id="21" creationId="{D353F02A-3E3E-4A23-B0B9-F898044D5C99}"/>
          </ac:spMkLst>
        </pc:spChg>
        <pc:spChg chg="mod">
          <ac:chgData name="Dennis Hendriks - DHFS" userId="ceacf04f-0b47-4d6f-9d04-eca8f76fbd3c" providerId="ADAL" clId="{6BF22A83-B45F-4C2E-919F-A38CCDC27124}" dt="2021-10-27T08:12:28.340" v="2428" actId="207"/>
          <ac:spMkLst>
            <pc:docMk/>
            <pc:sldMk cId="2448761889" sldId="1123"/>
            <ac:spMk id="22" creationId="{1349657E-0642-4270-9080-3D0A4538072D}"/>
          </ac:spMkLst>
        </pc:spChg>
        <pc:spChg chg="mod">
          <ac:chgData name="Dennis Hendriks - DHFS" userId="ceacf04f-0b47-4d6f-9d04-eca8f76fbd3c" providerId="ADAL" clId="{6BF22A83-B45F-4C2E-919F-A38CCDC27124}" dt="2021-10-27T08:12:28.340" v="2428" actId="207"/>
          <ac:spMkLst>
            <pc:docMk/>
            <pc:sldMk cId="2448761889" sldId="1123"/>
            <ac:spMk id="23" creationId="{D12F4F51-4D34-4E14-B4D5-B87447DB6D1E}"/>
          </ac:spMkLst>
        </pc:spChg>
        <pc:spChg chg="mod">
          <ac:chgData name="Dennis Hendriks - DHFS" userId="ceacf04f-0b47-4d6f-9d04-eca8f76fbd3c" providerId="ADAL" clId="{6BF22A83-B45F-4C2E-919F-A38CCDC27124}" dt="2021-10-27T08:17:40.919" v="2510" actId="20577"/>
          <ac:spMkLst>
            <pc:docMk/>
            <pc:sldMk cId="2448761889" sldId="1123"/>
            <ac:spMk id="24" creationId="{25E4D455-DDDF-4DA5-9A71-54FF1AB6A335}"/>
          </ac:spMkLst>
        </pc:spChg>
        <pc:spChg chg="mod">
          <ac:chgData name="Dennis Hendriks - DHFS" userId="ceacf04f-0b47-4d6f-9d04-eca8f76fbd3c" providerId="ADAL" clId="{6BF22A83-B45F-4C2E-919F-A38CCDC27124}" dt="2021-10-27T08:12:28.340" v="2428" actId="207"/>
          <ac:spMkLst>
            <pc:docMk/>
            <pc:sldMk cId="2448761889" sldId="1123"/>
            <ac:spMk id="40" creationId="{333E5308-DD15-4E24-9AFF-66AA31C7A3E0}"/>
          </ac:spMkLst>
        </pc:spChg>
        <pc:spChg chg="mod">
          <ac:chgData name="Dennis Hendriks - DHFS" userId="ceacf04f-0b47-4d6f-9d04-eca8f76fbd3c" providerId="ADAL" clId="{6BF22A83-B45F-4C2E-919F-A38CCDC27124}" dt="2021-10-27T08:12:28.340" v="2428" actId="207"/>
          <ac:spMkLst>
            <pc:docMk/>
            <pc:sldMk cId="2448761889" sldId="1123"/>
            <ac:spMk id="41" creationId="{CB920421-3AA7-4EFA-B205-1BB780993467}"/>
          </ac:spMkLst>
        </pc:spChg>
        <pc:spChg chg="mod">
          <ac:chgData name="Dennis Hendriks - DHFS" userId="ceacf04f-0b47-4d6f-9d04-eca8f76fbd3c" providerId="ADAL" clId="{6BF22A83-B45F-4C2E-919F-A38CCDC27124}" dt="2021-10-27T08:12:28.340" v="2428" actId="207"/>
          <ac:spMkLst>
            <pc:docMk/>
            <pc:sldMk cId="2448761889" sldId="1123"/>
            <ac:spMk id="43" creationId="{556D8970-073C-41AB-8678-177186CB11B3}"/>
          </ac:spMkLst>
        </pc:spChg>
        <pc:spChg chg="mod">
          <ac:chgData name="Dennis Hendriks - DHFS" userId="ceacf04f-0b47-4d6f-9d04-eca8f76fbd3c" providerId="ADAL" clId="{6BF22A83-B45F-4C2E-919F-A38CCDC27124}" dt="2021-10-27T08:12:28.340" v="2428" actId="207"/>
          <ac:spMkLst>
            <pc:docMk/>
            <pc:sldMk cId="2448761889" sldId="1123"/>
            <ac:spMk id="68" creationId="{4809ED20-037E-492B-9AFC-59DB4468EF9B}"/>
          </ac:spMkLst>
        </pc:spChg>
        <pc:spChg chg="mod">
          <ac:chgData name="Dennis Hendriks - DHFS" userId="ceacf04f-0b47-4d6f-9d04-eca8f76fbd3c" providerId="ADAL" clId="{6BF22A83-B45F-4C2E-919F-A38CCDC27124}" dt="2021-10-27T08:12:28.340" v="2428" actId="207"/>
          <ac:spMkLst>
            <pc:docMk/>
            <pc:sldMk cId="2448761889" sldId="1123"/>
            <ac:spMk id="70" creationId="{F6EFEA97-24CA-4D7A-B9A9-5FDC68A94640}"/>
          </ac:spMkLst>
        </pc:spChg>
        <pc:spChg chg="mod">
          <ac:chgData name="Dennis Hendriks - DHFS" userId="ceacf04f-0b47-4d6f-9d04-eca8f76fbd3c" providerId="ADAL" clId="{6BF22A83-B45F-4C2E-919F-A38CCDC27124}" dt="2021-10-27T08:12:28.340" v="2428" actId="207"/>
          <ac:spMkLst>
            <pc:docMk/>
            <pc:sldMk cId="2448761889" sldId="1123"/>
            <ac:spMk id="71" creationId="{94B2C327-7CBB-46F8-B324-260F9324F8DE}"/>
          </ac:spMkLst>
        </pc:spChg>
      </pc:sldChg>
      <pc:sldChg chg="addSp delSp modSp del mod addCm modCm">
        <pc:chgData name="Dennis Hendriks - DHFS" userId="ceacf04f-0b47-4d6f-9d04-eca8f76fbd3c" providerId="ADAL" clId="{6BF22A83-B45F-4C2E-919F-A38CCDC27124}" dt="2021-10-28T12:15:05.078" v="4459" actId="47"/>
        <pc:sldMkLst>
          <pc:docMk/>
          <pc:sldMk cId="2534952866" sldId="1124"/>
        </pc:sldMkLst>
        <pc:spChg chg="mod">
          <ac:chgData name="Dennis Hendriks - DHFS" userId="ceacf04f-0b47-4d6f-9d04-eca8f76fbd3c" providerId="ADAL" clId="{6BF22A83-B45F-4C2E-919F-A38CCDC27124}" dt="2021-10-27T07:55:13.697" v="2017"/>
          <ac:spMkLst>
            <pc:docMk/>
            <pc:sldMk cId="2534952866" sldId="1124"/>
            <ac:spMk id="2" creationId="{53CB77FA-CF1B-4B0E-A304-10CE6620EE56}"/>
          </ac:spMkLst>
        </pc:spChg>
        <pc:spChg chg="mod">
          <ac:chgData name="Dennis Hendriks - DHFS" userId="ceacf04f-0b47-4d6f-9d04-eca8f76fbd3c" providerId="ADAL" clId="{6BF22A83-B45F-4C2E-919F-A38CCDC27124}" dt="2021-10-27T08:12:40.016" v="2429" actId="207"/>
          <ac:spMkLst>
            <pc:docMk/>
            <pc:sldMk cId="2534952866" sldId="1124"/>
            <ac:spMk id="19" creationId="{69D233B8-BD14-42F3-8D3D-E627BF753CE3}"/>
          </ac:spMkLst>
        </pc:spChg>
        <pc:spChg chg="mod">
          <ac:chgData name="Dennis Hendriks - DHFS" userId="ceacf04f-0b47-4d6f-9d04-eca8f76fbd3c" providerId="ADAL" clId="{6BF22A83-B45F-4C2E-919F-A38CCDC27124}" dt="2021-10-27T08:12:40.016" v="2429" actId="207"/>
          <ac:spMkLst>
            <pc:docMk/>
            <pc:sldMk cId="2534952866" sldId="1124"/>
            <ac:spMk id="20" creationId="{AE503076-64F9-4971-927E-2FB0D6A204CD}"/>
          </ac:spMkLst>
        </pc:spChg>
        <pc:spChg chg="mod">
          <ac:chgData name="Dennis Hendriks - DHFS" userId="ceacf04f-0b47-4d6f-9d04-eca8f76fbd3c" providerId="ADAL" clId="{6BF22A83-B45F-4C2E-919F-A38CCDC27124}" dt="2021-10-27T08:12:40.016" v="2429" actId="207"/>
          <ac:spMkLst>
            <pc:docMk/>
            <pc:sldMk cId="2534952866" sldId="1124"/>
            <ac:spMk id="21" creationId="{D353F02A-3E3E-4A23-B0B9-F898044D5C99}"/>
          </ac:spMkLst>
        </pc:spChg>
        <pc:spChg chg="mod">
          <ac:chgData name="Dennis Hendriks - DHFS" userId="ceacf04f-0b47-4d6f-9d04-eca8f76fbd3c" providerId="ADAL" clId="{6BF22A83-B45F-4C2E-919F-A38CCDC27124}" dt="2021-10-27T08:12:40.016" v="2429" actId="207"/>
          <ac:spMkLst>
            <pc:docMk/>
            <pc:sldMk cId="2534952866" sldId="1124"/>
            <ac:spMk id="22" creationId="{1349657E-0642-4270-9080-3D0A4538072D}"/>
          </ac:spMkLst>
        </pc:spChg>
        <pc:spChg chg="mod">
          <ac:chgData name="Dennis Hendriks - DHFS" userId="ceacf04f-0b47-4d6f-9d04-eca8f76fbd3c" providerId="ADAL" clId="{6BF22A83-B45F-4C2E-919F-A38CCDC27124}" dt="2021-10-27T08:12:40.016" v="2429" actId="207"/>
          <ac:spMkLst>
            <pc:docMk/>
            <pc:sldMk cId="2534952866" sldId="1124"/>
            <ac:spMk id="23" creationId="{D12F4F51-4D34-4E14-B4D5-B87447DB6D1E}"/>
          </ac:spMkLst>
        </pc:spChg>
        <pc:spChg chg="mod">
          <ac:chgData name="Dennis Hendriks - DHFS" userId="ceacf04f-0b47-4d6f-9d04-eca8f76fbd3c" providerId="ADAL" clId="{6BF22A83-B45F-4C2E-919F-A38CCDC27124}" dt="2021-10-27T08:12:40.016" v="2429" actId="207"/>
          <ac:spMkLst>
            <pc:docMk/>
            <pc:sldMk cId="2534952866" sldId="1124"/>
            <ac:spMk id="24" creationId="{25E4D455-DDDF-4DA5-9A71-54FF1AB6A335}"/>
          </ac:spMkLst>
        </pc:spChg>
        <pc:spChg chg="mod">
          <ac:chgData name="Dennis Hendriks - DHFS" userId="ceacf04f-0b47-4d6f-9d04-eca8f76fbd3c" providerId="ADAL" clId="{6BF22A83-B45F-4C2E-919F-A38CCDC27124}" dt="2021-10-27T08:12:40.016" v="2429" actId="207"/>
          <ac:spMkLst>
            <pc:docMk/>
            <pc:sldMk cId="2534952866" sldId="1124"/>
            <ac:spMk id="40" creationId="{333E5308-DD15-4E24-9AFF-66AA31C7A3E0}"/>
          </ac:spMkLst>
        </pc:spChg>
        <pc:spChg chg="mod">
          <ac:chgData name="Dennis Hendriks - DHFS" userId="ceacf04f-0b47-4d6f-9d04-eca8f76fbd3c" providerId="ADAL" clId="{6BF22A83-B45F-4C2E-919F-A38CCDC27124}" dt="2021-10-27T08:12:40.016" v="2429" actId="207"/>
          <ac:spMkLst>
            <pc:docMk/>
            <pc:sldMk cId="2534952866" sldId="1124"/>
            <ac:spMk id="41" creationId="{CB920421-3AA7-4EFA-B205-1BB780993467}"/>
          </ac:spMkLst>
        </pc:spChg>
        <pc:spChg chg="mod">
          <ac:chgData name="Dennis Hendriks - DHFS" userId="ceacf04f-0b47-4d6f-9d04-eca8f76fbd3c" providerId="ADAL" clId="{6BF22A83-B45F-4C2E-919F-A38CCDC27124}" dt="2021-10-27T08:12:40.016" v="2429" actId="207"/>
          <ac:spMkLst>
            <pc:docMk/>
            <pc:sldMk cId="2534952866" sldId="1124"/>
            <ac:spMk id="43" creationId="{556D8970-073C-41AB-8678-177186CB11B3}"/>
          </ac:spMkLst>
        </pc:spChg>
        <pc:spChg chg="mod">
          <ac:chgData name="Dennis Hendriks - DHFS" userId="ceacf04f-0b47-4d6f-9d04-eca8f76fbd3c" providerId="ADAL" clId="{6BF22A83-B45F-4C2E-919F-A38CCDC27124}" dt="2021-10-27T08:12:40.016" v="2429" actId="207"/>
          <ac:spMkLst>
            <pc:docMk/>
            <pc:sldMk cId="2534952866" sldId="1124"/>
            <ac:spMk id="47" creationId="{927A6EF2-640E-4F6A-A919-96F209C2324E}"/>
          </ac:spMkLst>
        </pc:spChg>
        <pc:spChg chg="add del mod">
          <ac:chgData name="Dennis Hendriks - DHFS" userId="ceacf04f-0b47-4d6f-9d04-eca8f76fbd3c" providerId="ADAL" clId="{6BF22A83-B45F-4C2E-919F-A38CCDC27124}" dt="2021-10-28T12:06:54.657" v="4354" actId="21"/>
          <ac:spMkLst>
            <pc:docMk/>
            <pc:sldMk cId="2534952866" sldId="1124"/>
            <ac:spMk id="49" creationId="{30AD0035-4D78-4B25-8DF2-7BED289CA737}"/>
          </ac:spMkLst>
        </pc:spChg>
        <pc:spChg chg="add del mod">
          <ac:chgData name="Dennis Hendriks - DHFS" userId="ceacf04f-0b47-4d6f-9d04-eca8f76fbd3c" providerId="ADAL" clId="{6BF22A83-B45F-4C2E-919F-A38CCDC27124}" dt="2021-10-28T12:06:54.657" v="4354" actId="21"/>
          <ac:spMkLst>
            <pc:docMk/>
            <pc:sldMk cId="2534952866" sldId="1124"/>
            <ac:spMk id="50" creationId="{395BD363-6A66-4C96-B881-1F6B65876763}"/>
          </ac:spMkLst>
        </pc:spChg>
        <pc:spChg chg="mod">
          <ac:chgData name="Dennis Hendriks - DHFS" userId="ceacf04f-0b47-4d6f-9d04-eca8f76fbd3c" providerId="ADAL" clId="{6BF22A83-B45F-4C2E-919F-A38CCDC27124}" dt="2021-10-27T08:12:40.016" v="2429" actId="207"/>
          <ac:spMkLst>
            <pc:docMk/>
            <pc:sldMk cId="2534952866" sldId="1124"/>
            <ac:spMk id="50" creationId="{E34F9FB2-E265-4344-8F06-73E6C860CB51}"/>
          </ac:spMkLst>
        </pc:spChg>
        <pc:spChg chg="mod">
          <ac:chgData name="Dennis Hendriks - DHFS" userId="ceacf04f-0b47-4d6f-9d04-eca8f76fbd3c" providerId="ADAL" clId="{6BF22A83-B45F-4C2E-919F-A38CCDC27124}" dt="2021-10-27T08:12:40.016" v="2429" actId="207"/>
          <ac:spMkLst>
            <pc:docMk/>
            <pc:sldMk cId="2534952866" sldId="1124"/>
            <ac:spMk id="51" creationId="{DC58172C-E918-40E6-B8CE-DC6912E1A1FF}"/>
          </ac:spMkLst>
        </pc:spChg>
        <pc:spChg chg="add del mod">
          <ac:chgData name="Dennis Hendriks - DHFS" userId="ceacf04f-0b47-4d6f-9d04-eca8f76fbd3c" providerId="ADAL" clId="{6BF22A83-B45F-4C2E-919F-A38CCDC27124}" dt="2021-10-28T12:06:54.657" v="4354" actId="21"/>
          <ac:spMkLst>
            <pc:docMk/>
            <pc:sldMk cId="2534952866" sldId="1124"/>
            <ac:spMk id="53" creationId="{A2AFE0DA-74A9-44CA-A7B7-90EF89F8CC28}"/>
          </ac:spMkLst>
        </pc:spChg>
        <pc:spChg chg="add del mod">
          <ac:chgData name="Dennis Hendriks - DHFS" userId="ceacf04f-0b47-4d6f-9d04-eca8f76fbd3c" providerId="ADAL" clId="{6BF22A83-B45F-4C2E-919F-A38CCDC27124}" dt="2021-10-28T12:06:54.657" v="4354" actId="21"/>
          <ac:spMkLst>
            <pc:docMk/>
            <pc:sldMk cId="2534952866" sldId="1124"/>
            <ac:spMk id="54" creationId="{0B173CF8-6B3F-454D-ACEF-A0205ADB2BB9}"/>
          </ac:spMkLst>
        </pc:spChg>
        <pc:spChg chg="add del mod">
          <ac:chgData name="Dennis Hendriks - DHFS" userId="ceacf04f-0b47-4d6f-9d04-eca8f76fbd3c" providerId="ADAL" clId="{6BF22A83-B45F-4C2E-919F-A38CCDC27124}" dt="2021-10-28T12:06:54.657" v="4354" actId="21"/>
          <ac:spMkLst>
            <pc:docMk/>
            <pc:sldMk cId="2534952866" sldId="1124"/>
            <ac:spMk id="55" creationId="{D5039A12-FF0B-43C1-A5AB-9CE26F59EF97}"/>
          </ac:spMkLst>
        </pc:spChg>
        <pc:spChg chg="add del mod">
          <ac:chgData name="Dennis Hendriks - DHFS" userId="ceacf04f-0b47-4d6f-9d04-eca8f76fbd3c" providerId="ADAL" clId="{6BF22A83-B45F-4C2E-919F-A38CCDC27124}" dt="2021-10-28T12:06:54.657" v="4354" actId="21"/>
          <ac:spMkLst>
            <pc:docMk/>
            <pc:sldMk cId="2534952866" sldId="1124"/>
            <ac:spMk id="59" creationId="{FCFFF3F8-804A-4EF1-BA24-BEE8ED8710C1}"/>
          </ac:spMkLst>
        </pc:spChg>
        <pc:spChg chg="add del mod">
          <ac:chgData name="Dennis Hendriks - DHFS" userId="ceacf04f-0b47-4d6f-9d04-eca8f76fbd3c" providerId="ADAL" clId="{6BF22A83-B45F-4C2E-919F-A38CCDC27124}" dt="2021-10-28T12:06:59.970" v="4357" actId="478"/>
          <ac:spMkLst>
            <pc:docMk/>
            <pc:sldMk cId="2534952866" sldId="1124"/>
            <ac:spMk id="60" creationId="{4C82FD03-44C5-4977-814A-E3CEE1996601}"/>
          </ac:spMkLst>
        </pc:spChg>
        <pc:spChg chg="add del mod">
          <ac:chgData name="Dennis Hendriks - DHFS" userId="ceacf04f-0b47-4d6f-9d04-eca8f76fbd3c" providerId="ADAL" clId="{6BF22A83-B45F-4C2E-919F-A38CCDC27124}" dt="2021-10-28T12:06:59.970" v="4357" actId="478"/>
          <ac:spMkLst>
            <pc:docMk/>
            <pc:sldMk cId="2534952866" sldId="1124"/>
            <ac:spMk id="61" creationId="{95487D46-B158-435B-8078-AD1A3188CD09}"/>
          </ac:spMkLst>
        </pc:spChg>
        <pc:spChg chg="mod">
          <ac:chgData name="Dennis Hendriks - DHFS" userId="ceacf04f-0b47-4d6f-9d04-eca8f76fbd3c" providerId="ADAL" clId="{6BF22A83-B45F-4C2E-919F-A38CCDC27124}" dt="2021-10-27T08:12:40.016" v="2429" actId="207"/>
          <ac:spMkLst>
            <pc:docMk/>
            <pc:sldMk cId="2534952866" sldId="1124"/>
            <ac:spMk id="64" creationId="{30928383-10FE-4064-A88E-B4C9E7206E31}"/>
          </ac:spMkLst>
        </pc:spChg>
        <pc:spChg chg="add del mod">
          <ac:chgData name="Dennis Hendriks - DHFS" userId="ceacf04f-0b47-4d6f-9d04-eca8f76fbd3c" providerId="ADAL" clId="{6BF22A83-B45F-4C2E-919F-A38CCDC27124}" dt="2021-10-28T12:06:59.970" v="4357" actId="478"/>
          <ac:spMkLst>
            <pc:docMk/>
            <pc:sldMk cId="2534952866" sldId="1124"/>
            <ac:spMk id="64" creationId="{47AB6AFE-5614-4638-B0E1-6E3FD25DBD8D}"/>
          </ac:spMkLst>
        </pc:spChg>
        <pc:spChg chg="add del mod">
          <ac:chgData name="Dennis Hendriks - DHFS" userId="ceacf04f-0b47-4d6f-9d04-eca8f76fbd3c" providerId="ADAL" clId="{6BF22A83-B45F-4C2E-919F-A38CCDC27124}" dt="2021-10-28T12:06:59.970" v="4357" actId="478"/>
          <ac:spMkLst>
            <pc:docMk/>
            <pc:sldMk cId="2534952866" sldId="1124"/>
            <ac:spMk id="66" creationId="{21DC2740-0454-4C93-AC8B-234041CE9DB8}"/>
          </ac:spMkLst>
        </pc:spChg>
        <pc:spChg chg="add del mod">
          <ac:chgData name="Dennis Hendriks - DHFS" userId="ceacf04f-0b47-4d6f-9d04-eca8f76fbd3c" providerId="ADAL" clId="{6BF22A83-B45F-4C2E-919F-A38CCDC27124}" dt="2021-10-28T12:06:59.970" v="4357" actId="478"/>
          <ac:spMkLst>
            <pc:docMk/>
            <pc:sldMk cId="2534952866" sldId="1124"/>
            <ac:spMk id="67" creationId="{227DBC86-8A1C-41FE-83EA-4B04EA231A24}"/>
          </ac:spMkLst>
        </pc:spChg>
        <pc:spChg chg="add del mod">
          <ac:chgData name="Dennis Hendriks - DHFS" userId="ceacf04f-0b47-4d6f-9d04-eca8f76fbd3c" providerId="ADAL" clId="{6BF22A83-B45F-4C2E-919F-A38CCDC27124}" dt="2021-10-28T12:06:59.970" v="4357" actId="478"/>
          <ac:spMkLst>
            <pc:docMk/>
            <pc:sldMk cId="2534952866" sldId="1124"/>
            <ac:spMk id="71" creationId="{292CAA6D-7D00-4BCB-B77F-035AEECA1F71}"/>
          </ac:spMkLst>
        </pc:spChg>
        <pc:spChg chg="add mod">
          <ac:chgData name="Dennis Hendriks - DHFS" userId="ceacf04f-0b47-4d6f-9d04-eca8f76fbd3c" providerId="ADAL" clId="{6BF22A83-B45F-4C2E-919F-A38CCDC27124}" dt="2021-10-28T12:07:06.537" v="4359"/>
          <ac:spMkLst>
            <pc:docMk/>
            <pc:sldMk cId="2534952866" sldId="1124"/>
            <ac:spMk id="72" creationId="{2EB93CA6-BD03-4102-BCBF-58C726B784BA}"/>
          </ac:spMkLst>
        </pc:spChg>
        <pc:spChg chg="add mod">
          <ac:chgData name="Dennis Hendriks - DHFS" userId="ceacf04f-0b47-4d6f-9d04-eca8f76fbd3c" providerId="ADAL" clId="{6BF22A83-B45F-4C2E-919F-A38CCDC27124}" dt="2021-10-28T12:07:06.537" v="4359"/>
          <ac:spMkLst>
            <pc:docMk/>
            <pc:sldMk cId="2534952866" sldId="1124"/>
            <ac:spMk id="73" creationId="{685B82E4-5909-485E-90C5-3970EB5A8018}"/>
          </ac:spMkLst>
        </pc:spChg>
        <pc:spChg chg="add mod">
          <ac:chgData name="Dennis Hendriks - DHFS" userId="ceacf04f-0b47-4d6f-9d04-eca8f76fbd3c" providerId="ADAL" clId="{6BF22A83-B45F-4C2E-919F-A38CCDC27124}" dt="2021-10-28T12:07:06.537" v="4359"/>
          <ac:spMkLst>
            <pc:docMk/>
            <pc:sldMk cId="2534952866" sldId="1124"/>
            <ac:spMk id="76" creationId="{DEB78823-0558-46E3-BB9D-5995324D7FF2}"/>
          </ac:spMkLst>
        </pc:spChg>
        <pc:spChg chg="add mod">
          <ac:chgData name="Dennis Hendriks - DHFS" userId="ceacf04f-0b47-4d6f-9d04-eca8f76fbd3c" providerId="ADAL" clId="{6BF22A83-B45F-4C2E-919F-A38CCDC27124}" dt="2021-10-28T12:07:06.537" v="4359"/>
          <ac:spMkLst>
            <pc:docMk/>
            <pc:sldMk cId="2534952866" sldId="1124"/>
            <ac:spMk id="77" creationId="{87544100-C1A1-4FD6-9C75-466EC710C659}"/>
          </ac:spMkLst>
        </pc:spChg>
        <pc:spChg chg="add mod">
          <ac:chgData name="Dennis Hendriks - DHFS" userId="ceacf04f-0b47-4d6f-9d04-eca8f76fbd3c" providerId="ADAL" clId="{6BF22A83-B45F-4C2E-919F-A38CCDC27124}" dt="2021-10-28T12:07:06.537" v="4359"/>
          <ac:spMkLst>
            <pc:docMk/>
            <pc:sldMk cId="2534952866" sldId="1124"/>
            <ac:spMk id="78" creationId="{C387371F-04F4-4D08-AC3A-BEF90D847545}"/>
          </ac:spMkLst>
        </pc:spChg>
        <pc:spChg chg="add mod">
          <ac:chgData name="Dennis Hendriks - DHFS" userId="ceacf04f-0b47-4d6f-9d04-eca8f76fbd3c" providerId="ADAL" clId="{6BF22A83-B45F-4C2E-919F-A38CCDC27124}" dt="2021-10-28T12:07:06.537" v="4359"/>
          <ac:spMkLst>
            <pc:docMk/>
            <pc:sldMk cId="2534952866" sldId="1124"/>
            <ac:spMk id="94" creationId="{A38A904D-DFB9-41C5-9773-6D3A4FB8B442}"/>
          </ac:spMkLst>
        </pc:spChg>
        <pc:spChg chg="add mod">
          <ac:chgData name="Dennis Hendriks - DHFS" userId="ceacf04f-0b47-4d6f-9d04-eca8f76fbd3c" providerId="ADAL" clId="{6BF22A83-B45F-4C2E-919F-A38CCDC27124}" dt="2021-10-28T12:07:06.537" v="4359"/>
          <ac:spMkLst>
            <pc:docMk/>
            <pc:sldMk cId="2534952866" sldId="1124"/>
            <ac:spMk id="96" creationId="{712FA4CE-C901-470D-9993-C94EF5B446AB}"/>
          </ac:spMkLst>
        </pc:spChg>
        <pc:spChg chg="del">
          <ac:chgData name="Dennis Hendriks - DHFS" userId="ceacf04f-0b47-4d6f-9d04-eca8f76fbd3c" providerId="ADAL" clId="{6BF22A83-B45F-4C2E-919F-A38CCDC27124}" dt="2021-10-28T12:06:58.026" v="4355" actId="478"/>
          <ac:spMkLst>
            <pc:docMk/>
            <pc:sldMk cId="2534952866" sldId="1124"/>
            <ac:spMk id="110" creationId="{28DF6A2F-2EC1-48CF-B01D-A70BEF39ACB0}"/>
          </ac:spMkLst>
        </pc:spChg>
        <pc:spChg chg="del">
          <ac:chgData name="Dennis Hendriks - DHFS" userId="ceacf04f-0b47-4d6f-9d04-eca8f76fbd3c" providerId="ADAL" clId="{6BF22A83-B45F-4C2E-919F-A38CCDC27124}" dt="2021-10-28T12:06:58.026" v="4355" actId="478"/>
          <ac:spMkLst>
            <pc:docMk/>
            <pc:sldMk cId="2534952866" sldId="1124"/>
            <ac:spMk id="111" creationId="{17AEF1B2-C5F6-431A-9051-2049413FA57F}"/>
          </ac:spMkLst>
        </pc:spChg>
        <pc:spChg chg="del">
          <ac:chgData name="Dennis Hendriks - DHFS" userId="ceacf04f-0b47-4d6f-9d04-eca8f76fbd3c" providerId="ADAL" clId="{6BF22A83-B45F-4C2E-919F-A38CCDC27124}" dt="2021-10-28T12:06:58.026" v="4355" actId="478"/>
          <ac:spMkLst>
            <pc:docMk/>
            <pc:sldMk cId="2534952866" sldId="1124"/>
            <ac:spMk id="114" creationId="{3B77E6D1-79B0-4737-B492-D9790AAFD0AB}"/>
          </ac:spMkLst>
        </pc:spChg>
        <pc:spChg chg="del">
          <ac:chgData name="Dennis Hendriks - DHFS" userId="ceacf04f-0b47-4d6f-9d04-eca8f76fbd3c" providerId="ADAL" clId="{6BF22A83-B45F-4C2E-919F-A38CCDC27124}" dt="2021-10-28T12:06:58.026" v="4355" actId="478"/>
          <ac:spMkLst>
            <pc:docMk/>
            <pc:sldMk cId="2534952866" sldId="1124"/>
            <ac:spMk id="115" creationId="{BB3516CA-22E7-4D22-B635-377102507EC6}"/>
          </ac:spMkLst>
        </pc:spChg>
        <pc:spChg chg="del">
          <ac:chgData name="Dennis Hendriks - DHFS" userId="ceacf04f-0b47-4d6f-9d04-eca8f76fbd3c" providerId="ADAL" clId="{6BF22A83-B45F-4C2E-919F-A38CCDC27124}" dt="2021-10-28T12:06:58.026" v="4355" actId="478"/>
          <ac:spMkLst>
            <pc:docMk/>
            <pc:sldMk cId="2534952866" sldId="1124"/>
            <ac:spMk id="116" creationId="{6718E267-CDA0-4E92-9ECB-F7301ED25B9D}"/>
          </ac:spMkLst>
        </pc:spChg>
        <pc:spChg chg="del">
          <ac:chgData name="Dennis Hendriks - DHFS" userId="ceacf04f-0b47-4d6f-9d04-eca8f76fbd3c" providerId="ADAL" clId="{6BF22A83-B45F-4C2E-919F-A38CCDC27124}" dt="2021-10-28T12:06:58.026" v="4355" actId="478"/>
          <ac:spMkLst>
            <pc:docMk/>
            <pc:sldMk cId="2534952866" sldId="1124"/>
            <ac:spMk id="120" creationId="{6E2E6447-F971-4D8B-83D0-C8AE98B5AD3C}"/>
          </ac:spMkLst>
        </pc:spChg>
        <pc:spChg chg="del">
          <ac:chgData name="Dennis Hendriks - DHFS" userId="ceacf04f-0b47-4d6f-9d04-eca8f76fbd3c" providerId="ADAL" clId="{6BF22A83-B45F-4C2E-919F-A38CCDC27124}" dt="2021-10-28T12:07:06.410" v="4358" actId="478"/>
          <ac:spMkLst>
            <pc:docMk/>
            <pc:sldMk cId="2534952866" sldId="1124"/>
            <ac:spMk id="121" creationId="{A454EC12-DC65-415D-8A2D-0F3F44D54D9E}"/>
          </ac:spMkLst>
        </pc:spChg>
        <pc:cxnChg chg="add del mod">
          <ac:chgData name="Dennis Hendriks - DHFS" userId="ceacf04f-0b47-4d6f-9d04-eca8f76fbd3c" providerId="ADAL" clId="{6BF22A83-B45F-4C2E-919F-A38CCDC27124}" dt="2021-10-28T12:06:54.657" v="4354" actId="21"/>
          <ac:cxnSpMkLst>
            <pc:docMk/>
            <pc:sldMk cId="2534952866" sldId="1124"/>
            <ac:cxnSpMk id="51" creationId="{D4961D56-6106-4773-896A-AFF87912BAE4}"/>
          </ac:cxnSpMkLst>
        </pc:cxnChg>
        <pc:cxnChg chg="add del mod">
          <ac:chgData name="Dennis Hendriks - DHFS" userId="ceacf04f-0b47-4d6f-9d04-eca8f76fbd3c" providerId="ADAL" clId="{6BF22A83-B45F-4C2E-919F-A38CCDC27124}" dt="2021-10-28T12:06:54.657" v="4354" actId="21"/>
          <ac:cxnSpMkLst>
            <pc:docMk/>
            <pc:sldMk cId="2534952866" sldId="1124"/>
            <ac:cxnSpMk id="52" creationId="{4B4DF545-82F7-4CF3-AB32-015679A8E612}"/>
          </ac:cxnSpMkLst>
        </pc:cxnChg>
        <pc:cxnChg chg="add del mod">
          <ac:chgData name="Dennis Hendriks - DHFS" userId="ceacf04f-0b47-4d6f-9d04-eca8f76fbd3c" providerId="ADAL" clId="{6BF22A83-B45F-4C2E-919F-A38CCDC27124}" dt="2021-10-28T12:06:54.657" v="4354" actId="21"/>
          <ac:cxnSpMkLst>
            <pc:docMk/>
            <pc:sldMk cId="2534952866" sldId="1124"/>
            <ac:cxnSpMk id="56" creationId="{05389177-91D7-449E-81C9-32EA76752351}"/>
          </ac:cxnSpMkLst>
        </pc:cxnChg>
        <pc:cxnChg chg="add del mod">
          <ac:chgData name="Dennis Hendriks - DHFS" userId="ceacf04f-0b47-4d6f-9d04-eca8f76fbd3c" providerId="ADAL" clId="{6BF22A83-B45F-4C2E-919F-A38CCDC27124}" dt="2021-10-28T12:06:54.657" v="4354" actId="21"/>
          <ac:cxnSpMkLst>
            <pc:docMk/>
            <pc:sldMk cId="2534952866" sldId="1124"/>
            <ac:cxnSpMk id="57" creationId="{6EA945AF-E452-41F0-83BB-15547BD4FC37}"/>
          </ac:cxnSpMkLst>
        </pc:cxnChg>
        <pc:cxnChg chg="add del mod">
          <ac:chgData name="Dennis Hendriks - DHFS" userId="ceacf04f-0b47-4d6f-9d04-eca8f76fbd3c" providerId="ADAL" clId="{6BF22A83-B45F-4C2E-919F-A38CCDC27124}" dt="2021-10-28T12:06:54.657" v="4354" actId="21"/>
          <ac:cxnSpMkLst>
            <pc:docMk/>
            <pc:sldMk cId="2534952866" sldId="1124"/>
            <ac:cxnSpMk id="58" creationId="{ACCB4A70-B08A-4870-9B16-2FA04F039636}"/>
          </ac:cxnSpMkLst>
        </pc:cxnChg>
        <pc:cxnChg chg="add del mod">
          <ac:chgData name="Dennis Hendriks - DHFS" userId="ceacf04f-0b47-4d6f-9d04-eca8f76fbd3c" providerId="ADAL" clId="{6BF22A83-B45F-4C2E-919F-A38CCDC27124}" dt="2021-10-28T12:06:59.970" v="4357" actId="478"/>
          <ac:cxnSpMkLst>
            <pc:docMk/>
            <pc:sldMk cId="2534952866" sldId="1124"/>
            <ac:cxnSpMk id="62" creationId="{EE4D4091-3324-4EB1-B210-22BAC61BA132}"/>
          </ac:cxnSpMkLst>
        </pc:cxnChg>
        <pc:cxnChg chg="add del mod">
          <ac:chgData name="Dennis Hendriks - DHFS" userId="ceacf04f-0b47-4d6f-9d04-eca8f76fbd3c" providerId="ADAL" clId="{6BF22A83-B45F-4C2E-919F-A38CCDC27124}" dt="2021-10-28T12:06:59.970" v="4357" actId="478"/>
          <ac:cxnSpMkLst>
            <pc:docMk/>
            <pc:sldMk cId="2534952866" sldId="1124"/>
            <ac:cxnSpMk id="63" creationId="{44CFDCDE-C174-41F6-8E6E-6A5D045CA37F}"/>
          </ac:cxnSpMkLst>
        </pc:cxnChg>
        <pc:cxnChg chg="add del mod">
          <ac:chgData name="Dennis Hendriks - DHFS" userId="ceacf04f-0b47-4d6f-9d04-eca8f76fbd3c" providerId="ADAL" clId="{6BF22A83-B45F-4C2E-919F-A38CCDC27124}" dt="2021-10-28T12:06:59.970" v="4357" actId="478"/>
          <ac:cxnSpMkLst>
            <pc:docMk/>
            <pc:sldMk cId="2534952866" sldId="1124"/>
            <ac:cxnSpMk id="68" creationId="{61E9BF4A-E904-4692-9037-B5AE77505C35}"/>
          </ac:cxnSpMkLst>
        </pc:cxnChg>
        <pc:cxnChg chg="add del mod">
          <ac:chgData name="Dennis Hendriks - DHFS" userId="ceacf04f-0b47-4d6f-9d04-eca8f76fbd3c" providerId="ADAL" clId="{6BF22A83-B45F-4C2E-919F-A38CCDC27124}" dt="2021-10-28T12:06:59.970" v="4357" actId="478"/>
          <ac:cxnSpMkLst>
            <pc:docMk/>
            <pc:sldMk cId="2534952866" sldId="1124"/>
            <ac:cxnSpMk id="69" creationId="{2397083A-9737-4531-9DAE-B0B6927011ED}"/>
          </ac:cxnSpMkLst>
        </pc:cxnChg>
        <pc:cxnChg chg="add del mod">
          <ac:chgData name="Dennis Hendriks - DHFS" userId="ceacf04f-0b47-4d6f-9d04-eca8f76fbd3c" providerId="ADAL" clId="{6BF22A83-B45F-4C2E-919F-A38CCDC27124}" dt="2021-10-28T12:06:59.970" v="4357" actId="478"/>
          <ac:cxnSpMkLst>
            <pc:docMk/>
            <pc:sldMk cId="2534952866" sldId="1124"/>
            <ac:cxnSpMk id="70" creationId="{6419F1E1-DCE0-46AB-AC88-1E0622FF5A1E}"/>
          </ac:cxnSpMkLst>
        </pc:cxnChg>
        <pc:cxnChg chg="add mod">
          <ac:chgData name="Dennis Hendriks - DHFS" userId="ceacf04f-0b47-4d6f-9d04-eca8f76fbd3c" providerId="ADAL" clId="{6BF22A83-B45F-4C2E-919F-A38CCDC27124}" dt="2021-10-28T12:07:06.537" v="4359"/>
          <ac:cxnSpMkLst>
            <pc:docMk/>
            <pc:sldMk cId="2534952866" sldId="1124"/>
            <ac:cxnSpMk id="74" creationId="{22DC1C26-2E40-4411-8F75-AD987340622D}"/>
          </ac:cxnSpMkLst>
        </pc:cxnChg>
        <pc:cxnChg chg="add mod">
          <ac:chgData name="Dennis Hendriks - DHFS" userId="ceacf04f-0b47-4d6f-9d04-eca8f76fbd3c" providerId="ADAL" clId="{6BF22A83-B45F-4C2E-919F-A38CCDC27124}" dt="2021-10-28T12:07:06.537" v="4359"/>
          <ac:cxnSpMkLst>
            <pc:docMk/>
            <pc:sldMk cId="2534952866" sldId="1124"/>
            <ac:cxnSpMk id="75" creationId="{588E8181-19CC-4CED-9FB0-A61B640A8024}"/>
          </ac:cxnSpMkLst>
        </pc:cxnChg>
        <pc:cxnChg chg="add mod">
          <ac:chgData name="Dennis Hendriks - DHFS" userId="ceacf04f-0b47-4d6f-9d04-eca8f76fbd3c" providerId="ADAL" clId="{6BF22A83-B45F-4C2E-919F-A38CCDC27124}" dt="2021-10-28T12:07:06.537" v="4359"/>
          <ac:cxnSpMkLst>
            <pc:docMk/>
            <pc:sldMk cId="2534952866" sldId="1124"/>
            <ac:cxnSpMk id="89" creationId="{385BB934-EFE6-40FC-963E-9DA7F5648569}"/>
          </ac:cxnSpMkLst>
        </pc:cxnChg>
        <pc:cxnChg chg="add mod">
          <ac:chgData name="Dennis Hendriks - DHFS" userId="ceacf04f-0b47-4d6f-9d04-eca8f76fbd3c" providerId="ADAL" clId="{6BF22A83-B45F-4C2E-919F-A38CCDC27124}" dt="2021-10-28T12:07:06.537" v="4359"/>
          <ac:cxnSpMkLst>
            <pc:docMk/>
            <pc:sldMk cId="2534952866" sldId="1124"/>
            <ac:cxnSpMk id="90" creationId="{13B139ED-CE98-46EE-94F4-5144C0516DCE}"/>
          </ac:cxnSpMkLst>
        </pc:cxnChg>
        <pc:cxnChg chg="add mod">
          <ac:chgData name="Dennis Hendriks - DHFS" userId="ceacf04f-0b47-4d6f-9d04-eca8f76fbd3c" providerId="ADAL" clId="{6BF22A83-B45F-4C2E-919F-A38CCDC27124}" dt="2021-10-28T12:07:06.537" v="4359"/>
          <ac:cxnSpMkLst>
            <pc:docMk/>
            <pc:sldMk cId="2534952866" sldId="1124"/>
            <ac:cxnSpMk id="91" creationId="{5E2A64D2-A64E-45A1-ACA4-0BDA5A75FB84}"/>
          </ac:cxnSpMkLst>
        </pc:cxnChg>
        <pc:cxnChg chg="del mod">
          <ac:chgData name="Dennis Hendriks - DHFS" userId="ceacf04f-0b47-4d6f-9d04-eca8f76fbd3c" providerId="ADAL" clId="{6BF22A83-B45F-4C2E-919F-A38CCDC27124}" dt="2021-10-28T12:06:58.026" v="4355" actId="478"/>
          <ac:cxnSpMkLst>
            <pc:docMk/>
            <pc:sldMk cId="2534952866" sldId="1124"/>
            <ac:cxnSpMk id="112" creationId="{DC81DA5D-E010-4C24-AD86-69E3103FA255}"/>
          </ac:cxnSpMkLst>
        </pc:cxnChg>
        <pc:cxnChg chg="del mod">
          <ac:chgData name="Dennis Hendriks - DHFS" userId="ceacf04f-0b47-4d6f-9d04-eca8f76fbd3c" providerId="ADAL" clId="{6BF22A83-B45F-4C2E-919F-A38CCDC27124}" dt="2021-10-28T12:06:58.026" v="4355" actId="478"/>
          <ac:cxnSpMkLst>
            <pc:docMk/>
            <pc:sldMk cId="2534952866" sldId="1124"/>
            <ac:cxnSpMk id="113" creationId="{30029CAA-F8E8-41C0-99E3-E3EE2FF7C583}"/>
          </ac:cxnSpMkLst>
        </pc:cxnChg>
        <pc:cxnChg chg="del mod">
          <ac:chgData name="Dennis Hendriks - DHFS" userId="ceacf04f-0b47-4d6f-9d04-eca8f76fbd3c" providerId="ADAL" clId="{6BF22A83-B45F-4C2E-919F-A38CCDC27124}" dt="2021-10-28T12:06:58.026" v="4355" actId="478"/>
          <ac:cxnSpMkLst>
            <pc:docMk/>
            <pc:sldMk cId="2534952866" sldId="1124"/>
            <ac:cxnSpMk id="117" creationId="{777B2006-1321-485B-B404-2733166B98F6}"/>
          </ac:cxnSpMkLst>
        </pc:cxnChg>
        <pc:cxnChg chg="del mod">
          <ac:chgData name="Dennis Hendriks - DHFS" userId="ceacf04f-0b47-4d6f-9d04-eca8f76fbd3c" providerId="ADAL" clId="{6BF22A83-B45F-4C2E-919F-A38CCDC27124}" dt="2021-10-28T12:06:58.026" v="4355" actId="478"/>
          <ac:cxnSpMkLst>
            <pc:docMk/>
            <pc:sldMk cId="2534952866" sldId="1124"/>
            <ac:cxnSpMk id="118" creationId="{691D3D3A-A46A-40F8-A913-69898ACD88C5}"/>
          </ac:cxnSpMkLst>
        </pc:cxnChg>
        <pc:cxnChg chg="del mod">
          <ac:chgData name="Dennis Hendriks - DHFS" userId="ceacf04f-0b47-4d6f-9d04-eca8f76fbd3c" providerId="ADAL" clId="{6BF22A83-B45F-4C2E-919F-A38CCDC27124}" dt="2021-10-28T12:06:58.026" v="4355" actId="478"/>
          <ac:cxnSpMkLst>
            <pc:docMk/>
            <pc:sldMk cId="2534952866" sldId="1124"/>
            <ac:cxnSpMk id="119" creationId="{BE4E19CD-4C28-41E8-A086-F0F15FD6334D}"/>
          </ac:cxnSpMkLst>
        </pc:cxnChg>
      </pc:sldChg>
      <pc:sldChg chg="modSp del mod ord addCm delCm modCm">
        <pc:chgData name="Dennis Hendriks - DHFS" userId="ceacf04f-0b47-4d6f-9d04-eca8f76fbd3c" providerId="ADAL" clId="{6BF22A83-B45F-4C2E-919F-A38CCDC27124}" dt="2021-10-27T07:26:16.896" v="1176" actId="47"/>
        <pc:sldMkLst>
          <pc:docMk/>
          <pc:sldMk cId="331565878" sldId="1125"/>
        </pc:sldMkLst>
        <pc:spChg chg="mod">
          <ac:chgData name="Dennis Hendriks - DHFS" userId="ceacf04f-0b47-4d6f-9d04-eca8f76fbd3c" providerId="ADAL" clId="{6BF22A83-B45F-4C2E-919F-A38CCDC27124}" dt="2021-10-27T07:16:28.510" v="659" actId="14100"/>
          <ac:spMkLst>
            <pc:docMk/>
            <pc:sldMk cId="331565878" sldId="1125"/>
            <ac:spMk id="45" creationId="{3F5778DC-B579-4A79-8E5B-074B66C7EB32}"/>
          </ac:spMkLst>
        </pc:spChg>
      </pc:sldChg>
      <pc:sldChg chg="addSp delSp modSp new mod modClrScheme chgLayout">
        <pc:chgData name="Dennis Hendriks - DHFS" userId="ceacf04f-0b47-4d6f-9d04-eca8f76fbd3c" providerId="ADAL" clId="{6BF22A83-B45F-4C2E-919F-A38CCDC27124}" dt="2021-10-27T08:09:20.845" v="2408" actId="478"/>
        <pc:sldMkLst>
          <pc:docMk/>
          <pc:sldMk cId="3687647465" sldId="1126"/>
        </pc:sldMkLst>
        <pc:spChg chg="del mod ord">
          <ac:chgData name="Dennis Hendriks - DHFS" userId="ceacf04f-0b47-4d6f-9d04-eca8f76fbd3c" providerId="ADAL" clId="{6BF22A83-B45F-4C2E-919F-A38CCDC27124}" dt="2021-10-27T08:09:17.593" v="2407" actId="478"/>
          <ac:spMkLst>
            <pc:docMk/>
            <pc:sldMk cId="3687647465" sldId="1126"/>
            <ac:spMk id="2" creationId="{EF394DA7-22E0-4188-9373-DA79E0A37D9F}"/>
          </ac:spMkLst>
        </pc:spChg>
        <pc:spChg chg="del mod ord">
          <ac:chgData name="Dennis Hendriks - DHFS" userId="ceacf04f-0b47-4d6f-9d04-eca8f76fbd3c" providerId="ADAL" clId="{6BF22A83-B45F-4C2E-919F-A38CCDC27124}" dt="2021-10-27T08:09:20.845" v="2408" actId="478"/>
          <ac:spMkLst>
            <pc:docMk/>
            <pc:sldMk cId="3687647465" sldId="1126"/>
            <ac:spMk id="3" creationId="{CCD60CA3-8AD2-4ADD-A07D-A9768ADC1E7C}"/>
          </ac:spMkLst>
        </pc:spChg>
        <pc:spChg chg="del mod ord">
          <ac:chgData name="Dennis Hendriks - DHFS" userId="ceacf04f-0b47-4d6f-9d04-eca8f76fbd3c" providerId="ADAL" clId="{6BF22A83-B45F-4C2E-919F-A38CCDC27124}" dt="2021-10-27T08:09:17.593" v="2407" actId="478"/>
          <ac:spMkLst>
            <pc:docMk/>
            <pc:sldMk cId="3687647465" sldId="1126"/>
            <ac:spMk id="4" creationId="{4D1559D6-CF4F-48BD-BF39-D49800F65E6D}"/>
          </ac:spMkLst>
        </pc:spChg>
        <pc:spChg chg="del mod ord">
          <ac:chgData name="Dennis Hendriks - DHFS" userId="ceacf04f-0b47-4d6f-9d04-eca8f76fbd3c" providerId="ADAL" clId="{6BF22A83-B45F-4C2E-919F-A38CCDC27124}" dt="2021-10-27T07:07:33.249" v="490" actId="700"/>
          <ac:spMkLst>
            <pc:docMk/>
            <pc:sldMk cId="3687647465" sldId="1126"/>
            <ac:spMk id="5" creationId="{5286CE1D-F0F1-4A11-B4FA-155A6074339A}"/>
          </ac:spMkLst>
        </pc:spChg>
        <pc:spChg chg="del mod ord">
          <ac:chgData name="Dennis Hendriks - DHFS" userId="ceacf04f-0b47-4d6f-9d04-eca8f76fbd3c" providerId="ADAL" clId="{6BF22A83-B45F-4C2E-919F-A38CCDC27124}" dt="2021-10-27T07:07:33.249" v="490" actId="700"/>
          <ac:spMkLst>
            <pc:docMk/>
            <pc:sldMk cId="3687647465" sldId="1126"/>
            <ac:spMk id="6" creationId="{D2089846-EA5E-4505-B682-75C6A104628D}"/>
          </ac:spMkLst>
        </pc:spChg>
        <pc:spChg chg="add mod ord">
          <ac:chgData name="Dennis Hendriks - DHFS" userId="ceacf04f-0b47-4d6f-9d04-eca8f76fbd3c" providerId="ADAL" clId="{6BF22A83-B45F-4C2E-919F-A38CCDC27124}" dt="2021-10-27T07:07:41.999" v="496" actId="14838"/>
          <ac:spMkLst>
            <pc:docMk/>
            <pc:sldMk cId="3687647465" sldId="1126"/>
            <ac:spMk id="7" creationId="{53B82952-3A7E-45C4-AD52-2E6E76E8113E}"/>
          </ac:spMkLst>
        </pc:spChg>
        <pc:spChg chg="add del mod ord">
          <ac:chgData name="Dennis Hendriks - DHFS" userId="ceacf04f-0b47-4d6f-9d04-eca8f76fbd3c" providerId="ADAL" clId="{6BF22A83-B45F-4C2E-919F-A38CCDC27124}" dt="2021-10-27T07:07:44.530" v="497" actId="478"/>
          <ac:spMkLst>
            <pc:docMk/>
            <pc:sldMk cId="3687647465" sldId="1126"/>
            <ac:spMk id="8" creationId="{8BDA2D05-0272-4714-992E-A81F06D09C48}"/>
          </ac:spMkLst>
        </pc:spChg>
      </pc:sldChg>
      <pc:sldChg chg="delSp modSp add mod">
        <pc:chgData name="Dennis Hendriks - DHFS" userId="ceacf04f-0b47-4d6f-9d04-eca8f76fbd3c" providerId="ADAL" clId="{6BF22A83-B45F-4C2E-919F-A38CCDC27124}" dt="2021-10-27T08:27:33.252" v="2978" actId="27636"/>
        <pc:sldMkLst>
          <pc:docMk/>
          <pc:sldMk cId="2875932520" sldId="1127"/>
        </pc:sldMkLst>
        <pc:spChg chg="del">
          <ac:chgData name="Dennis Hendriks - DHFS" userId="ceacf04f-0b47-4d6f-9d04-eca8f76fbd3c" providerId="ADAL" clId="{6BF22A83-B45F-4C2E-919F-A38CCDC27124}" dt="2021-10-27T08:09:24.780" v="2409" actId="478"/>
          <ac:spMkLst>
            <pc:docMk/>
            <pc:sldMk cId="2875932520" sldId="1127"/>
            <ac:spMk id="2" creationId="{EF394DA7-22E0-4188-9373-DA79E0A37D9F}"/>
          </ac:spMkLst>
        </pc:spChg>
        <pc:spChg chg="del">
          <ac:chgData name="Dennis Hendriks - DHFS" userId="ceacf04f-0b47-4d6f-9d04-eca8f76fbd3c" providerId="ADAL" clId="{6BF22A83-B45F-4C2E-919F-A38CCDC27124}" dt="2021-10-27T08:09:24.780" v="2409" actId="478"/>
          <ac:spMkLst>
            <pc:docMk/>
            <pc:sldMk cId="2875932520" sldId="1127"/>
            <ac:spMk id="3" creationId="{CCD60CA3-8AD2-4ADD-A07D-A9768ADC1E7C}"/>
          </ac:spMkLst>
        </pc:spChg>
        <pc:spChg chg="del">
          <ac:chgData name="Dennis Hendriks - DHFS" userId="ceacf04f-0b47-4d6f-9d04-eca8f76fbd3c" providerId="ADAL" clId="{6BF22A83-B45F-4C2E-919F-A38CCDC27124}" dt="2021-10-27T08:09:24.780" v="2409" actId="478"/>
          <ac:spMkLst>
            <pc:docMk/>
            <pc:sldMk cId="2875932520" sldId="1127"/>
            <ac:spMk id="4" creationId="{4D1559D6-CF4F-48BD-BF39-D49800F65E6D}"/>
          </ac:spMkLst>
        </pc:spChg>
        <pc:spChg chg="mod">
          <ac:chgData name="Dennis Hendriks - DHFS" userId="ceacf04f-0b47-4d6f-9d04-eca8f76fbd3c" providerId="ADAL" clId="{6BF22A83-B45F-4C2E-919F-A38CCDC27124}" dt="2021-10-27T08:27:33.252" v="2978" actId="27636"/>
          <ac:spMkLst>
            <pc:docMk/>
            <pc:sldMk cId="2875932520" sldId="1127"/>
            <ac:spMk id="7" creationId="{53B82952-3A7E-45C4-AD52-2E6E76E8113E}"/>
          </ac:spMkLst>
        </pc:spChg>
      </pc:sldChg>
      <pc:sldChg chg="addSp delSp modSp add mod delAnim addCm delCm">
        <pc:chgData name="Dennis Hendriks - DHFS" userId="ceacf04f-0b47-4d6f-9d04-eca8f76fbd3c" providerId="ADAL" clId="{6BF22A83-B45F-4C2E-919F-A38CCDC27124}" dt="2021-10-27T08:42:23.115" v="3096" actId="1592"/>
        <pc:sldMkLst>
          <pc:docMk/>
          <pc:sldMk cId="1288789255" sldId="1128"/>
        </pc:sldMkLst>
        <pc:spChg chg="mod">
          <ac:chgData name="Dennis Hendriks - DHFS" userId="ceacf04f-0b47-4d6f-9d04-eca8f76fbd3c" providerId="ADAL" clId="{6BF22A83-B45F-4C2E-919F-A38CCDC27124}" dt="2021-10-27T07:18:06.188" v="675" actId="1076"/>
          <ac:spMkLst>
            <pc:docMk/>
            <pc:sldMk cId="1288789255" sldId="1128"/>
            <ac:spMk id="2" creationId="{33F48EA7-DFB4-4DE2-88EC-CF6714147E44}"/>
          </ac:spMkLst>
        </pc:spChg>
        <pc:spChg chg="add del mod">
          <ac:chgData name="Dennis Hendriks - DHFS" userId="ceacf04f-0b47-4d6f-9d04-eca8f76fbd3c" providerId="ADAL" clId="{6BF22A83-B45F-4C2E-919F-A38CCDC27124}" dt="2021-10-27T08:41:30.424" v="3067" actId="206"/>
          <ac:spMkLst>
            <pc:docMk/>
            <pc:sldMk cId="1288789255" sldId="1128"/>
            <ac:spMk id="9" creationId="{3ADC3D70-36E1-4892-A5EB-20B6CB75BAF8}"/>
          </ac:spMkLst>
        </pc:spChg>
        <pc:spChg chg="mod">
          <ac:chgData name="Dennis Hendriks - DHFS" userId="ceacf04f-0b47-4d6f-9d04-eca8f76fbd3c" providerId="ADAL" clId="{6BF22A83-B45F-4C2E-919F-A38CCDC27124}" dt="2021-10-27T08:41:30.424" v="3067" actId="206"/>
          <ac:spMkLst>
            <pc:docMk/>
            <pc:sldMk cId="1288789255" sldId="1128"/>
            <ac:spMk id="17" creationId="{35FD9724-DB0C-47CC-A66B-6857918E32D6}"/>
          </ac:spMkLst>
        </pc:spChg>
        <pc:spChg chg="mod">
          <ac:chgData name="Dennis Hendriks - DHFS" userId="ceacf04f-0b47-4d6f-9d04-eca8f76fbd3c" providerId="ADAL" clId="{6BF22A83-B45F-4C2E-919F-A38CCDC27124}" dt="2021-10-27T08:41:30.424" v="3067" actId="206"/>
          <ac:spMkLst>
            <pc:docMk/>
            <pc:sldMk cId="1288789255" sldId="1128"/>
            <ac:spMk id="19" creationId="{29355D7B-C240-4699-9E9C-03CBB54BF70A}"/>
          </ac:spMkLst>
        </pc:spChg>
        <pc:spChg chg="mod">
          <ac:chgData name="Dennis Hendriks - DHFS" userId="ceacf04f-0b47-4d6f-9d04-eca8f76fbd3c" providerId="ADAL" clId="{6BF22A83-B45F-4C2E-919F-A38CCDC27124}" dt="2021-10-27T07:23:36.219" v="1099" actId="1036"/>
          <ac:spMkLst>
            <pc:docMk/>
            <pc:sldMk cId="1288789255" sldId="1128"/>
            <ac:spMk id="24" creationId="{93C30CE5-1F5D-43FF-92BE-EA1F70D85713}"/>
          </ac:spMkLst>
        </pc:spChg>
        <pc:spChg chg="mod">
          <ac:chgData name="Dennis Hendriks - DHFS" userId="ceacf04f-0b47-4d6f-9d04-eca8f76fbd3c" providerId="ADAL" clId="{6BF22A83-B45F-4C2E-919F-A38CCDC27124}" dt="2021-10-27T07:24:56.993" v="1149" actId="1037"/>
          <ac:spMkLst>
            <pc:docMk/>
            <pc:sldMk cId="1288789255" sldId="1128"/>
            <ac:spMk id="25" creationId="{75E34581-23FC-4685-B697-DECB22098343}"/>
          </ac:spMkLst>
        </pc:spChg>
        <pc:spChg chg="mod">
          <ac:chgData name="Dennis Hendriks - DHFS" userId="ceacf04f-0b47-4d6f-9d04-eca8f76fbd3c" providerId="ADAL" clId="{6BF22A83-B45F-4C2E-919F-A38CCDC27124}" dt="2021-10-27T07:27:28.116" v="1183" actId="1036"/>
          <ac:spMkLst>
            <pc:docMk/>
            <pc:sldMk cId="1288789255" sldId="1128"/>
            <ac:spMk id="27" creationId="{F232EB9F-93D4-4E7C-A860-E115F788445D}"/>
          </ac:spMkLst>
        </pc:spChg>
        <pc:spChg chg="mod">
          <ac:chgData name="Dennis Hendriks - DHFS" userId="ceacf04f-0b47-4d6f-9d04-eca8f76fbd3c" providerId="ADAL" clId="{6BF22A83-B45F-4C2E-919F-A38CCDC27124}" dt="2021-10-27T07:23:36.219" v="1099" actId="1036"/>
          <ac:spMkLst>
            <pc:docMk/>
            <pc:sldMk cId="1288789255" sldId="1128"/>
            <ac:spMk id="28" creationId="{B4B009D6-9043-4762-BE74-F7275F1BBCCF}"/>
          </ac:spMkLst>
        </pc:spChg>
        <pc:spChg chg="mod">
          <ac:chgData name="Dennis Hendriks - DHFS" userId="ceacf04f-0b47-4d6f-9d04-eca8f76fbd3c" providerId="ADAL" clId="{6BF22A83-B45F-4C2E-919F-A38CCDC27124}" dt="2021-10-27T08:41:30.424" v="3067" actId="206"/>
          <ac:spMkLst>
            <pc:docMk/>
            <pc:sldMk cId="1288789255" sldId="1128"/>
            <ac:spMk id="30" creationId="{BFD7FDCD-38B0-4823-A470-EAA0AC714992}"/>
          </ac:spMkLst>
        </pc:spChg>
        <pc:spChg chg="mod">
          <ac:chgData name="Dennis Hendriks - DHFS" userId="ceacf04f-0b47-4d6f-9d04-eca8f76fbd3c" providerId="ADAL" clId="{6BF22A83-B45F-4C2E-919F-A38CCDC27124}" dt="2021-10-27T07:24:06.064" v="1126" actId="1038"/>
          <ac:spMkLst>
            <pc:docMk/>
            <pc:sldMk cId="1288789255" sldId="1128"/>
            <ac:spMk id="37" creationId="{5016BDC1-A85A-49EE-8D45-A96B3326FBCC}"/>
          </ac:spMkLst>
        </pc:spChg>
        <pc:spChg chg="mod">
          <ac:chgData name="Dennis Hendriks - DHFS" userId="ceacf04f-0b47-4d6f-9d04-eca8f76fbd3c" providerId="ADAL" clId="{6BF22A83-B45F-4C2E-919F-A38CCDC27124}" dt="2021-10-27T07:25:11.800" v="1169" actId="1035"/>
          <ac:spMkLst>
            <pc:docMk/>
            <pc:sldMk cId="1288789255" sldId="1128"/>
            <ac:spMk id="38" creationId="{3B85B0A8-5A08-491D-86F0-F2DB221BF939}"/>
          </ac:spMkLst>
        </pc:spChg>
        <pc:spChg chg="mod">
          <ac:chgData name="Dennis Hendriks - DHFS" userId="ceacf04f-0b47-4d6f-9d04-eca8f76fbd3c" providerId="ADAL" clId="{6BF22A83-B45F-4C2E-919F-A38CCDC27124}" dt="2021-10-27T08:14:58.456" v="2502" actId="1038"/>
          <ac:spMkLst>
            <pc:docMk/>
            <pc:sldMk cId="1288789255" sldId="1128"/>
            <ac:spMk id="39" creationId="{E63278BA-9AC1-4ED1-89F7-78DE8F1E07B1}"/>
          </ac:spMkLst>
        </pc:spChg>
        <pc:spChg chg="mod">
          <ac:chgData name="Dennis Hendriks - DHFS" userId="ceacf04f-0b47-4d6f-9d04-eca8f76fbd3c" providerId="ADAL" clId="{6BF22A83-B45F-4C2E-919F-A38CCDC27124}" dt="2021-10-27T08:42:14.417" v="3095" actId="1036"/>
          <ac:spMkLst>
            <pc:docMk/>
            <pc:sldMk cId="1288789255" sldId="1128"/>
            <ac:spMk id="40" creationId="{5F95BF76-9AF5-4E66-8366-D363F330EE17}"/>
          </ac:spMkLst>
        </pc:spChg>
        <pc:spChg chg="del mod">
          <ac:chgData name="Dennis Hendriks - DHFS" userId="ceacf04f-0b47-4d6f-9d04-eca8f76fbd3c" providerId="ADAL" clId="{6BF22A83-B45F-4C2E-919F-A38CCDC27124}" dt="2021-10-27T07:23:17.837" v="1026" actId="478"/>
          <ac:spMkLst>
            <pc:docMk/>
            <pc:sldMk cId="1288789255" sldId="1128"/>
            <ac:spMk id="43" creationId="{8DA7B8E8-12BD-42FB-9C76-03A409803CCA}"/>
          </ac:spMkLst>
        </pc:spChg>
        <pc:spChg chg="mod">
          <ac:chgData name="Dennis Hendriks - DHFS" userId="ceacf04f-0b47-4d6f-9d04-eca8f76fbd3c" providerId="ADAL" clId="{6BF22A83-B45F-4C2E-919F-A38CCDC27124}" dt="2021-10-27T08:15:43.932" v="2505" actId="114"/>
          <ac:spMkLst>
            <pc:docMk/>
            <pc:sldMk cId="1288789255" sldId="1128"/>
            <ac:spMk id="45" creationId="{3F5778DC-B579-4A79-8E5B-074B66C7EB32}"/>
          </ac:spMkLst>
        </pc:spChg>
        <pc:grpChg chg="mod">
          <ac:chgData name="Dennis Hendriks - DHFS" userId="ceacf04f-0b47-4d6f-9d04-eca8f76fbd3c" providerId="ADAL" clId="{6BF22A83-B45F-4C2E-919F-A38CCDC27124}" dt="2021-10-27T08:41:30.424" v="3067" actId="206"/>
          <ac:grpSpMkLst>
            <pc:docMk/>
            <pc:sldMk cId="1288789255" sldId="1128"/>
            <ac:grpSpMk id="36" creationId="{9B3E1C9A-2FFF-4063-941F-4C9D9F35EBAF}"/>
          </ac:grpSpMkLst>
        </pc:grpChg>
        <pc:cxnChg chg="mod">
          <ac:chgData name="Dennis Hendriks - DHFS" userId="ceacf04f-0b47-4d6f-9d04-eca8f76fbd3c" providerId="ADAL" clId="{6BF22A83-B45F-4C2E-919F-A38CCDC27124}" dt="2021-10-27T07:24:44.996" v="1144" actId="14100"/>
          <ac:cxnSpMkLst>
            <pc:docMk/>
            <pc:sldMk cId="1288789255" sldId="1128"/>
            <ac:cxnSpMk id="23" creationId="{F0CC8BCF-A360-4D87-90BF-A0ABB127ED04}"/>
          </ac:cxnSpMkLst>
        </pc:cxnChg>
        <pc:cxnChg chg="mod">
          <ac:chgData name="Dennis Hendriks - DHFS" userId="ceacf04f-0b47-4d6f-9d04-eca8f76fbd3c" providerId="ADAL" clId="{6BF22A83-B45F-4C2E-919F-A38CCDC27124}" dt="2021-10-27T08:41:30.424" v="3067" actId="206"/>
          <ac:cxnSpMkLst>
            <pc:docMk/>
            <pc:sldMk cId="1288789255" sldId="1128"/>
            <ac:cxnSpMk id="32" creationId="{18327B5E-68D0-4907-B3CC-26339DDE7FE9}"/>
          </ac:cxnSpMkLst>
        </pc:cxnChg>
        <pc:cxnChg chg="mod">
          <ac:chgData name="Dennis Hendriks - DHFS" userId="ceacf04f-0b47-4d6f-9d04-eca8f76fbd3c" providerId="ADAL" clId="{6BF22A83-B45F-4C2E-919F-A38CCDC27124}" dt="2021-10-27T08:41:30.424" v="3067" actId="206"/>
          <ac:cxnSpMkLst>
            <pc:docMk/>
            <pc:sldMk cId="1288789255" sldId="1128"/>
            <ac:cxnSpMk id="33" creationId="{7133BBE1-F75C-42B3-9C4F-100C1EFD7E71}"/>
          </ac:cxnSpMkLst>
        </pc:cxnChg>
        <pc:cxnChg chg="mod">
          <ac:chgData name="Dennis Hendriks - DHFS" userId="ceacf04f-0b47-4d6f-9d04-eca8f76fbd3c" providerId="ADAL" clId="{6BF22A83-B45F-4C2E-919F-A38CCDC27124}" dt="2021-10-27T07:23:36.219" v="1099" actId="1036"/>
          <ac:cxnSpMkLst>
            <pc:docMk/>
            <pc:sldMk cId="1288789255" sldId="1128"/>
            <ac:cxnSpMk id="47" creationId="{27195F04-0F68-4DC2-BCA6-F264C8882AE3}"/>
          </ac:cxnSpMkLst>
        </pc:cxnChg>
        <pc:cxnChg chg="mod">
          <ac:chgData name="Dennis Hendriks - DHFS" userId="ceacf04f-0b47-4d6f-9d04-eca8f76fbd3c" providerId="ADAL" clId="{6BF22A83-B45F-4C2E-919F-A38CCDC27124}" dt="2021-10-27T08:42:14.417" v="3095" actId="1036"/>
          <ac:cxnSpMkLst>
            <pc:docMk/>
            <pc:sldMk cId="1288789255" sldId="1128"/>
            <ac:cxnSpMk id="50" creationId="{D289FFAB-9FEC-430B-835C-BF8690C87CF3}"/>
          </ac:cxnSpMkLst>
        </pc:cxnChg>
        <pc:cxnChg chg="mod">
          <ac:chgData name="Dennis Hendriks - DHFS" userId="ceacf04f-0b47-4d6f-9d04-eca8f76fbd3c" providerId="ADAL" clId="{6BF22A83-B45F-4C2E-919F-A38CCDC27124}" dt="2021-10-27T07:23:36.219" v="1099" actId="1036"/>
          <ac:cxnSpMkLst>
            <pc:docMk/>
            <pc:sldMk cId="1288789255" sldId="1128"/>
            <ac:cxnSpMk id="54" creationId="{4CEC1D4A-50B0-4D6B-9B75-75D096AFA2D2}"/>
          </ac:cxnSpMkLst>
        </pc:cxnChg>
        <pc:cxnChg chg="mod">
          <ac:chgData name="Dennis Hendriks - DHFS" userId="ceacf04f-0b47-4d6f-9d04-eca8f76fbd3c" providerId="ADAL" clId="{6BF22A83-B45F-4C2E-919F-A38CCDC27124}" dt="2021-10-27T07:24:56.993" v="1149" actId="1037"/>
          <ac:cxnSpMkLst>
            <pc:docMk/>
            <pc:sldMk cId="1288789255" sldId="1128"/>
            <ac:cxnSpMk id="57" creationId="{FFEC722B-C5D8-4232-A001-B9623BC762B5}"/>
          </ac:cxnSpMkLst>
        </pc:cxnChg>
      </pc:sldChg>
      <pc:sldChg chg="addSp delSp modSp new mod modClrScheme chgLayout">
        <pc:chgData name="Dennis Hendriks - DHFS" userId="ceacf04f-0b47-4d6f-9d04-eca8f76fbd3c" providerId="ADAL" clId="{6BF22A83-B45F-4C2E-919F-A38CCDC27124}" dt="2021-10-27T08:31:13.961" v="3059" actId="478"/>
        <pc:sldMkLst>
          <pc:docMk/>
          <pc:sldMk cId="3136399987" sldId="1129"/>
        </pc:sldMkLst>
        <pc:spChg chg="del mod ord">
          <ac:chgData name="Dennis Hendriks - DHFS" userId="ceacf04f-0b47-4d6f-9d04-eca8f76fbd3c" providerId="ADAL" clId="{6BF22A83-B45F-4C2E-919F-A38CCDC27124}" dt="2021-10-27T07:28:29.367" v="1194" actId="700"/>
          <ac:spMkLst>
            <pc:docMk/>
            <pc:sldMk cId="3136399987" sldId="1129"/>
            <ac:spMk id="2" creationId="{14239BB3-D0D6-4BEA-A408-778BFBA3C010}"/>
          </ac:spMkLst>
        </pc:spChg>
        <pc:spChg chg="del mod ord">
          <ac:chgData name="Dennis Hendriks - DHFS" userId="ceacf04f-0b47-4d6f-9d04-eca8f76fbd3c" providerId="ADAL" clId="{6BF22A83-B45F-4C2E-919F-A38CCDC27124}" dt="2021-10-27T07:28:32.679" v="1195" actId="478"/>
          <ac:spMkLst>
            <pc:docMk/>
            <pc:sldMk cId="3136399987" sldId="1129"/>
            <ac:spMk id="3" creationId="{84AE3D94-6C74-4F54-BA6F-72D045D8350C}"/>
          </ac:spMkLst>
        </pc:spChg>
        <pc:spChg chg="mod ord">
          <ac:chgData name="Dennis Hendriks - DHFS" userId="ceacf04f-0b47-4d6f-9d04-eca8f76fbd3c" providerId="ADAL" clId="{6BF22A83-B45F-4C2E-919F-A38CCDC27124}" dt="2021-10-27T07:28:29.367" v="1194" actId="700"/>
          <ac:spMkLst>
            <pc:docMk/>
            <pc:sldMk cId="3136399987" sldId="1129"/>
            <ac:spMk id="4" creationId="{5C923ECA-8564-463A-97B2-791D303E53F0}"/>
          </ac:spMkLst>
        </pc:spChg>
        <pc:spChg chg="del mod ord">
          <ac:chgData name="Dennis Hendriks - DHFS" userId="ceacf04f-0b47-4d6f-9d04-eca8f76fbd3c" providerId="ADAL" clId="{6BF22A83-B45F-4C2E-919F-A38CCDC27124}" dt="2021-10-27T07:28:32.679" v="1195" actId="478"/>
          <ac:spMkLst>
            <pc:docMk/>
            <pc:sldMk cId="3136399987" sldId="1129"/>
            <ac:spMk id="5" creationId="{BFB4BD90-3BFA-4670-8636-C3EFD89FF86F}"/>
          </ac:spMkLst>
        </pc:spChg>
        <pc:spChg chg="del mod ord">
          <ac:chgData name="Dennis Hendriks - DHFS" userId="ceacf04f-0b47-4d6f-9d04-eca8f76fbd3c" providerId="ADAL" clId="{6BF22A83-B45F-4C2E-919F-A38CCDC27124}" dt="2021-10-27T07:28:29.367" v="1194" actId="700"/>
          <ac:spMkLst>
            <pc:docMk/>
            <pc:sldMk cId="3136399987" sldId="1129"/>
            <ac:spMk id="6" creationId="{1B5E56A0-967D-420B-9CBF-98184125EA4C}"/>
          </ac:spMkLst>
        </pc:spChg>
        <pc:spChg chg="add del mod ord">
          <ac:chgData name="Dennis Hendriks - DHFS" userId="ceacf04f-0b47-4d6f-9d04-eca8f76fbd3c" providerId="ADAL" clId="{6BF22A83-B45F-4C2E-919F-A38CCDC27124}" dt="2021-10-27T08:31:11.623" v="3058" actId="478"/>
          <ac:spMkLst>
            <pc:docMk/>
            <pc:sldMk cId="3136399987" sldId="1129"/>
            <ac:spMk id="7" creationId="{23ACF31E-01BD-4E3F-BD84-C09F614884AF}"/>
          </ac:spMkLst>
        </pc:spChg>
        <pc:spChg chg="add del mod ord">
          <ac:chgData name="Dennis Hendriks - DHFS" userId="ceacf04f-0b47-4d6f-9d04-eca8f76fbd3c" providerId="ADAL" clId="{6BF22A83-B45F-4C2E-919F-A38CCDC27124}" dt="2021-10-27T08:31:13.961" v="3059" actId="478"/>
          <ac:spMkLst>
            <pc:docMk/>
            <pc:sldMk cId="3136399987" sldId="1129"/>
            <ac:spMk id="8" creationId="{FD9FFE35-30D4-4340-A302-2BE34D355764}"/>
          </ac:spMkLst>
        </pc:spChg>
      </pc:sldChg>
      <pc:sldChg chg="addSp delSp modSp add del mod delAnim">
        <pc:chgData name="Dennis Hendriks - DHFS" userId="ceacf04f-0b47-4d6f-9d04-eca8f76fbd3c" providerId="ADAL" clId="{6BF22A83-B45F-4C2E-919F-A38CCDC27124}" dt="2021-10-27T08:51:34.155" v="3222" actId="47"/>
        <pc:sldMkLst>
          <pc:docMk/>
          <pc:sldMk cId="1777624929" sldId="1130"/>
        </pc:sldMkLst>
        <pc:spChg chg="mod">
          <ac:chgData name="Dennis Hendriks - DHFS" userId="ceacf04f-0b47-4d6f-9d04-eca8f76fbd3c" providerId="ADAL" clId="{6BF22A83-B45F-4C2E-919F-A38CCDC27124}" dt="2021-10-27T07:50:40.737" v="1977" actId="20577"/>
          <ac:spMkLst>
            <pc:docMk/>
            <pc:sldMk cId="1777624929" sldId="1130"/>
            <ac:spMk id="2" creationId="{53CB77FA-CF1B-4B0E-A304-10CE6620EE56}"/>
          </ac:spMkLst>
        </pc:spChg>
        <pc:spChg chg="del">
          <ac:chgData name="Dennis Hendriks - DHFS" userId="ceacf04f-0b47-4d6f-9d04-eca8f76fbd3c" providerId="ADAL" clId="{6BF22A83-B45F-4C2E-919F-A38CCDC27124}" dt="2021-10-27T07:45:50.768" v="1889" actId="478"/>
          <ac:spMkLst>
            <pc:docMk/>
            <pc:sldMk cId="1777624929" sldId="1130"/>
            <ac:spMk id="32" creationId="{4335040F-4AEC-471D-8CE1-9173EEA01F5F}"/>
          </ac:spMkLst>
        </pc:spChg>
        <pc:spChg chg="add mod">
          <ac:chgData name="Dennis Hendriks - DHFS" userId="ceacf04f-0b47-4d6f-9d04-eca8f76fbd3c" providerId="ADAL" clId="{6BF22A83-B45F-4C2E-919F-A38CCDC27124}" dt="2021-10-27T07:45:46.386" v="1888"/>
          <ac:spMkLst>
            <pc:docMk/>
            <pc:sldMk cId="1777624929" sldId="1130"/>
            <ac:spMk id="33" creationId="{47AD8B0A-48B2-4CB1-B6CC-8D792E461A9D}"/>
          </ac:spMkLst>
        </pc:spChg>
        <pc:spChg chg="add mod">
          <ac:chgData name="Dennis Hendriks - DHFS" userId="ceacf04f-0b47-4d6f-9d04-eca8f76fbd3c" providerId="ADAL" clId="{6BF22A83-B45F-4C2E-919F-A38CCDC27124}" dt="2021-10-27T07:45:46.386" v="1888"/>
          <ac:spMkLst>
            <pc:docMk/>
            <pc:sldMk cId="1777624929" sldId="1130"/>
            <ac:spMk id="34" creationId="{4D1AD3A0-D58E-4B4A-844D-BBAF9D8959DC}"/>
          </ac:spMkLst>
        </pc:spChg>
        <pc:spChg chg="add mod">
          <ac:chgData name="Dennis Hendriks - DHFS" userId="ceacf04f-0b47-4d6f-9d04-eca8f76fbd3c" providerId="ADAL" clId="{6BF22A83-B45F-4C2E-919F-A38CCDC27124}" dt="2021-10-27T07:45:46.386" v="1888"/>
          <ac:spMkLst>
            <pc:docMk/>
            <pc:sldMk cId="1777624929" sldId="1130"/>
            <ac:spMk id="35" creationId="{E93EF200-4E3B-4922-9245-9F2879BF7BB7}"/>
          </ac:spMkLst>
        </pc:spChg>
        <pc:spChg chg="add mod">
          <ac:chgData name="Dennis Hendriks - DHFS" userId="ceacf04f-0b47-4d6f-9d04-eca8f76fbd3c" providerId="ADAL" clId="{6BF22A83-B45F-4C2E-919F-A38CCDC27124}" dt="2021-10-27T07:45:46.386" v="1888"/>
          <ac:spMkLst>
            <pc:docMk/>
            <pc:sldMk cId="1777624929" sldId="1130"/>
            <ac:spMk id="36" creationId="{58296409-CCF4-42D8-8C9C-AFF322850AA5}"/>
          </ac:spMkLst>
        </pc:spChg>
        <pc:spChg chg="add mod">
          <ac:chgData name="Dennis Hendriks - DHFS" userId="ceacf04f-0b47-4d6f-9d04-eca8f76fbd3c" providerId="ADAL" clId="{6BF22A83-B45F-4C2E-919F-A38CCDC27124}" dt="2021-10-27T07:45:46.386" v="1888"/>
          <ac:spMkLst>
            <pc:docMk/>
            <pc:sldMk cId="1777624929" sldId="1130"/>
            <ac:spMk id="37" creationId="{F50B6E35-6BF4-4BA0-8718-36F27919DAA3}"/>
          </ac:spMkLst>
        </pc:spChg>
        <pc:spChg chg="add mod">
          <ac:chgData name="Dennis Hendriks - DHFS" userId="ceacf04f-0b47-4d6f-9d04-eca8f76fbd3c" providerId="ADAL" clId="{6BF22A83-B45F-4C2E-919F-A38CCDC27124}" dt="2021-10-27T07:45:46.386" v="1888"/>
          <ac:spMkLst>
            <pc:docMk/>
            <pc:sldMk cId="1777624929" sldId="1130"/>
            <ac:spMk id="38" creationId="{A6F93868-1D7C-48B7-9B0C-52131B0342E7}"/>
          </ac:spMkLst>
        </pc:spChg>
        <pc:spChg chg="add mod">
          <ac:chgData name="Dennis Hendriks - DHFS" userId="ceacf04f-0b47-4d6f-9d04-eca8f76fbd3c" providerId="ADAL" clId="{6BF22A83-B45F-4C2E-919F-A38CCDC27124}" dt="2021-10-27T07:45:46.386" v="1888"/>
          <ac:spMkLst>
            <pc:docMk/>
            <pc:sldMk cId="1777624929" sldId="1130"/>
            <ac:spMk id="39" creationId="{B5AB213C-D52C-4205-B156-ABFA3C77BC20}"/>
          </ac:spMkLst>
        </pc:spChg>
        <pc:spChg chg="add mod">
          <ac:chgData name="Dennis Hendriks - DHFS" userId="ceacf04f-0b47-4d6f-9d04-eca8f76fbd3c" providerId="ADAL" clId="{6BF22A83-B45F-4C2E-919F-A38CCDC27124}" dt="2021-10-27T07:45:46.386" v="1888"/>
          <ac:spMkLst>
            <pc:docMk/>
            <pc:sldMk cId="1777624929" sldId="1130"/>
            <ac:spMk id="40" creationId="{CD345B87-A7CD-4302-B41C-C1F86F545E71}"/>
          </ac:spMkLst>
        </pc:spChg>
        <pc:spChg chg="add mod">
          <ac:chgData name="Dennis Hendriks - DHFS" userId="ceacf04f-0b47-4d6f-9d04-eca8f76fbd3c" providerId="ADAL" clId="{6BF22A83-B45F-4C2E-919F-A38CCDC27124}" dt="2021-10-27T08:13:12.753" v="2434" actId="207"/>
          <ac:spMkLst>
            <pc:docMk/>
            <pc:sldMk cId="1777624929" sldId="1130"/>
            <ac:spMk id="44" creationId="{9F506EE7-5793-41FF-8EA4-0EE596FF1A42}"/>
          </ac:spMkLst>
        </pc:spChg>
        <pc:spChg chg="add mod">
          <ac:chgData name="Dennis Hendriks - DHFS" userId="ceacf04f-0b47-4d6f-9d04-eca8f76fbd3c" providerId="ADAL" clId="{6BF22A83-B45F-4C2E-919F-A38CCDC27124}" dt="2021-10-27T08:13:12.753" v="2434" actId="207"/>
          <ac:spMkLst>
            <pc:docMk/>
            <pc:sldMk cId="1777624929" sldId="1130"/>
            <ac:spMk id="45" creationId="{CD076853-E99E-407A-8CB6-FCAF92B1E4FF}"/>
          </ac:spMkLst>
        </pc:spChg>
        <pc:spChg chg="add mod">
          <ac:chgData name="Dennis Hendriks - DHFS" userId="ceacf04f-0b47-4d6f-9d04-eca8f76fbd3c" providerId="ADAL" clId="{6BF22A83-B45F-4C2E-919F-A38CCDC27124}" dt="2021-10-27T08:13:12.753" v="2434" actId="207"/>
          <ac:spMkLst>
            <pc:docMk/>
            <pc:sldMk cId="1777624929" sldId="1130"/>
            <ac:spMk id="46" creationId="{838FCDF0-40B9-4867-88B6-7E4A93F92BEF}"/>
          </ac:spMkLst>
        </pc:spChg>
        <pc:spChg chg="add mod">
          <ac:chgData name="Dennis Hendriks - DHFS" userId="ceacf04f-0b47-4d6f-9d04-eca8f76fbd3c" providerId="ADAL" clId="{6BF22A83-B45F-4C2E-919F-A38CCDC27124}" dt="2021-10-27T07:45:46.386" v="1888"/>
          <ac:spMkLst>
            <pc:docMk/>
            <pc:sldMk cId="1777624929" sldId="1130"/>
            <ac:spMk id="47" creationId="{3387345B-F618-4F8F-92EA-DA14D00C4EA5}"/>
          </ac:spMkLst>
        </pc:spChg>
        <pc:spChg chg="add mod">
          <ac:chgData name="Dennis Hendriks - DHFS" userId="ceacf04f-0b47-4d6f-9d04-eca8f76fbd3c" providerId="ADAL" clId="{6BF22A83-B45F-4C2E-919F-A38CCDC27124}" dt="2021-10-27T08:13:31.317" v="2437" actId="207"/>
          <ac:spMkLst>
            <pc:docMk/>
            <pc:sldMk cId="1777624929" sldId="1130"/>
            <ac:spMk id="48" creationId="{027B2F69-CD3B-4033-A053-487946F2AD07}"/>
          </ac:spMkLst>
        </pc:spChg>
        <pc:spChg chg="add mod">
          <ac:chgData name="Dennis Hendriks - DHFS" userId="ceacf04f-0b47-4d6f-9d04-eca8f76fbd3c" providerId="ADAL" clId="{6BF22A83-B45F-4C2E-919F-A38CCDC27124}" dt="2021-10-27T08:13:31.317" v="2437" actId="207"/>
          <ac:spMkLst>
            <pc:docMk/>
            <pc:sldMk cId="1777624929" sldId="1130"/>
            <ac:spMk id="49" creationId="{8C3F31AD-97E0-43E8-9606-51CDC5AC0CC4}"/>
          </ac:spMkLst>
        </pc:spChg>
        <pc:spChg chg="add mod">
          <ac:chgData name="Dennis Hendriks - DHFS" userId="ceacf04f-0b47-4d6f-9d04-eca8f76fbd3c" providerId="ADAL" clId="{6BF22A83-B45F-4C2E-919F-A38CCDC27124}" dt="2021-10-27T08:13:12.753" v="2434" actId="207"/>
          <ac:spMkLst>
            <pc:docMk/>
            <pc:sldMk cId="1777624929" sldId="1130"/>
            <ac:spMk id="52" creationId="{CE9C3C20-93D7-411E-845E-365AE495B279}"/>
          </ac:spMkLst>
        </pc:spChg>
        <pc:spChg chg="add mod">
          <ac:chgData name="Dennis Hendriks - DHFS" userId="ceacf04f-0b47-4d6f-9d04-eca8f76fbd3c" providerId="ADAL" clId="{6BF22A83-B45F-4C2E-919F-A38CCDC27124}" dt="2021-10-27T08:13:12.753" v="2434" actId="207"/>
          <ac:spMkLst>
            <pc:docMk/>
            <pc:sldMk cId="1777624929" sldId="1130"/>
            <ac:spMk id="53" creationId="{59319879-6E40-4D27-99D5-9E8D4D47DCF1}"/>
          </ac:spMkLst>
        </pc:spChg>
        <pc:spChg chg="del mod">
          <ac:chgData name="Dennis Hendriks - DHFS" userId="ceacf04f-0b47-4d6f-9d04-eca8f76fbd3c" providerId="ADAL" clId="{6BF22A83-B45F-4C2E-919F-A38CCDC27124}" dt="2021-10-27T07:45:41.904" v="1887" actId="478"/>
          <ac:spMkLst>
            <pc:docMk/>
            <pc:sldMk cId="1777624929" sldId="1130"/>
            <ac:spMk id="75" creationId="{9C03CA8D-8BB1-4B8E-BFCB-165876FFC549}"/>
          </ac:spMkLst>
        </pc:spChg>
        <pc:spChg chg="del mod">
          <ac:chgData name="Dennis Hendriks - DHFS" userId="ceacf04f-0b47-4d6f-9d04-eca8f76fbd3c" providerId="ADAL" clId="{6BF22A83-B45F-4C2E-919F-A38CCDC27124}" dt="2021-10-27T07:45:41.904" v="1887" actId="478"/>
          <ac:spMkLst>
            <pc:docMk/>
            <pc:sldMk cId="1777624929" sldId="1130"/>
            <ac:spMk id="76" creationId="{98DB6BAD-EB15-4894-A182-2D1301A1E864}"/>
          </ac:spMkLst>
        </pc:spChg>
        <pc:spChg chg="del mod">
          <ac:chgData name="Dennis Hendriks - DHFS" userId="ceacf04f-0b47-4d6f-9d04-eca8f76fbd3c" providerId="ADAL" clId="{6BF22A83-B45F-4C2E-919F-A38CCDC27124}" dt="2021-10-27T07:45:41.904" v="1887" actId="478"/>
          <ac:spMkLst>
            <pc:docMk/>
            <pc:sldMk cId="1777624929" sldId="1130"/>
            <ac:spMk id="77" creationId="{150FC700-6CB0-49CC-B0A4-4C318AEDA55D}"/>
          </ac:spMkLst>
        </pc:spChg>
        <pc:spChg chg="del mod">
          <ac:chgData name="Dennis Hendriks - DHFS" userId="ceacf04f-0b47-4d6f-9d04-eca8f76fbd3c" providerId="ADAL" clId="{6BF22A83-B45F-4C2E-919F-A38CCDC27124}" dt="2021-10-27T07:45:41.904" v="1887" actId="478"/>
          <ac:spMkLst>
            <pc:docMk/>
            <pc:sldMk cId="1777624929" sldId="1130"/>
            <ac:spMk id="78" creationId="{5A3B0AD1-D52D-43BA-AB27-7492E8977A9A}"/>
          </ac:spMkLst>
        </pc:spChg>
        <pc:spChg chg="del mod">
          <ac:chgData name="Dennis Hendriks - DHFS" userId="ceacf04f-0b47-4d6f-9d04-eca8f76fbd3c" providerId="ADAL" clId="{6BF22A83-B45F-4C2E-919F-A38CCDC27124}" dt="2021-10-27T07:45:41.904" v="1887" actId="478"/>
          <ac:spMkLst>
            <pc:docMk/>
            <pc:sldMk cId="1777624929" sldId="1130"/>
            <ac:spMk id="79" creationId="{56BDB6B5-933E-4725-8630-285D72D9C708}"/>
          </ac:spMkLst>
        </pc:spChg>
        <pc:spChg chg="del mod">
          <ac:chgData name="Dennis Hendriks - DHFS" userId="ceacf04f-0b47-4d6f-9d04-eca8f76fbd3c" providerId="ADAL" clId="{6BF22A83-B45F-4C2E-919F-A38CCDC27124}" dt="2021-10-27T07:45:41.904" v="1887" actId="478"/>
          <ac:spMkLst>
            <pc:docMk/>
            <pc:sldMk cId="1777624929" sldId="1130"/>
            <ac:spMk id="80" creationId="{B0164F47-2C6B-484C-B740-624128F7FFF6}"/>
          </ac:spMkLst>
        </pc:spChg>
        <pc:spChg chg="del mod">
          <ac:chgData name="Dennis Hendriks - DHFS" userId="ceacf04f-0b47-4d6f-9d04-eca8f76fbd3c" providerId="ADAL" clId="{6BF22A83-B45F-4C2E-919F-A38CCDC27124}" dt="2021-10-27T07:45:41.904" v="1887" actId="478"/>
          <ac:spMkLst>
            <pc:docMk/>
            <pc:sldMk cId="1777624929" sldId="1130"/>
            <ac:spMk id="81" creationId="{27122C6D-FCC5-436A-A11D-B0BDFBB55FC5}"/>
          </ac:spMkLst>
        </pc:spChg>
        <pc:spChg chg="del mod">
          <ac:chgData name="Dennis Hendriks - DHFS" userId="ceacf04f-0b47-4d6f-9d04-eca8f76fbd3c" providerId="ADAL" clId="{6BF22A83-B45F-4C2E-919F-A38CCDC27124}" dt="2021-10-27T07:45:41.904" v="1887" actId="478"/>
          <ac:spMkLst>
            <pc:docMk/>
            <pc:sldMk cId="1777624929" sldId="1130"/>
            <ac:spMk id="82" creationId="{055CCC95-25A5-4B06-9D48-E091CFAAAD37}"/>
          </ac:spMkLst>
        </pc:spChg>
        <pc:spChg chg="del mod">
          <ac:chgData name="Dennis Hendriks - DHFS" userId="ceacf04f-0b47-4d6f-9d04-eca8f76fbd3c" providerId="ADAL" clId="{6BF22A83-B45F-4C2E-919F-A38CCDC27124}" dt="2021-10-27T07:45:41.904" v="1887" actId="478"/>
          <ac:spMkLst>
            <pc:docMk/>
            <pc:sldMk cId="1777624929" sldId="1130"/>
            <ac:spMk id="86" creationId="{1ABD0C4F-5C84-4AC0-B226-CD1469C8E901}"/>
          </ac:spMkLst>
        </pc:spChg>
        <pc:spChg chg="del mod">
          <ac:chgData name="Dennis Hendriks - DHFS" userId="ceacf04f-0b47-4d6f-9d04-eca8f76fbd3c" providerId="ADAL" clId="{6BF22A83-B45F-4C2E-919F-A38CCDC27124}" dt="2021-10-27T07:45:41.904" v="1887" actId="478"/>
          <ac:spMkLst>
            <pc:docMk/>
            <pc:sldMk cId="1777624929" sldId="1130"/>
            <ac:spMk id="87" creationId="{35BEC41D-0611-4136-B9A0-FBA15FD7A128}"/>
          </ac:spMkLst>
        </pc:spChg>
        <pc:spChg chg="del mod">
          <ac:chgData name="Dennis Hendriks - DHFS" userId="ceacf04f-0b47-4d6f-9d04-eca8f76fbd3c" providerId="ADAL" clId="{6BF22A83-B45F-4C2E-919F-A38CCDC27124}" dt="2021-10-27T07:45:41.904" v="1887" actId="478"/>
          <ac:spMkLst>
            <pc:docMk/>
            <pc:sldMk cId="1777624929" sldId="1130"/>
            <ac:spMk id="88" creationId="{EF295510-BD8B-4C8C-A86F-8E65CD341EA4}"/>
          </ac:spMkLst>
        </pc:spChg>
        <pc:spChg chg="del mod">
          <ac:chgData name="Dennis Hendriks - DHFS" userId="ceacf04f-0b47-4d6f-9d04-eca8f76fbd3c" providerId="ADAL" clId="{6BF22A83-B45F-4C2E-919F-A38CCDC27124}" dt="2021-10-27T07:45:41.904" v="1887" actId="478"/>
          <ac:spMkLst>
            <pc:docMk/>
            <pc:sldMk cId="1777624929" sldId="1130"/>
            <ac:spMk id="89" creationId="{A0BD32FB-4B3A-40D2-8A0A-60783D2389FC}"/>
          </ac:spMkLst>
        </pc:spChg>
        <pc:spChg chg="del mod">
          <ac:chgData name="Dennis Hendriks - DHFS" userId="ceacf04f-0b47-4d6f-9d04-eca8f76fbd3c" providerId="ADAL" clId="{6BF22A83-B45F-4C2E-919F-A38CCDC27124}" dt="2021-10-27T07:45:41.904" v="1887" actId="478"/>
          <ac:spMkLst>
            <pc:docMk/>
            <pc:sldMk cId="1777624929" sldId="1130"/>
            <ac:spMk id="90" creationId="{596BE23C-D7D7-4904-94D5-4ED792C7B3B7}"/>
          </ac:spMkLst>
        </pc:spChg>
        <pc:spChg chg="del mod">
          <ac:chgData name="Dennis Hendriks - DHFS" userId="ceacf04f-0b47-4d6f-9d04-eca8f76fbd3c" providerId="ADAL" clId="{6BF22A83-B45F-4C2E-919F-A38CCDC27124}" dt="2021-10-27T07:45:41.904" v="1887" actId="478"/>
          <ac:spMkLst>
            <pc:docMk/>
            <pc:sldMk cId="1777624929" sldId="1130"/>
            <ac:spMk id="91" creationId="{8CF368C0-0E8D-4DCA-8461-FBB9BCF3DD0E}"/>
          </ac:spMkLst>
        </pc:spChg>
        <pc:spChg chg="del mod">
          <ac:chgData name="Dennis Hendriks - DHFS" userId="ceacf04f-0b47-4d6f-9d04-eca8f76fbd3c" providerId="ADAL" clId="{6BF22A83-B45F-4C2E-919F-A38CCDC27124}" dt="2021-10-27T07:45:41.904" v="1887" actId="478"/>
          <ac:spMkLst>
            <pc:docMk/>
            <pc:sldMk cId="1777624929" sldId="1130"/>
            <ac:spMk id="94" creationId="{5F1C3CBB-4F6D-4FF0-A033-9D83208150A3}"/>
          </ac:spMkLst>
        </pc:spChg>
        <pc:spChg chg="del mod">
          <ac:chgData name="Dennis Hendriks - DHFS" userId="ceacf04f-0b47-4d6f-9d04-eca8f76fbd3c" providerId="ADAL" clId="{6BF22A83-B45F-4C2E-919F-A38CCDC27124}" dt="2021-10-27T07:45:41.904" v="1887" actId="478"/>
          <ac:spMkLst>
            <pc:docMk/>
            <pc:sldMk cId="1777624929" sldId="1130"/>
            <ac:spMk id="95" creationId="{6980D8C7-5141-4A4E-90FE-BDFCA87C8EF7}"/>
          </ac:spMkLst>
        </pc:spChg>
        <pc:cxnChg chg="del mod">
          <ac:chgData name="Dennis Hendriks - DHFS" userId="ceacf04f-0b47-4d6f-9d04-eca8f76fbd3c" providerId="ADAL" clId="{6BF22A83-B45F-4C2E-919F-A38CCDC27124}" dt="2021-10-27T07:45:41.904" v="1887" actId="478"/>
          <ac:cxnSpMkLst>
            <pc:docMk/>
            <pc:sldMk cId="1777624929" sldId="1130"/>
            <ac:cxnSpMk id="9" creationId="{80481994-D2EB-45A0-8D5D-1B69E66E22EA}"/>
          </ac:cxnSpMkLst>
        </pc:cxnChg>
        <pc:cxnChg chg="del mod">
          <ac:chgData name="Dennis Hendriks - DHFS" userId="ceacf04f-0b47-4d6f-9d04-eca8f76fbd3c" providerId="ADAL" clId="{6BF22A83-B45F-4C2E-919F-A38CCDC27124}" dt="2021-10-27T07:45:41.904" v="1887" actId="478"/>
          <ac:cxnSpMkLst>
            <pc:docMk/>
            <pc:sldMk cId="1777624929" sldId="1130"/>
            <ac:cxnSpMk id="14" creationId="{F6298016-B119-4281-B4F4-C4ABADA710FB}"/>
          </ac:cxnSpMkLst>
        </pc:cxnChg>
        <pc:cxnChg chg="add mod">
          <ac:chgData name="Dennis Hendriks - DHFS" userId="ceacf04f-0b47-4d6f-9d04-eca8f76fbd3c" providerId="ADAL" clId="{6BF22A83-B45F-4C2E-919F-A38CCDC27124}" dt="2021-10-27T07:45:46.386" v="1888"/>
          <ac:cxnSpMkLst>
            <pc:docMk/>
            <pc:sldMk cId="1777624929" sldId="1130"/>
            <ac:cxnSpMk id="30" creationId="{CD37E061-E634-4EE7-A7A1-02A8B4D796CE}"/>
          </ac:cxnSpMkLst>
        </pc:cxnChg>
        <pc:cxnChg chg="add mod">
          <ac:chgData name="Dennis Hendriks - DHFS" userId="ceacf04f-0b47-4d6f-9d04-eca8f76fbd3c" providerId="ADAL" clId="{6BF22A83-B45F-4C2E-919F-A38CCDC27124}" dt="2021-10-27T07:45:46.386" v="1888"/>
          <ac:cxnSpMkLst>
            <pc:docMk/>
            <pc:sldMk cId="1777624929" sldId="1130"/>
            <ac:cxnSpMk id="31" creationId="{8EF63B98-5723-4366-941A-3E46345D5084}"/>
          </ac:cxnSpMkLst>
        </pc:cxnChg>
        <pc:cxnChg chg="add mod">
          <ac:chgData name="Dennis Hendriks - DHFS" userId="ceacf04f-0b47-4d6f-9d04-eca8f76fbd3c" providerId="ADAL" clId="{6BF22A83-B45F-4C2E-919F-A38CCDC27124}" dt="2021-10-27T07:45:46.386" v="1888"/>
          <ac:cxnSpMkLst>
            <pc:docMk/>
            <pc:sldMk cId="1777624929" sldId="1130"/>
            <ac:cxnSpMk id="41" creationId="{0F9DB004-B061-4A68-B140-9EFB39FB3E1D}"/>
          </ac:cxnSpMkLst>
        </pc:cxnChg>
        <pc:cxnChg chg="add mod">
          <ac:chgData name="Dennis Hendriks - DHFS" userId="ceacf04f-0b47-4d6f-9d04-eca8f76fbd3c" providerId="ADAL" clId="{6BF22A83-B45F-4C2E-919F-A38CCDC27124}" dt="2021-10-27T07:45:46.386" v="1888"/>
          <ac:cxnSpMkLst>
            <pc:docMk/>
            <pc:sldMk cId="1777624929" sldId="1130"/>
            <ac:cxnSpMk id="42" creationId="{4CFF1606-8C4C-4381-8927-3D5C483519F4}"/>
          </ac:cxnSpMkLst>
        </pc:cxnChg>
        <pc:cxnChg chg="add mod">
          <ac:chgData name="Dennis Hendriks - DHFS" userId="ceacf04f-0b47-4d6f-9d04-eca8f76fbd3c" providerId="ADAL" clId="{6BF22A83-B45F-4C2E-919F-A38CCDC27124}" dt="2021-10-27T07:45:46.386" v="1888"/>
          <ac:cxnSpMkLst>
            <pc:docMk/>
            <pc:sldMk cId="1777624929" sldId="1130"/>
            <ac:cxnSpMk id="43" creationId="{1051982E-E24D-414C-B8B4-F368108E3125}"/>
          </ac:cxnSpMkLst>
        </pc:cxnChg>
        <pc:cxnChg chg="add mod">
          <ac:chgData name="Dennis Hendriks - DHFS" userId="ceacf04f-0b47-4d6f-9d04-eca8f76fbd3c" providerId="ADAL" clId="{6BF22A83-B45F-4C2E-919F-A38CCDC27124}" dt="2021-10-27T07:45:46.386" v="1888"/>
          <ac:cxnSpMkLst>
            <pc:docMk/>
            <pc:sldMk cId="1777624929" sldId="1130"/>
            <ac:cxnSpMk id="50" creationId="{9A1F3EBB-1024-4D6C-ABEC-981FBED41741}"/>
          </ac:cxnSpMkLst>
        </pc:cxnChg>
        <pc:cxnChg chg="add mod">
          <ac:chgData name="Dennis Hendriks - DHFS" userId="ceacf04f-0b47-4d6f-9d04-eca8f76fbd3c" providerId="ADAL" clId="{6BF22A83-B45F-4C2E-919F-A38CCDC27124}" dt="2021-10-27T07:45:46.386" v="1888"/>
          <ac:cxnSpMkLst>
            <pc:docMk/>
            <pc:sldMk cId="1777624929" sldId="1130"/>
            <ac:cxnSpMk id="51" creationId="{8E4D9557-7F8F-4035-84CC-1B1390E7405B}"/>
          </ac:cxnSpMkLst>
        </pc:cxnChg>
        <pc:cxnChg chg="del mod">
          <ac:chgData name="Dennis Hendriks - DHFS" userId="ceacf04f-0b47-4d6f-9d04-eca8f76fbd3c" providerId="ADAL" clId="{6BF22A83-B45F-4C2E-919F-A38CCDC27124}" dt="2021-10-27T07:45:41.904" v="1887" actId="478"/>
          <ac:cxnSpMkLst>
            <pc:docMk/>
            <pc:sldMk cId="1777624929" sldId="1130"/>
            <ac:cxnSpMk id="83" creationId="{4277BD9A-C377-468B-A661-67297092A84A}"/>
          </ac:cxnSpMkLst>
        </pc:cxnChg>
        <pc:cxnChg chg="del mod">
          <ac:chgData name="Dennis Hendriks - DHFS" userId="ceacf04f-0b47-4d6f-9d04-eca8f76fbd3c" providerId="ADAL" clId="{6BF22A83-B45F-4C2E-919F-A38CCDC27124}" dt="2021-10-27T07:45:41.904" v="1887" actId="478"/>
          <ac:cxnSpMkLst>
            <pc:docMk/>
            <pc:sldMk cId="1777624929" sldId="1130"/>
            <ac:cxnSpMk id="84" creationId="{F1815A4E-912B-4291-915F-BF0394E5C6EB}"/>
          </ac:cxnSpMkLst>
        </pc:cxnChg>
        <pc:cxnChg chg="del mod">
          <ac:chgData name="Dennis Hendriks - DHFS" userId="ceacf04f-0b47-4d6f-9d04-eca8f76fbd3c" providerId="ADAL" clId="{6BF22A83-B45F-4C2E-919F-A38CCDC27124}" dt="2021-10-27T07:45:41.904" v="1887" actId="478"/>
          <ac:cxnSpMkLst>
            <pc:docMk/>
            <pc:sldMk cId="1777624929" sldId="1130"/>
            <ac:cxnSpMk id="85" creationId="{59F75A52-599C-4FF0-85AD-2CF1D30FD7D8}"/>
          </ac:cxnSpMkLst>
        </pc:cxnChg>
        <pc:cxnChg chg="del mod">
          <ac:chgData name="Dennis Hendriks - DHFS" userId="ceacf04f-0b47-4d6f-9d04-eca8f76fbd3c" providerId="ADAL" clId="{6BF22A83-B45F-4C2E-919F-A38CCDC27124}" dt="2021-10-27T07:45:41.904" v="1887" actId="478"/>
          <ac:cxnSpMkLst>
            <pc:docMk/>
            <pc:sldMk cId="1777624929" sldId="1130"/>
            <ac:cxnSpMk id="92" creationId="{9567D8D8-BA8F-4182-9094-8D7934E85770}"/>
          </ac:cxnSpMkLst>
        </pc:cxnChg>
        <pc:cxnChg chg="del mod">
          <ac:chgData name="Dennis Hendriks - DHFS" userId="ceacf04f-0b47-4d6f-9d04-eca8f76fbd3c" providerId="ADAL" clId="{6BF22A83-B45F-4C2E-919F-A38CCDC27124}" dt="2021-10-27T07:45:41.904" v="1887" actId="478"/>
          <ac:cxnSpMkLst>
            <pc:docMk/>
            <pc:sldMk cId="1777624929" sldId="1130"/>
            <ac:cxnSpMk id="93" creationId="{A33811C2-44C5-4B2B-ABB0-F1183074ED75}"/>
          </ac:cxnSpMkLst>
        </pc:cxnChg>
      </pc:sldChg>
      <pc:sldChg chg="modSp new mod modAnim addCm delCm modCm">
        <pc:chgData name="Dennis Hendriks - DHFS" userId="ceacf04f-0b47-4d6f-9d04-eca8f76fbd3c" providerId="ADAL" clId="{6BF22A83-B45F-4C2E-919F-A38CCDC27124}" dt="2021-11-01T13:59:29.641" v="5571" actId="1592"/>
        <pc:sldMkLst>
          <pc:docMk/>
          <pc:sldMk cId="1427060495" sldId="1131"/>
        </pc:sldMkLst>
        <pc:spChg chg="mod">
          <ac:chgData name="Dennis Hendriks - DHFS" userId="ceacf04f-0b47-4d6f-9d04-eca8f76fbd3c" providerId="ADAL" clId="{6BF22A83-B45F-4C2E-919F-A38CCDC27124}" dt="2021-10-29T07:36:26.663" v="5314" actId="6549"/>
          <ac:spMkLst>
            <pc:docMk/>
            <pc:sldMk cId="1427060495" sldId="1131"/>
            <ac:spMk id="2" creationId="{FD5300D3-00F6-4430-842F-4E34F6123C39}"/>
          </ac:spMkLst>
        </pc:spChg>
        <pc:spChg chg="mod">
          <ac:chgData name="Dennis Hendriks - DHFS" userId="ceacf04f-0b47-4d6f-9d04-eca8f76fbd3c" providerId="ADAL" clId="{6BF22A83-B45F-4C2E-919F-A38CCDC27124}" dt="2021-10-29T07:33:39.740" v="5280" actId="6549"/>
          <ac:spMkLst>
            <pc:docMk/>
            <pc:sldMk cId="1427060495" sldId="1131"/>
            <ac:spMk id="6" creationId="{1CFDC4AA-E251-44C7-95AC-6E657D865FAB}"/>
          </ac:spMkLst>
        </pc:spChg>
        <pc:spChg chg="mod">
          <ac:chgData name="Dennis Hendriks - DHFS" userId="ceacf04f-0b47-4d6f-9d04-eca8f76fbd3c" providerId="ADAL" clId="{6BF22A83-B45F-4C2E-919F-A38CCDC27124}" dt="2021-10-29T07:36:11.439" v="5302" actId="1076"/>
          <ac:spMkLst>
            <pc:docMk/>
            <pc:sldMk cId="1427060495" sldId="1131"/>
            <ac:spMk id="35" creationId="{DB56D556-954A-4EA1-BBD5-7FF9DE166C65}"/>
          </ac:spMkLst>
        </pc:spChg>
        <pc:spChg chg="mod">
          <ac:chgData name="Dennis Hendriks - DHFS" userId="ceacf04f-0b47-4d6f-9d04-eca8f76fbd3c" providerId="ADAL" clId="{6BF22A83-B45F-4C2E-919F-A38CCDC27124}" dt="2021-10-29T07:36:11.439" v="5302" actId="1076"/>
          <ac:spMkLst>
            <pc:docMk/>
            <pc:sldMk cId="1427060495" sldId="1131"/>
            <ac:spMk id="36" creationId="{7968463D-F49D-4E4A-BDA0-11DEDC6A777D}"/>
          </ac:spMkLst>
        </pc:spChg>
        <pc:spChg chg="mod">
          <ac:chgData name="Dennis Hendriks - DHFS" userId="ceacf04f-0b47-4d6f-9d04-eca8f76fbd3c" providerId="ADAL" clId="{6BF22A83-B45F-4C2E-919F-A38CCDC27124}" dt="2021-10-29T07:36:11.439" v="5302" actId="1076"/>
          <ac:spMkLst>
            <pc:docMk/>
            <pc:sldMk cId="1427060495" sldId="1131"/>
            <ac:spMk id="37" creationId="{1F7401AA-924A-4EFE-A1CF-B4A434222C08}"/>
          </ac:spMkLst>
        </pc:spChg>
        <pc:spChg chg="mod">
          <ac:chgData name="Dennis Hendriks - DHFS" userId="ceacf04f-0b47-4d6f-9d04-eca8f76fbd3c" providerId="ADAL" clId="{6BF22A83-B45F-4C2E-919F-A38CCDC27124}" dt="2021-10-29T07:36:11.439" v="5302" actId="1076"/>
          <ac:spMkLst>
            <pc:docMk/>
            <pc:sldMk cId="1427060495" sldId="1131"/>
            <ac:spMk id="38" creationId="{771B5DFB-AD01-4376-9C42-970EDB26FA7C}"/>
          </ac:spMkLst>
        </pc:spChg>
        <pc:spChg chg="mod">
          <ac:chgData name="Dennis Hendriks - DHFS" userId="ceacf04f-0b47-4d6f-9d04-eca8f76fbd3c" providerId="ADAL" clId="{6BF22A83-B45F-4C2E-919F-A38CCDC27124}" dt="2021-10-29T07:36:11.439" v="5302" actId="1076"/>
          <ac:spMkLst>
            <pc:docMk/>
            <pc:sldMk cId="1427060495" sldId="1131"/>
            <ac:spMk id="39" creationId="{5733DA6B-04F2-48B5-BA12-532E7F2D4271}"/>
          </ac:spMkLst>
        </pc:spChg>
        <pc:spChg chg="mod">
          <ac:chgData name="Dennis Hendriks - DHFS" userId="ceacf04f-0b47-4d6f-9d04-eca8f76fbd3c" providerId="ADAL" clId="{6BF22A83-B45F-4C2E-919F-A38CCDC27124}" dt="2021-10-29T07:36:11.439" v="5302" actId="1076"/>
          <ac:spMkLst>
            <pc:docMk/>
            <pc:sldMk cId="1427060495" sldId="1131"/>
            <ac:spMk id="40" creationId="{AD3B7296-E178-45C9-9DA3-24F9265E2F56}"/>
          </ac:spMkLst>
        </pc:spChg>
        <pc:spChg chg="mod">
          <ac:chgData name="Dennis Hendriks - DHFS" userId="ceacf04f-0b47-4d6f-9d04-eca8f76fbd3c" providerId="ADAL" clId="{6BF22A83-B45F-4C2E-919F-A38CCDC27124}" dt="2021-10-29T07:36:11.439" v="5302" actId="1076"/>
          <ac:spMkLst>
            <pc:docMk/>
            <pc:sldMk cId="1427060495" sldId="1131"/>
            <ac:spMk id="41" creationId="{EF3317A3-0679-4FC4-894D-E3CF63577B0A}"/>
          </ac:spMkLst>
        </pc:spChg>
        <pc:spChg chg="mod">
          <ac:chgData name="Dennis Hendriks - DHFS" userId="ceacf04f-0b47-4d6f-9d04-eca8f76fbd3c" providerId="ADAL" clId="{6BF22A83-B45F-4C2E-919F-A38CCDC27124}" dt="2021-10-29T07:36:11.439" v="5302" actId="1076"/>
          <ac:spMkLst>
            <pc:docMk/>
            <pc:sldMk cId="1427060495" sldId="1131"/>
            <ac:spMk id="42" creationId="{330608E8-D48A-4BBD-B9F5-3341A04372E6}"/>
          </ac:spMkLst>
        </pc:spChg>
        <pc:spChg chg="mod">
          <ac:chgData name="Dennis Hendriks - DHFS" userId="ceacf04f-0b47-4d6f-9d04-eca8f76fbd3c" providerId="ADAL" clId="{6BF22A83-B45F-4C2E-919F-A38CCDC27124}" dt="2021-10-29T07:36:11.439" v="5302" actId="1076"/>
          <ac:spMkLst>
            <pc:docMk/>
            <pc:sldMk cId="1427060495" sldId="1131"/>
            <ac:spMk id="43" creationId="{8D44F021-4C37-48F2-8EE6-D93616E77775}"/>
          </ac:spMkLst>
        </pc:spChg>
        <pc:spChg chg="mod">
          <ac:chgData name="Dennis Hendriks - DHFS" userId="ceacf04f-0b47-4d6f-9d04-eca8f76fbd3c" providerId="ADAL" clId="{6BF22A83-B45F-4C2E-919F-A38CCDC27124}" dt="2021-10-29T07:36:11.439" v="5302" actId="1076"/>
          <ac:spMkLst>
            <pc:docMk/>
            <pc:sldMk cId="1427060495" sldId="1131"/>
            <ac:spMk id="44" creationId="{D09B40CA-6044-4ACD-A9EA-82FD4499E1D4}"/>
          </ac:spMkLst>
        </pc:spChg>
        <pc:spChg chg="mod">
          <ac:chgData name="Dennis Hendriks - DHFS" userId="ceacf04f-0b47-4d6f-9d04-eca8f76fbd3c" providerId="ADAL" clId="{6BF22A83-B45F-4C2E-919F-A38CCDC27124}" dt="2021-10-29T07:36:11.439" v="5302" actId="1076"/>
          <ac:spMkLst>
            <pc:docMk/>
            <pc:sldMk cId="1427060495" sldId="1131"/>
            <ac:spMk id="48" creationId="{22201F23-6F2E-4CB5-A1C4-346383E9781B}"/>
          </ac:spMkLst>
        </pc:spChg>
        <pc:spChg chg="mod">
          <ac:chgData name="Dennis Hendriks - DHFS" userId="ceacf04f-0b47-4d6f-9d04-eca8f76fbd3c" providerId="ADAL" clId="{6BF22A83-B45F-4C2E-919F-A38CCDC27124}" dt="2021-10-29T07:36:11.439" v="5302" actId="1076"/>
          <ac:spMkLst>
            <pc:docMk/>
            <pc:sldMk cId="1427060495" sldId="1131"/>
            <ac:spMk id="51" creationId="{4B6049C7-82AA-42CF-BF80-FA79D9DAEBC6}"/>
          </ac:spMkLst>
        </pc:spChg>
        <pc:spChg chg="mod">
          <ac:chgData name="Dennis Hendriks - DHFS" userId="ceacf04f-0b47-4d6f-9d04-eca8f76fbd3c" providerId="ADAL" clId="{6BF22A83-B45F-4C2E-919F-A38CCDC27124}" dt="2021-10-29T07:36:11.439" v="5302" actId="1076"/>
          <ac:spMkLst>
            <pc:docMk/>
            <pc:sldMk cId="1427060495" sldId="1131"/>
            <ac:spMk id="52" creationId="{73BBA3FF-AE2E-4BFE-9A85-22A323F0396A}"/>
          </ac:spMkLst>
        </pc:spChg>
        <pc:spChg chg="mod">
          <ac:chgData name="Dennis Hendriks - DHFS" userId="ceacf04f-0b47-4d6f-9d04-eca8f76fbd3c" providerId="ADAL" clId="{6BF22A83-B45F-4C2E-919F-A38CCDC27124}" dt="2021-10-29T07:36:11.439" v="5302" actId="1076"/>
          <ac:spMkLst>
            <pc:docMk/>
            <pc:sldMk cId="1427060495" sldId="1131"/>
            <ac:spMk id="69" creationId="{201BC61E-97AA-4D42-AF4D-975BC2BB1F72}"/>
          </ac:spMkLst>
        </pc:spChg>
        <pc:spChg chg="mod">
          <ac:chgData name="Dennis Hendriks - DHFS" userId="ceacf04f-0b47-4d6f-9d04-eca8f76fbd3c" providerId="ADAL" clId="{6BF22A83-B45F-4C2E-919F-A38CCDC27124}" dt="2021-10-29T07:36:11.439" v="5302" actId="1076"/>
          <ac:spMkLst>
            <pc:docMk/>
            <pc:sldMk cId="1427060495" sldId="1131"/>
            <ac:spMk id="70" creationId="{515C1C0B-657F-4F9E-AB96-4300E5D2ECEB}"/>
          </ac:spMkLst>
        </pc:spChg>
        <pc:spChg chg="mod">
          <ac:chgData name="Dennis Hendriks - DHFS" userId="ceacf04f-0b47-4d6f-9d04-eca8f76fbd3c" providerId="ADAL" clId="{6BF22A83-B45F-4C2E-919F-A38CCDC27124}" dt="2021-10-29T07:36:11.439" v="5302" actId="1076"/>
          <ac:spMkLst>
            <pc:docMk/>
            <pc:sldMk cId="1427060495" sldId="1131"/>
            <ac:spMk id="72" creationId="{F12E277E-99DA-4122-9432-6794C26CA632}"/>
          </ac:spMkLst>
        </pc:spChg>
        <pc:spChg chg="mod">
          <ac:chgData name="Dennis Hendriks - DHFS" userId="ceacf04f-0b47-4d6f-9d04-eca8f76fbd3c" providerId="ADAL" clId="{6BF22A83-B45F-4C2E-919F-A38CCDC27124}" dt="2021-10-29T07:36:11.439" v="5302" actId="1076"/>
          <ac:spMkLst>
            <pc:docMk/>
            <pc:sldMk cId="1427060495" sldId="1131"/>
            <ac:spMk id="73" creationId="{B21B4C7E-DD0F-4B3C-9DEA-BA4920A2E303}"/>
          </ac:spMkLst>
        </pc:spChg>
        <pc:cxnChg chg="mod">
          <ac:chgData name="Dennis Hendriks - DHFS" userId="ceacf04f-0b47-4d6f-9d04-eca8f76fbd3c" providerId="ADAL" clId="{6BF22A83-B45F-4C2E-919F-A38CCDC27124}" dt="2021-10-29T07:36:11.439" v="5302" actId="1076"/>
          <ac:cxnSpMkLst>
            <pc:docMk/>
            <pc:sldMk cId="1427060495" sldId="1131"/>
            <ac:cxnSpMk id="45" creationId="{2416E472-A02E-4E68-8570-140B6A59F24C}"/>
          </ac:cxnSpMkLst>
        </pc:cxnChg>
        <pc:cxnChg chg="mod">
          <ac:chgData name="Dennis Hendriks - DHFS" userId="ceacf04f-0b47-4d6f-9d04-eca8f76fbd3c" providerId="ADAL" clId="{6BF22A83-B45F-4C2E-919F-A38CCDC27124}" dt="2021-10-29T07:36:11.439" v="5302" actId="1076"/>
          <ac:cxnSpMkLst>
            <pc:docMk/>
            <pc:sldMk cId="1427060495" sldId="1131"/>
            <ac:cxnSpMk id="46" creationId="{A933A11A-AD83-4BCC-AB31-B53C9D875085}"/>
          </ac:cxnSpMkLst>
        </pc:cxnChg>
        <pc:cxnChg chg="mod">
          <ac:chgData name="Dennis Hendriks - DHFS" userId="ceacf04f-0b47-4d6f-9d04-eca8f76fbd3c" providerId="ADAL" clId="{6BF22A83-B45F-4C2E-919F-A38CCDC27124}" dt="2021-10-29T07:36:11.439" v="5302" actId="1076"/>
          <ac:cxnSpMkLst>
            <pc:docMk/>
            <pc:sldMk cId="1427060495" sldId="1131"/>
            <ac:cxnSpMk id="47" creationId="{E2680C48-651B-4100-89FC-163340B23753}"/>
          </ac:cxnSpMkLst>
        </pc:cxnChg>
        <pc:cxnChg chg="mod">
          <ac:chgData name="Dennis Hendriks - DHFS" userId="ceacf04f-0b47-4d6f-9d04-eca8f76fbd3c" providerId="ADAL" clId="{6BF22A83-B45F-4C2E-919F-A38CCDC27124}" dt="2021-10-29T07:36:11.439" v="5302" actId="1076"/>
          <ac:cxnSpMkLst>
            <pc:docMk/>
            <pc:sldMk cId="1427060495" sldId="1131"/>
            <ac:cxnSpMk id="49" creationId="{CE9F1B6D-FACA-469D-85A2-CFA82BC203E0}"/>
          </ac:cxnSpMkLst>
        </pc:cxnChg>
        <pc:cxnChg chg="mod">
          <ac:chgData name="Dennis Hendriks - DHFS" userId="ceacf04f-0b47-4d6f-9d04-eca8f76fbd3c" providerId="ADAL" clId="{6BF22A83-B45F-4C2E-919F-A38CCDC27124}" dt="2021-10-29T07:36:11.439" v="5302" actId="1076"/>
          <ac:cxnSpMkLst>
            <pc:docMk/>
            <pc:sldMk cId="1427060495" sldId="1131"/>
            <ac:cxnSpMk id="50" creationId="{25A39B9B-1AD3-485D-A4B5-7FADAF7DF79E}"/>
          </ac:cxnSpMkLst>
        </pc:cxnChg>
        <pc:cxnChg chg="mod">
          <ac:chgData name="Dennis Hendriks - DHFS" userId="ceacf04f-0b47-4d6f-9d04-eca8f76fbd3c" providerId="ADAL" clId="{6BF22A83-B45F-4C2E-919F-A38CCDC27124}" dt="2021-10-29T07:36:11.439" v="5302" actId="1076"/>
          <ac:cxnSpMkLst>
            <pc:docMk/>
            <pc:sldMk cId="1427060495" sldId="1131"/>
            <ac:cxnSpMk id="53" creationId="{630ED970-7CAE-4CC8-9567-445BC52E2E32}"/>
          </ac:cxnSpMkLst>
        </pc:cxnChg>
      </pc:sldChg>
      <pc:sldChg chg="addSp delSp modSp add mod">
        <pc:chgData name="Dennis Hendriks - DHFS" userId="ceacf04f-0b47-4d6f-9d04-eca8f76fbd3c" providerId="ADAL" clId="{6BF22A83-B45F-4C2E-919F-A38CCDC27124}" dt="2021-11-01T13:57:09.235" v="5557" actId="207"/>
        <pc:sldMkLst>
          <pc:docMk/>
          <pc:sldMk cId="3651997170" sldId="1132"/>
        </pc:sldMkLst>
        <pc:spChg chg="mod">
          <ac:chgData name="Dennis Hendriks - DHFS" userId="ceacf04f-0b47-4d6f-9d04-eca8f76fbd3c" providerId="ADAL" clId="{6BF22A83-B45F-4C2E-919F-A38CCDC27124}" dt="2021-10-28T12:19:01.222" v="4551" actId="20577"/>
          <ac:spMkLst>
            <pc:docMk/>
            <pc:sldMk cId="3651997170" sldId="1132"/>
            <ac:spMk id="2" creationId="{53CB77FA-CF1B-4B0E-A304-10CE6620EE56}"/>
          </ac:spMkLst>
        </pc:spChg>
        <pc:spChg chg="del mod">
          <ac:chgData name="Dennis Hendriks - DHFS" userId="ceacf04f-0b47-4d6f-9d04-eca8f76fbd3c" providerId="ADAL" clId="{6BF22A83-B45F-4C2E-919F-A38CCDC27124}" dt="2021-10-28T12:17:29.709" v="4522" actId="478"/>
          <ac:spMkLst>
            <pc:docMk/>
            <pc:sldMk cId="3651997170" sldId="1132"/>
            <ac:spMk id="37" creationId="{0C3D9C00-45EA-4A7F-9B7B-26C520EA8F4D}"/>
          </ac:spMkLst>
        </pc:spChg>
        <pc:spChg chg="del">
          <ac:chgData name="Dennis Hendriks - DHFS" userId="ceacf04f-0b47-4d6f-9d04-eca8f76fbd3c" providerId="ADAL" clId="{6BF22A83-B45F-4C2E-919F-A38CCDC27124}" dt="2021-10-28T12:10:41.204" v="4407" actId="478"/>
          <ac:spMkLst>
            <pc:docMk/>
            <pc:sldMk cId="3651997170" sldId="1132"/>
            <ac:spMk id="48" creationId="{06C1EECC-B112-48D5-9ED0-0C95780BD11B}"/>
          </ac:spMkLst>
        </pc:spChg>
        <pc:spChg chg="del mod">
          <ac:chgData name="Dennis Hendriks - DHFS" userId="ceacf04f-0b47-4d6f-9d04-eca8f76fbd3c" providerId="ADAL" clId="{6BF22A83-B45F-4C2E-919F-A38CCDC27124}" dt="2021-11-01T13:56:20.457" v="5546" actId="478"/>
          <ac:spMkLst>
            <pc:docMk/>
            <pc:sldMk cId="3651997170" sldId="1132"/>
            <ac:spMk id="48" creationId="{75F4A9C0-8FB5-4ABF-A5A3-D37BA08F4E68}"/>
          </ac:spMkLst>
        </pc:spChg>
        <pc:spChg chg="add del mod">
          <ac:chgData name="Dennis Hendriks - DHFS" userId="ceacf04f-0b47-4d6f-9d04-eca8f76fbd3c" providerId="ADAL" clId="{6BF22A83-B45F-4C2E-919F-A38CCDC27124}" dt="2021-10-28T12:09:30.659" v="4382" actId="478"/>
          <ac:spMkLst>
            <pc:docMk/>
            <pc:sldMk cId="3651997170" sldId="1132"/>
            <ac:spMk id="49" creationId="{56EFF498-2F40-4147-A87A-199B132F177F}"/>
          </ac:spMkLst>
        </pc:spChg>
        <pc:spChg chg="add mod">
          <ac:chgData name="Dennis Hendriks - DHFS" userId="ceacf04f-0b47-4d6f-9d04-eca8f76fbd3c" providerId="ADAL" clId="{6BF22A83-B45F-4C2E-919F-A38CCDC27124}" dt="2021-10-28T12:09:45.361" v="4386" actId="206"/>
          <ac:spMkLst>
            <pc:docMk/>
            <pc:sldMk cId="3651997170" sldId="1132"/>
            <ac:spMk id="52" creationId="{DABB80B5-58DF-4E21-A55A-930CF537A594}"/>
          </ac:spMkLst>
        </pc:spChg>
        <pc:spChg chg="add mod">
          <ac:chgData name="Dennis Hendriks - DHFS" userId="ceacf04f-0b47-4d6f-9d04-eca8f76fbd3c" providerId="ADAL" clId="{6BF22A83-B45F-4C2E-919F-A38CCDC27124}" dt="2021-10-28T12:10:41.332" v="4408"/>
          <ac:spMkLst>
            <pc:docMk/>
            <pc:sldMk cId="3651997170" sldId="1132"/>
            <ac:spMk id="53" creationId="{06FCA9C0-B7FD-464B-9152-09031327F9E9}"/>
          </ac:spMkLst>
        </pc:spChg>
        <pc:spChg chg="add mod">
          <ac:chgData name="Dennis Hendriks - DHFS" userId="ceacf04f-0b47-4d6f-9d04-eca8f76fbd3c" providerId="ADAL" clId="{6BF22A83-B45F-4C2E-919F-A38CCDC27124}" dt="2021-10-28T12:10:41.332" v="4408"/>
          <ac:spMkLst>
            <pc:docMk/>
            <pc:sldMk cId="3651997170" sldId="1132"/>
            <ac:spMk id="54" creationId="{4EF85206-5472-41CA-9B92-A034330D9058}"/>
          </ac:spMkLst>
        </pc:spChg>
        <pc:spChg chg="add mod">
          <ac:chgData name="Dennis Hendriks - DHFS" userId="ceacf04f-0b47-4d6f-9d04-eca8f76fbd3c" providerId="ADAL" clId="{6BF22A83-B45F-4C2E-919F-A38CCDC27124}" dt="2021-10-28T12:10:41.332" v="4408"/>
          <ac:spMkLst>
            <pc:docMk/>
            <pc:sldMk cId="3651997170" sldId="1132"/>
            <ac:spMk id="57" creationId="{D93FFF89-BDDC-4A64-8EF3-DC1EAC603AA8}"/>
          </ac:spMkLst>
        </pc:spChg>
        <pc:spChg chg="add mod">
          <ac:chgData name="Dennis Hendriks - DHFS" userId="ceacf04f-0b47-4d6f-9d04-eca8f76fbd3c" providerId="ADAL" clId="{6BF22A83-B45F-4C2E-919F-A38CCDC27124}" dt="2021-10-28T12:10:41.332" v="4408"/>
          <ac:spMkLst>
            <pc:docMk/>
            <pc:sldMk cId="3651997170" sldId="1132"/>
            <ac:spMk id="58" creationId="{57E2A6EF-D91F-44CC-80E8-B1B493B33446}"/>
          </ac:spMkLst>
        </pc:spChg>
        <pc:spChg chg="add mod">
          <ac:chgData name="Dennis Hendriks - DHFS" userId="ceacf04f-0b47-4d6f-9d04-eca8f76fbd3c" providerId="ADAL" clId="{6BF22A83-B45F-4C2E-919F-A38CCDC27124}" dt="2021-10-28T12:10:41.332" v="4408"/>
          <ac:spMkLst>
            <pc:docMk/>
            <pc:sldMk cId="3651997170" sldId="1132"/>
            <ac:spMk id="59" creationId="{28F9F4BD-9800-4885-8D0B-FCC9F9D95719}"/>
          </ac:spMkLst>
        </pc:spChg>
        <pc:spChg chg="mod">
          <ac:chgData name="Dennis Hendriks - DHFS" userId="ceacf04f-0b47-4d6f-9d04-eca8f76fbd3c" providerId="ADAL" clId="{6BF22A83-B45F-4C2E-919F-A38CCDC27124}" dt="2021-10-28T12:10:03.068" v="4387" actId="207"/>
          <ac:spMkLst>
            <pc:docMk/>
            <pc:sldMk cId="3651997170" sldId="1132"/>
            <ac:spMk id="63" creationId="{DF915FFD-8109-4FBB-9763-8B6420ADB77F}"/>
          </ac:spMkLst>
        </pc:spChg>
        <pc:spChg chg="mod">
          <ac:chgData name="Dennis Hendriks - DHFS" userId="ceacf04f-0b47-4d6f-9d04-eca8f76fbd3c" providerId="ADAL" clId="{6BF22A83-B45F-4C2E-919F-A38CCDC27124}" dt="2021-10-28T12:10:03.068" v="4387" actId="207"/>
          <ac:spMkLst>
            <pc:docMk/>
            <pc:sldMk cId="3651997170" sldId="1132"/>
            <ac:spMk id="65" creationId="{985E268E-89F2-4890-A211-E13DDFBEC8A9}"/>
          </ac:spMkLst>
        </pc:spChg>
        <pc:spChg chg="del mod">
          <ac:chgData name="Dennis Hendriks - DHFS" userId="ceacf04f-0b47-4d6f-9d04-eca8f76fbd3c" providerId="ADAL" clId="{6BF22A83-B45F-4C2E-919F-A38CCDC27124}" dt="2021-11-01T13:57:05.500" v="5555" actId="478"/>
          <ac:spMkLst>
            <pc:docMk/>
            <pc:sldMk cId="3651997170" sldId="1132"/>
            <ac:spMk id="68" creationId="{00F04202-0E8F-4857-B920-D304DE8A7A28}"/>
          </ac:spMkLst>
        </pc:spChg>
        <pc:spChg chg="mod">
          <ac:chgData name="Dennis Hendriks - DHFS" userId="ceacf04f-0b47-4d6f-9d04-eca8f76fbd3c" providerId="ADAL" clId="{6BF22A83-B45F-4C2E-919F-A38CCDC27124}" dt="2021-10-28T12:11:53.804" v="4422" actId="207"/>
          <ac:spMkLst>
            <pc:docMk/>
            <pc:sldMk cId="3651997170" sldId="1132"/>
            <ac:spMk id="71" creationId="{6722732D-1E0D-41EA-BD67-70018D3B3260}"/>
          </ac:spMkLst>
        </pc:spChg>
        <pc:spChg chg="add mod">
          <ac:chgData name="Dennis Hendriks - DHFS" userId="ceacf04f-0b47-4d6f-9d04-eca8f76fbd3c" providerId="ADAL" clId="{6BF22A83-B45F-4C2E-919F-A38CCDC27124}" dt="2021-10-28T12:10:41.332" v="4408"/>
          <ac:spMkLst>
            <pc:docMk/>
            <pc:sldMk cId="3651997170" sldId="1132"/>
            <ac:spMk id="74" creationId="{76D9E91C-8430-4E30-A9DA-1C0609B2C06F}"/>
          </ac:spMkLst>
        </pc:spChg>
        <pc:spChg chg="add mod">
          <ac:chgData name="Dennis Hendriks - DHFS" userId="ceacf04f-0b47-4d6f-9d04-eca8f76fbd3c" providerId="ADAL" clId="{6BF22A83-B45F-4C2E-919F-A38CCDC27124}" dt="2021-10-28T12:10:41.332" v="4408"/>
          <ac:spMkLst>
            <pc:docMk/>
            <pc:sldMk cId="3651997170" sldId="1132"/>
            <ac:spMk id="75" creationId="{CB808552-E440-4154-970D-B9613594517E}"/>
          </ac:spMkLst>
        </pc:spChg>
        <pc:spChg chg="add mod">
          <ac:chgData name="Dennis Hendriks - DHFS" userId="ceacf04f-0b47-4d6f-9d04-eca8f76fbd3c" providerId="ADAL" clId="{6BF22A83-B45F-4C2E-919F-A38CCDC27124}" dt="2021-10-28T12:11:46.083" v="4421" actId="206"/>
          <ac:spMkLst>
            <pc:docMk/>
            <pc:sldMk cId="3651997170" sldId="1132"/>
            <ac:spMk id="76" creationId="{C6BBCDBB-132E-4277-B700-6CB44066D326}"/>
          </ac:spMkLst>
        </pc:spChg>
        <pc:spChg chg="add mod">
          <ac:chgData name="Dennis Hendriks - DHFS" userId="ceacf04f-0b47-4d6f-9d04-eca8f76fbd3c" providerId="ADAL" clId="{6BF22A83-B45F-4C2E-919F-A38CCDC27124}" dt="2021-10-28T12:17:30.024" v="4523"/>
          <ac:spMkLst>
            <pc:docMk/>
            <pc:sldMk cId="3651997170" sldId="1132"/>
            <ac:spMk id="77" creationId="{52121A04-36AE-4551-906B-6F50A8017A9D}"/>
          </ac:spMkLst>
        </pc:spChg>
        <pc:spChg chg="del">
          <ac:chgData name="Dennis Hendriks - DHFS" userId="ceacf04f-0b47-4d6f-9d04-eca8f76fbd3c" providerId="ADAL" clId="{6BF22A83-B45F-4C2E-919F-A38CCDC27124}" dt="2021-10-28T12:10:41.204" v="4407" actId="478"/>
          <ac:spMkLst>
            <pc:docMk/>
            <pc:sldMk cId="3651997170" sldId="1132"/>
            <ac:spMk id="78" creationId="{66C9F92C-59D2-4A8B-AB42-17E51565D7B4}"/>
          </ac:spMkLst>
        </pc:spChg>
        <pc:spChg chg="add mod">
          <ac:chgData name="Dennis Hendriks - DHFS" userId="ceacf04f-0b47-4d6f-9d04-eca8f76fbd3c" providerId="ADAL" clId="{6BF22A83-B45F-4C2E-919F-A38CCDC27124}" dt="2021-11-01T13:56:41.971" v="5549" actId="108"/>
          <ac:spMkLst>
            <pc:docMk/>
            <pc:sldMk cId="3651997170" sldId="1132"/>
            <ac:spMk id="78" creationId="{848F7329-A57E-435E-8C57-659DB114C214}"/>
          </ac:spMkLst>
        </pc:spChg>
        <pc:spChg chg="add mod">
          <ac:chgData name="Dennis Hendriks - DHFS" userId="ceacf04f-0b47-4d6f-9d04-eca8f76fbd3c" providerId="ADAL" clId="{6BF22A83-B45F-4C2E-919F-A38CCDC27124}" dt="2021-11-01T13:56:44.258" v="5550" actId="108"/>
          <ac:spMkLst>
            <pc:docMk/>
            <pc:sldMk cId="3651997170" sldId="1132"/>
            <ac:spMk id="79" creationId="{3C16A6E7-2344-4945-835E-7EAE5223B747}"/>
          </ac:spMkLst>
        </pc:spChg>
        <pc:spChg chg="add mod">
          <ac:chgData name="Dennis Hendriks - DHFS" userId="ceacf04f-0b47-4d6f-9d04-eca8f76fbd3c" providerId="ADAL" clId="{6BF22A83-B45F-4C2E-919F-A38CCDC27124}" dt="2021-11-01T13:56:46.092" v="5551" actId="108"/>
          <ac:spMkLst>
            <pc:docMk/>
            <pc:sldMk cId="3651997170" sldId="1132"/>
            <ac:spMk id="81" creationId="{F699F2B1-2C0D-45F8-81D6-96C061C6A75D}"/>
          </ac:spMkLst>
        </pc:spChg>
        <pc:spChg chg="mod">
          <ac:chgData name="Dennis Hendriks - DHFS" userId="ceacf04f-0b47-4d6f-9d04-eca8f76fbd3c" providerId="ADAL" clId="{6BF22A83-B45F-4C2E-919F-A38CCDC27124}" dt="2021-10-28T12:11:58.454" v="4423" actId="207"/>
          <ac:spMkLst>
            <pc:docMk/>
            <pc:sldMk cId="3651997170" sldId="1132"/>
            <ac:spMk id="82" creationId="{42FA8E37-2FF8-4943-8D73-814D27980228}"/>
          </ac:spMkLst>
        </pc:spChg>
        <pc:spChg chg="add mod">
          <ac:chgData name="Dennis Hendriks - DHFS" userId="ceacf04f-0b47-4d6f-9d04-eca8f76fbd3c" providerId="ADAL" clId="{6BF22A83-B45F-4C2E-919F-A38CCDC27124}" dt="2021-11-01T13:57:09.235" v="5557" actId="207"/>
          <ac:spMkLst>
            <pc:docMk/>
            <pc:sldMk cId="3651997170" sldId="1132"/>
            <ac:spMk id="86" creationId="{4B51BA55-327A-4B23-9B80-3FABF3090DCA}"/>
          </ac:spMkLst>
        </pc:spChg>
        <pc:spChg chg="del">
          <ac:chgData name="Dennis Hendriks - DHFS" userId="ceacf04f-0b47-4d6f-9d04-eca8f76fbd3c" providerId="ADAL" clId="{6BF22A83-B45F-4C2E-919F-A38CCDC27124}" dt="2021-10-28T12:10:41.204" v="4407" actId="478"/>
          <ac:spMkLst>
            <pc:docMk/>
            <pc:sldMk cId="3651997170" sldId="1132"/>
            <ac:spMk id="86" creationId="{BDA79B10-6D19-4A62-B108-85D9E15EDD92}"/>
          </ac:spMkLst>
        </pc:spChg>
        <pc:spChg chg="del">
          <ac:chgData name="Dennis Hendriks - DHFS" userId="ceacf04f-0b47-4d6f-9d04-eca8f76fbd3c" providerId="ADAL" clId="{6BF22A83-B45F-4C2E-919F-A38CCDC27124}" dt="2021-10-28T12:10:41.204" v="4407" actId="478"/>
          <ac:spMkLst>
            <pc:docMk/>
            <pc:sldMk cId="3651997170" sldId="1132"/>
            <ac:spMk id="88" creationId="{1E530AF5-01A6-44C0-8846-A80D27BC4946}"/>
          </ac:spMkLst>
        </pc:spChg>
        <pc:spChg chg="mod">
          <ac:chgData name="Dennis Hendriks - DHFS" userId="ceacf04f-0b47-4d6f-9d04-eca8f76fbd3c" providerId="ADAL" clId="{6BF22A83-B45F-4C2E-919F-A38CCDC27124}" dt="2021-10-28T12:10:26.025" v="4404" actId="552"/>
          <ac:spMkLst>
            <pc:docMk/>
            <pc:sldMk cId="3651997170" sldId="1132"/>
            <ac:spMk id="89" creationId="{3331B022-BC52-4F96-87DC-5365E3D9ABEC}"/>
          </ac:spMkLst>
        </pc:spChg>
        <pc:spChg chg="mod">
          <ac:chgData name="Dennis Hendriks - DHFS" userId="ceacf04f-0b47-4d6f-9d04-eca8f76fbd3c" providerId="ADAL" clId="{6BF22A83-B45F-4C2E-919F-A38CCDC27124}" dt="2021-10-28T12:10:26.025" v="4404" actId="552"/>
          <ac:spMkLst>
            <pc:docMk/>
            <pc:sldMk cId="3651997170" sldId="1132"/>
            <ac:spMk id="90" creationId="{0086998F-F6D9-4DE7-B7D9-6CD318F891F2}"/>
          </ac:spMkLst>
        </pc:spChg>
        <pc:spChg chg="del">
          <ac:chgData name="Dennis Hendriks - DHFS" userId="ceacf04f-0b47-4d6f-9d04-eca8f76fbd3c" providerId="ADAL" clId="{6BF22A83-B45F-4C2E-919F-A38CCDC27124}" dt="2021-10-28T12:10:41.204" v="4407" actId="478"/>
          <ac:spMkLst>
            <pc:docMk/>
            <pc:sldMk cId="3651997170" sldId="1132"/>
            <ac:spMk id="100" creationId="{CD5C944F-6BE6-4A4F-A0DC-82CAEC6CFFA2}"/>
          </ac:spMkLst>
        </pc:spChg>
        <pc:spChg chg="del">
          <ac:chgData name="Dennis Hendriks - DHFS" userId="ceacf04f-0b47-4d6f-9d04-eca8f76fbd3c" providerId="ADAL" clId="{6BF22A83-B45F-4C2E-919F-A38CCDC27124}" dt="2021-10-28T12:14:43.796" v="4455" actId="478"/>
          <ac:spMkLst>
            <pc:docMk/>
            <pc:sldMk cId="3651997170" sldId="1132"/>
            <ac:spMk id="104" creationId="{61942A0E-B6B1-4A9C-94FB-8F027AD7E09F}"/>
          </ac:spMkLst>
        </pc:spChg>
        <pc:spChg chg="del">
          <ac:chgData name="Dennis Hendriks - DHFS" userId="ceacf04f-0b47-4d6f-9d04-eca8f76fbd3c" providerId="ADAL" clId="{6BF22A83-B45F-4C2E-919F-A38CCDC27124}" dt="2021-10-28T12:14:44.212" v="4456" actId="478"/>
          <ac:spMkLst>
            <pc:docMk/>
            <pc:sldMk cId="3651997170" sldId="1132"/>
            <ac:spMk id="105" creationId="{5DA478C2-2352-4B51-BC1D-6AF5D6986EA8}"/>
          </ac:spMkLst>
        </pc:spChg>
        <pc:cxnChg chg="add mod">
          <ac:chgData name="Dennis Hendriks - DHFS" userId="ceacf04f-0b47-4d6f-9d04-eca8f76fbd3c" providerId="ADAL" clId="{6BF22A83-B45F-4C2E-919F-A38CCDC27124}" dt="2021-11-01T13:56:51.146" v="5552" actId="108"/>
          <ac:cxnSpMkLst>
            <pc:docMk/>
            <pc:sldMk cId="3651997170" sldId="1132"/>
            <ac:cxnSpMk id="49" creationId="{8A8B409D-9642-4B38-997A-6B3162B19C90}"/>
          </ac:cxnSpMkLst>
        </pc:cxnChg>
        <pc:cxnChg chg="add mod">
          <ac:chgData name="Dennis Hendriks - DHFS" userId="ceacf04f-0b47-4d6f-9d04-eca8f76fbd3c" providerId="ADAL" clId="{6BF22A83-B45F-4C2E-919F-A38CCDC27124}" dt="2021-10-28T12:10:41.332" v="4408"/>
          <ac:cxnSpMkLst>
            <pc:docMk/>
            <pc:sldMk cId="3651997170" sldId="1132"/>
            <ac:cxnSpMk id="55" creationId="{3C7A4F45-51C8-4D2E-BB1E-B64A70C73494}"/>
          </ac:cxnSpMkLst>
        </pc:cxnChg>
        <pc:cxnChg chg="add mod">
          <ac:chgData name="Dennis Hendriks - DHFS" userId="ceacf04f-0b47-4d6f-9d04-eca8f76fbd3c" providerId="ADAL" clId="{6BF22A83-B45F-4C2E-919F-A38CCDC27124}" dt="2021-10-28T12:10:41.332" v="4408"/>
          <ac:cxnSpMkLst>
            <pc:docMk/>
            <pc:sldMk cId="3651997170" sldId="1132"/>
            <ac:cxnSpMk id="56" creationId="{02C0F8C0-5E37-4961-98E6-06099CC03B72}"/>
          </ac:cxnSpMkLst>
        </pc:cxnChg>
        <pc:cxnChg chg="add mod">
          <ac:chgData name="Dennis Hendriks - DHFS" userId="ceacf04f-0b47-4d6f-9d04-eca8f76fbd3c" providerId="ADAL" clId="{6BF22A83-B45F-4C2E-919F-A38CCDC27124}" dt="2021-10-28T12:10:41.332" v="4408"/>
          <ac:cxnSpMkLst>
            <pc:docMk/>
            <pc:sldMk cId="3651997170" sldId="1132"/>
            <ac:cxnSpMk id="62" creationId="{CE9336D4-2354-42EB-B6AE-BE88796E704F}"/>
          </ac:cxnSpMkLst>
        </pc:cxnChg>
        <pc:cxnChg chg="del mod">
          <ac:chgData name="Dennis Hendriks - DHFS" userId="ceacf04f-0b47-4d6f-9d04-eca8f76fbd3c" providerId="ADAL" clId="{6BF22A83-B45F-4C2E-919F-A38CCDC27124}" dt="2021-10-28T12:17:29.709" v="4522" actId="478"/>
          <ac:cxnSpMkLst>
            <pc:docMk/>
            <pc:sldMk cId="3651997170" sldId="1132"/>
            <ac:cxnSpMk id="67" creationId="{F5210CCF-B772-41E3-A209-6E984B97DC9E}"/>
          </ac:cxnSpMkLst>
        </pc:cxnChg>
        <pc:cxnChg chg="add mod">
          <ac:chgData name="Dennis Hendriks - DHFS" userId="ceacf04f-0b47-4d6f-9d04-eca8f76fbd3c" providerId="ADAL" clId="{6BF22A83-B45F-4C2E-919F-A38CCDC27124}" dt="2021-11-01T13:56:53.254" v="5553" actId="108"/>
          <ac:cxnSpMkLst>
            <pc:docMk/>
            <pc:sldMk cId="3651997170" sldId="1132"/>
            <ac:cxnSpMk id="67" creationId="{F6BA4EB1-5B9D-42DE-890E-1ECC3648B522}"/>
          </ac:cxnSpMkLst>
        </pc:cxnChg>
        <pc:cxnChg chg="add mod">
          <ac:chgData name="Dennis Hendriks - DHFS" userId="ceacf04f-0b47-4d6f-9d04-eca8f76fbd3c" providerId="ADAL" clId="{6BF22A83-B45F-4C2E-919F-A38CCDC27124}" dt="2021-10-28T12:10:41.332" v="4408"/>
          <ac:cxnSpMkLst>
            <pc:docMk/>
            <pc:sldMk cId="3651997170" sldId="1132"/>
            <ac:cxnSpMk id="69" creationId="{17EBA4B9-CADA-4002-A439-8525AA00603F}"/>
          </ac:cxnSpMkLst>
        </pc:cxnChg>
        <pc:cxnChg chg="add mod">
          <ac:chgData name="Dennis Hendriks - DHFS" userId="ceacf04f-0b47-4d6f-9d04-eca8f76fbd3c" providerId="ADAL" clId="{6BF22A83-B45F-4C2E-919F-A38CCDC27124}" dt="2021-11-01T13:56:55.492" v="5554" actId="108"/>
          <ac:cxnSpMkLst>
            <pc:docMk/>
            <pc:sldMk cId="3651997170" sldId="1132"/>
            <ac:cxnSpMk id="70" creationId="{1A19951D-F43E-4E5E-9B01-D812419ECA9E}"/>
          </ac:cxnSpMkLst>
        </pc:cxnChg>
        <pc:cxnChg chg="del mod">
          <ac:chgData name="Dennis Hendriks - DHFS" userId="ceacf04f-0b47-4d6f-9d04-eca8f76fbd3c" providerId="ADAL" clId="{6BF22A83-B45F-4C2E-919F-A38CCDC27124}" dt="2021-10-28T12:17:29.709" v="4522" actId="478"/>
          <ac:cxnSpMkLst>
            <pc:docMk/>
            <pc:sldMk cId="3651997170" sldId="1132"/>
            <ac:cxnSpMk id="70" creationId="{93190507-9112-4D2E-A29A-6D0EE224EAEF}"/>
          </ac:cxnSpMkLst>
        </pc:cxnChg>
        <pc:cxnChg chg="add mod">
          <ac:chgData name="Dennis Hendriks - DHFS" userId="ceacf04f-0b47-4d6f-9d04-eca8f76fbd3c" providerId="ADAL" clId="{6BF22A83-B45F-4C2E-919F-A38CCDC27124}" dt="2021-10-28T12:10:41.332" v="4408"/>
          <ac:cxnSpMkLst>
            <pc:docMk/>
            <pc:sldMk cId="3651997170" sldId="1132"/>
            <ac:cxnSpMk id="73" creationId="{D81DE5DC-A6B6-484F-BD37-7189616AF23A}"/>
          </ac:cxnSpMkLst>
        </pc:cxnChg>
        <pc:cxnChg chg="del mod">
          <ac:chgData name="Dennis Hendriks - DHFS" userId="ceacf04f-0b47-4d6f-9d04-eca8f76fbd3c" providerId="ADAL" clId="{6BF22A83-B45F-4C2E-919F-A38CCDC27124}" dt="2021-10-28T12:10:41.204" v="4407" actId="478"/>
          <ac:cxnSpMkLst>
            <pc:docMk/>
            <pc:sldMk cId="3651997170" sldId="1132"/>
            <ac:cxnSpMk id="79" creationId="{BC0E59D7-A251-4660-9C55-263FFE9B2021}"/>
          </ac:cxnSpMkLst>
        </pc:cxnChg>
        <pc:cxnChg chg="del mod">
          <ac:chgData name="Dennis Hendriks - DHFS" userId="ceacf04f-0b47-4d6f-9d04-eca8f76fbd3c" providerId="ADAL" clId="{6BF22A83-B45F-4C2E-919F-A38CCDC27124}" dt="2021-10-28T12:17:29.709" v="4522" actId="478"/>
          <ac:cxnSpMkLst>
            <pc:docMk/>
            <pc:sldMk cId="3651997170" sldId="1132"/>
            <ac:cxnSpMk id="81" creationId="{3C905AF5-794B-4A9B-9C6C-A5BDFCFA55A1}"/>
          </ac:cxnSpMkLst>
        </pc:cxnChg>
        <pc:cxnChg chg="add del mod">
          <ac:chgData name="Dennis Hendriks - DHFS" userId="ceacf04f-0b47-4d6f-9d04-eca8f76fbd3c" providerId="ADAL" clId="{6BF22A83-B45F-4C2E-919F-A38CCDC27124}" dt="2021-11-01T13:56:20.457" v="5546" actId="478"/>
          <ac:cxnSpMkLst>
            <pc:docMk/>
            <pc:sldMk cId="3651997170" sldId="1132"/>
            <ac:cxnSpMk id="87" creationId="{FF09A38E-11BF-4B23-9224-8966305F70FB}"/>
          </ac:cxnSpMkLst>
        </pc:cxnChg>
        <pc:cxnChg chg="add del mod">
          <ac:chgData name="Dennis Hendriks - DHFS" userId="ceacf04f-0b47-4d6f-9d04-eca8f76fbd3c" providerId="ADAL" clId="{6BF22A83-B45F-4C2E-919F-A38CCDC27124}" dt="2021-11-01T13:56:20.457" v="5546" actId="478"/>
          <ac:cxnSpMkLst>
            <pc:docMk/>
            <pc:sldMk cId="3651997170" sldId="1132"/>
            <ac:cxnSpMk id="91" creationId="{B11423C0-A17C-4F35-9018-863D39124E3D}"/>
          </ac:cxnSpMkLst>
        </pc:cxnChg>
        <pc:cxnChg chg="add del mod">
          <ac:chgData name="Dennis Hendriks - DHFS" userId="ceacf04f-0b47-4d6f-9d04-eca8f76fbd3c" providerId="ADAL" clId="{6BF22A83-B45F-4C2E-919F-A38CCDC27124}" dt="2021-11-01T13:56:20.457" v="5546" actId="478"/>
          <ac:cxnSpMkLst>
            <pc:docMk/>
            <pc:sldMk cId="3651997170" sldId="1132"/>
            <ac:cxnSpMk id="92" creationId="{497E9CB3-9BF4-4648-90C6-56FBD78FEC0F}"/>
          </ac:cxnSpMkLst>
        </pc:cxnChg>
        <pc:cxnChg chg="del mod">
          <ac:chgData name="Dennis Hendriks - DHFS" userId="ceacf04f-0b47-4d6f-9d04-eca8f76fbd3c" providerId="ADAL" clId="{6BF22A83-B45F-4C2E-919F-A38CCDC27124}" dt="2021-10-28T12:10:41.204" v="4407" actId="478"/>
          <ac:cxnSpMkLst>
            <pc:docMk/>
            <pc:sldMk cId="3651997170" sldId="1132"/>
            <ac:cxnSpMk id="101" creationId="{B2035DFE-F533-43EF-A860-06E05B86F9EE}"/>
          </ac:cxnSpMkLst>
        </pc:cxnChg>
        <pc:cxnChg chg="del mod">
          <ac:chgData name="Dennis Hendriks - DHFS" userId="ceacf04f-0b47-4d6f-9d04-eca8f76fbd3c" providerId="ADAL" clId="{6BF22A83-B45F-4C2E-919F-A38CCDC27124}" dt="2021-10-28T12:10:41.204" v="4407" actId="478"/>
          <ac:cxnSpMkLst>
            <pc:docMk/>
            <pc:sldMk cId="3651997170" sldId="1132"/>
            <ac:cxnSpMk id="102" creationId="{3059ACF2-0269-415B-9D3B-2A5EC30AC6AC}"/>
          </ac:cxnSpMkLst>
        </pc:cxnChg>
        <pc:cxnChg chg="del mod">
          <ac:chgData name="Dennis Hendriks - DHFS" userId="ceacf04f-0b47-4d6f-9d04-eca8f76fbd3c" providerId="ADAL" clId="{6BF22A83-B45F-4C2E-919F-A38CCDC27124}" dt="2021-10-28T12:10:41.204" v="4407" actId="478"/>
          <ac:cxnSpMkLst>
            <pc:docMk/>
            <pc:sldMk cId="3651997170" sldId="1132"/>
            <ac:cxnSpMk id="103" creationId="{CB823B45-FD42-4EE1-B426-B57F693F1BE5}"/>
          </ac:cxnSpMkLst>
        </pc:cxnChg>
      </pc:sldChg>
      <pc:sldChg chg="addSp delSp modSp add mod modAnim">
        <pc:chgData name="Dennis Hendriks - DHFS" userId="ceacf04f-0b47-4d6f-9d04-eca8f76fbd3c" providerId="ADAL" clId="{6BF22A83-B45F-4C2E-919F-A38CCDC27124}" dt="2021-11-01T13:56:02.079" v="5545" actId="1038"/>
        <pc:sldMkLst>
          <pc:docMk/>
          <pc:sldMk cId="1878737571" sldId="1133"/>
        </pc:sldMkLst>
        <pc:spChg chg="mod">
          <ac:chgData name="Dennis Hendriks - DHFS" userId="ceacf04f-0b47-4d6f-9d04-eca8f76fbd3c" providerId="ADAL" clId="{6BF22A83-B45F-4C2E-919F-A38CCDC27124}" dt="2021-10-28T12:22:08.390" v="4602" actId="20577"/>
          <ac:spMkLst>
            <pc:docMk/>
            <pc:sldMk cId="1878737571" sldId="1133"/>
            <ac:spMk id="2" creationId="{53CB77FA-CF1B-4B0E-A304-10CE6620EE56}"/>
          </ac:spMkLst>
        </pc:spChg>
        <pc:spChg chg="mod">
          <ac:chgData name="Dennis Hendriks - DHFS" userId="ceacf04f-0b47-4d6f-9d04-eca8f76fbd3c" providerId="ADAL" clId="{6BF22A83-B45F-4C2E-919F-A38CCDC27124}" dt="2021-10-28T12:16:58.199" v="4519" actId="1035"/>
          <ac:spMkLst>
            <pc:docMk/>
            <pc:sldMk cId="1878737571" sldId="1133"/>
            <ac:spMk id="37" creationId="{0C3D9C00-45EA-4A7F-9B7B-26C520EA8F4D}"/>
          </ac:spMkLst>
        </pc:spChg>
        <pc:spChg chg="del">
          <ac:chgData name="Dennis Hendriks - DHFS" userId="ceacf04f-0b47-4d6f-9d04-eca8f76fbd3c" providerId="ADAL" clId="{6BF22A83-B45F-4C2E-919F-A38CCDC27124}" dt="2021-10-28T12:22:10.548" v="4603" actId="478"/>
          <ac:spMkLst>
            <pc:docMk/>
            <pc:sldMk cId="1878737571" sldId="1133"/>
            <ac:spMk id="52" creationId="{DABB80B5-58DF-4E21-A55A-930CF537A594}"/>
          </ac:spMkLst>
        </pc:spChg>
        <pc:spChg chg="del">
          <ac:chgData name="Dennis Hendriks - DHFS" userId="ceacf04f-0b47-4d6f-9d04-eca8f76fbd3c" providerId="ADAL" clId="{6BF22A83-B45F-4C2E-919F-A38CCDC27124}" dt="2021-10-28T12:19:43.172" v="4574" actId="478"/>
          <ac:spMkLst>
            <pc:docMk/>
            <pc:sldMk cId="1878737571" sldId="1133"/>
            <ac:spMk id="53" creationId="{06FCA9C0-B7FD-464B-9152-09031327F9E9}"/>
          </ac:spMkLst>
        </pc:spChg>
        <pc:spChg chg="del">
          <ac:chgData name="Dennis Hendriks - DHFS" userId="ceacf04f-0b47-4d6f-9d04-eca8f76fbd3c" providerId="ADAL" clId="{6BF22A83-B45F-4C2E-919F-A38CCDC27124}" dt="2021-10-28T12:19:43.172" v="4574" actId="478"/>
          <ac:spMkLst>
            <pc:docMk/>
            <pc:sldMk cId="1878737571" sldId="1133"/>
            <ac:spMk id="54" creationId="{4EF85206-5472-41CA-9B92-A034330D9058}"/>
          </ac:spMkLst>
        </pc:spChg>
        <pc:spChg chg="del">
          <ac:chgData name="Dennis Hendriks - DHFS" userId="ceacf04f-0b47-4d6f-9d04-eca8f76fbd3c" providerId="ADAL" clId="{6BF22A83-B45F-4C2E-919F-A38CCDC27124}" dt="2021-10-28T12:19:43.172" v="4574" actId="478"/>
          <ac:spMkLst>
            <pc:docMk/>
            <pc:sldMk cId="1878737571" sldId="1133"/>
            <ac:spMk id="57" creationId="{D93FFF89-BDDC-4A64-8EF3-DC1EAC603AA8}"/>
          </ac:spMkLst>
        </pc:spChg>
        <pc:spChg chg="del">
          <ac:chgData name="Dennis Hendriks - DHFS" userId="ceacf04f-0b47-4d6f-9d04-eca8f76fbd3c" providerId="ADAL" clId="{6BF22A83-B45F-4C2E-919F-A38CCDC27124}" dt="2021-10-28T12:19:43.172" v="4574" actId="478"/>
          <ac:spMkLst>
            <pc:docMk/>
            <pc:sldMk cId="1878737571" sldId="1133"/>
            <ac:spMk id="58" creationId="{57E2A6EF-D91F-44CC-80E8-B1B493B33446}"/>
          </ac:spMkLst>
        </pc:spChg>
        <pc:spChg chg="del">
          <ac:chgData name="Dennis Hendriks - DHFS" userId="ceacf04f-0b47-4d6f-9d04-eca8f76fbd3c" providerId="ADAL" clId="{6BF22A83-B45F-4C2E-919F-A38CCDC27124}" dt="2021-10-28T12:19:43.172" v="4574" actId="478"/>
          <ac:spMkLst>
            <pc:docMk/>
            <pc:sldMk cId="1878737571" sldId="1133"/>
            <ac:spMk id="59" creationId="{28F9F4BD-9800-4885-8D0B-FCC9F9D95719}"/>
          </ac:spMkLst>
        </pc:spChg>
        <pc:spChg chg="mod">
          <ac:chgData name="Dennis Hendriks - DHFS" userId="ceacf04f-0b47-4d6f-9d04-eca8f76fbd3c" providerId="ADAL" clId="{6BF22A83-B45F-4C2E-919F-A38CCDC27124}" dt="2021-10-28T12:18:45.603" v="4550" actId="207"/>
          <ac:spMkLst>
            <pc:docMk/>
            <pc:sldMk cId="1878737571" sldId="1133"/>
            <ac:spMk id="63" creationId="{DF915FFD-8109-4FBB-9763-8B6420ADB77F}"/>
          </ac:spMkLst>
        </pc:spChg>
        <pc:spChg chg="mod">
          <ac:chgData name="Dennis Hendriks - DHFS" userId="ceacf04f-0b47-4d6f-9d04-eca8f76fbd3c" providerId="ADAL" clId="{6BF22A83-B45F-4C2E-919F-A38CCDC27124}" dt="2021-10-28T12:18:45.603" v="4550" actId="207"/>
          <ac:spMkLst>
            <pc:docMk/>
            <pc:sldMk cId="1878737571" sldId="1133"/>
            <ac:spMk id="65" creationId="{985E268E-89F2-4890-A211-E13DDFBEC8A9}"/>
          </ac:spMkLst>
        </pc:spChg>
        <pc:spChg chg="mod">
          <ac:chgData name="Dennis Hendriks - DHFS" userId="ceacf04f-0b47-4d6f-9d04-eca8f76fbd3c" providerId="ADAL" clId="{6BF22A83-B45F-4C2E-919F-A38CCDC27124}" dt="2021-11-01T13:56:02.079" v="5545" actId="1038"/>
          <ac:spMkLst>
            <pc:docMk/>
            <pc:sldMk cId="1878737571" sldId="1133"/>
            <ac:spMk id="68" creationId="{00F04202-0E8F-4857-B920-D304DE8A7A28}"/>
          </ac:spMkLst>
        </pc:spChg>
        <pc:spChg chg="mod">
          <ac:chgData name="Dennis Hendriks - DHFS" userId="ceacf04f-0b47-4d6f-9d04-eca8f76fbd3c" providerId="ADAL" clId="{6BF22A83-B45F-4C2E-919F-A38CCDC27124}" dt="2021-10-28T12:18:45.603" v="4550" actId="207"/>
          <ac:spMkLst>
            <pc:docMk/>
            <pc:sldMk cId="1878737571" sldId="1133"/>
            <ac:spMk id="71" creationId="{6722732D-1E0D-41EA-BD67-70018D3B3260}"/>
          </ac:spMkLst>
        </pc:spChg>
        <pc:spChg chg="del">
          <ac:chgData name="Dennis Hendriks - DHFS" userId="ceacf04f-0b47-4d6f-9d04-eca8f76fbd3c" providerId="ADAL" clId="{6BF22A83-B45F-4C2E-919F-A38CCDC27124}" dt="2021-10-28T12:19:43.172" v="4574" actId="478"/>
          <ac:spMkLst>
            <pc:docMk/>
            <pc:sldMk cId="1878737571" sldId="1133"/>
            <ac:spMk id="74" creationId="{76D9E91C-8430-4E30-A9DA-1C0609B2C06F}"/>
          </ac:spMkLst>
        </pc:spChg>
        <pc:spChg chg="del">
          <ac:chgData name="Dennis Hendriks - DHFS" userId="ceacf04f-0b47-4d6f-9d04-eca8f76fbd3c" providerId="ADAL" clId="{6BF22A83-B45F-4C2E-919F-A38CCDC27124}" dt="2021-10-28T12:22:11.198" v="4604" actId="478"/>
          <ac:spMkLst>
            <pc:docMk/>
            <pc:sldMk cId="1878737571" sldId="1133"/>
            <ac:spMk id="76" creationId="{C6BBCDBB-132E-4277-B700-6CB44066D326}"/>
          </ac:spMkLst>
        </pc:spChg>
        <pc:spChg chg="add mod">
          <ac:chgData name="Dennis Hendriks - DHFS" userId="ceacf04f-0b47-4d6f-9d04-eca8f76fbd3c" providerId="ADAL" clId="{6BF22A83-B45F-4C2E-919F-A38CCDC27124}" dt="2021-10-28T12:35:45.966" v="5010" actId="20577"/>
          <ac:spMkLst>
            <pc:docMk/>
            <pc:sldMk cId="1878737571" sldId="1133"/>
            <ac:spMk id="77" creationId="{4E7FA30F-2094-4A57-ABA1-75F3E9E9F452}"/>
          </ac:spMkLst>
        </pc:spChg>
        <pc:spChg chg="add mod">
          <ac:chgData name="Dennis Hendriks - DHFS" userId="ceacf04f-0b47-4d6f-9d04-eca8f76fbd3c" providerId="ADAL" clId="{6BF22A83-B45F-4C2E-919F-A38CCDC27124}" dt="2021-10-28T12:22:41.255" v="4606" actId="208"/>
          <ac:spMkLst>
            <pc:docMk/>
            <pc:sldMk cId="1878737571" sldId="1133"/>
            <ac:spMk id="78" creationId="{8C64E7AF-6159-41C2-986F-F6A1EBCF5068}"/>
          </ac:spMkLst>
        </pc:spChg>
        <pc:spChg chg="add mod">
          <ac:chgData name="Dennis Hendriks - DHFS" userId="ceacf04f-0b47-4d6f-9d04-eca8f76fbd3c" providerId="ADAL" clId="{6BF22A83-B45F-4C2E-919F-A38CCDC27124}" dt="2021-10-28T12:22:41.255" v="4606" actId="208"/>
          <ac:spMkLst>
            <pc:docMk/>
            <pc:sldMk cId="1878737571" sldId="1133"/>
            <ac:spMk id="79" creationId="{6B4A8220-9083-4DF5-9BF2-86374D5B1B72}"/>
          </ac:spMkLst>
        </pc:spChg>
        <pc:spChg chg="add mod">
          <ac:chgData name="Dennis Hendriks - DHFS" userId="ceacf04f-0b47-4d6f-9d04-eca8f76fbd3c" providerId="ADAL" clId="{6BF22A83-B45F-4C2E-919F-A38CCDC27124}" dt="2021-10-28T12:22:41.255" v="4606" actId="208"/>
          <ac:spMkLst>
            <pc:docMk/>
            <pc:sldMk cId="1878737571" sldId="1133"/>
            <ac:spMk id="86" creationId="{7BC44EA8-1B6A-4CF3-95EB-E7223F95AF96}"/>
          </ac:spMkLst>
        </pc:spChg>
        <pc:spChg chg="add mod">
          <ac:chgData name="Dennis Hendriks - DHFS" userId="ceacf04f-0b47-4d6f-9d04-eca8f76fbd3c" providerId="ADAL" clId="{6BF22A83-B45F-4C2E-919F-A38CCDC27124}" dt="2021-10-28T12:19:43.367" v="4575"/>
          <ac:spMkLst>
            <pc:docMk/>
            <pc:sldMk cId="1878737571" sldId="1133"/>
            <ac:spMk id="87" creationId="{F42F8525-DB4E-4215-AA89-F18D1330255F}"/>
          </ac:spMkLst>
        </pc:spChg>
        <pc:spChg chg="add mod">
          <ac:chgData name="Dennis Hendriks - DHFS" userId="ceacf04f-0b47-4d6f-9d04-eca8f76fbd3c" providerId="ADAL" clId="{6BF22A83-B45F-4C2E-919F-A38CCDC27124}" dt="2021-10-28T12:19:43.367" v="4575"/>
          <ac:spMkLst>
            <pc:docMk/>
            <pc:sldMk cId="1878737571" sldId="1133"/>
            <ac:spMk id="88" creationId="{2F673295-5C22-4423-B544-FB72217511F0}"/>
          </ac:spMkLst>
        </pc:spChg>
        <pc:spChg chg="add mod">
          <ac:chgData name="Dennis Hendriks - DHFS" userId="ceacf04f-0b47-4d6f-9d04-eca8f76fbd3c" providerId="ADAL" clId="{6BF22A83-B45F-4C2E-919F-A38CCDC27124}" dt="2021-10-28T12:19:43.367" v="4575"/>
          <ac:spMkLst>
            <pc:docMk/>
            <pc:sldMk cId="1878737571" sldId="1133"/>
            <ac:spMk id="91" creationId="{B685A8B2-9DFF-4D7D-933D-6EA4E34FCAFA}"/>
          </ac:spMkLst>
        </pc:spChg>
        <pc:spChg chg="add mod">
          <ac:chgData name="Dennis Hendriks - DHFS" userId="ceacf04f-0b47-4d6f-9d04-eca8f76fbd3c" providerId="ADAL" clId="{6BF22A83-B45F-4C2E-919F-A38CCDC27124}" dt="2021-10-28T12:19:43.367" v="4575"/>
          <ac:spMkLst>
            <pc:docMk/>
            <pc:sldMk cId="1878737571" sldId="1133"/>
            <ac:spMk id="96" creationId="{5EC07878-6973-4479-B344-DB81F1805F2A}"/>
          </ac:spMkLst>
        </pc:spChg>
        <pc:spChg chg="add mod">
          <ac:chgData name="Dennis Hendriks - DHFS" userId="ceacf04f-0b47-4d6f-9d04-eca8f76fbd3c" providerId="ADAL" clId="{6BF22A83-B45F-4C2E-919F-A38CCDC27124}" dt="2021-10-28T12:19:43.367" v="4575"/>
          <ac:spMkLst>
            <pc:docMk/>
            <pc:sldMk cId="1878737571" sldId="1133"/>
            <ac:spMk id="97" creationId="{CF5F6412-8D9E-4289-8299-1CCB41409C59}"/>
          </ac:spMkLst>
        </pc:spChg>
        <pc:spChg chg="add mod">
          <ac:chgData name="Dennis Hendriks - DHFS" userId="ceacf04f-0b47-4d6f-9d04-eca8f76fbd3c" providerId="ADAL" clId="{6BF22A83-B45F-4C2E-919F-A38CCDC27124}" dt="2021-10-28T12:19:43.367" v="4575"/>
          <ac:spMkLst>
            <pc:docMk/>
            <pc:sldMk cId="1878737571" sldId="1133"/>
            <ac:spMk id="98" creationId="{9294852A-9920-4AAB-BE60-1A70405C9F2A}"/>
          </ac:spMkLst>
        </pc:spChg>
        <pc:spChg chg="del">
          <ac:chgData name="Dennis Hendriks - DHFS" userId="ceacf04f-0b47-4d6f-9d04-eca8f76fbd3c" providerId="ADAL" clId="{6BF22A83-B45F-4C2E-919F-A38CCDC27124}" dt="2021-10-28T12:14:48.731" v="4458" actId="478"/>
          <ac:spMkLst>
            <pc:docMk/>
            <pc:sldMk cId="1878737571" sldId="1133"/>
            <ac:spMk id="104" creationId="{61942A0E-B6B1-4A9C-94FB-8F027AD7E09F}"/>
          </ac:spMkLst>
        </pc:spChg>
        <pc:spChg chg="del">
          <ac:chgData name="Dennis Hendriks - DHFS" userId="ceacf04f-0b47-4d6f-9d04-eca8f76fbd3c" providerId="ADAL" clId="{6BF22A83-B45F-4C2E-919F-A38CCDC27124}" dt="2021-10-28T12:14:48.316" v="4457" actId="478"/>
          <ac:spMkLst>
            <pc:docMk/>
            <pc:sldMk cId="1878737571" sldId="1133"/>
            <ac:spMk id="105" creationId="{5DA478C2-2352-4B51-BC1D-6AF5D6986EA8}"/>
          </ac:spMkLst>
        </pc:spChg>
        <pc:cxnChg chg="del mod">
          <ac:chgData name="Dennis Hendriks - DHFS" userId="ceacf04f-0b47-4d6f-9d04-eca8f76fbd3c" providerId="ADAL" clId="{6BF22A83-B45F-4C2E-919F-A38CCDC27124}" dt="2021-10-28T12:19:43.172" v="4574" actId="478"/>
          <ac:cxnSpMkLst>
            <pc:docMk/>
            <pc:sldMk cId="1878737571" sldId="1133"/>
            <ac:cxnSpMk id="55" creationId="{3C7A4F45-51C8-4D2E-BB1E-B64A70C73494}"/>
          </ac:cxnSpMkLst>
        </pc:cxnChg>
        <pc:cxnChg chg="del mod">
          <ac:chgData name="Dennis Hendriks - DHFS" userId="ceacf04f-0b47-4d6f-9d04-eca8f76fbd3c" providerId="ADAL" clId="{6BF22A83-B45F-4C2E-919F-A38CCDC27124}" dt="2021-10-28T12:19:43.172" v="4574" actId="478"/>
          <ac:cxnSpMkLst>
            <pc:docMk/>
            <pc:sldMk cId="1878737571" sldId="1133"/>
            <ac:cxnSpMk id="56" creationId="{02C0F8C0-5E37-4961-98E6-06099CC03B72}"/>
          </ac:cxnSpMkLst>
        </pc:cxnChg>
        <pc:cxnChg chg="del mod">
          <ac:chgData name="Dennis Hendriks - DHFS" userId="ceacf04f-0b47-4d6f-9d04-eca8f76fbd3c" providerId="ADAL" clId="{6BF22A83-B45F-4C2E-919F-A38CCDC27124}" dt="2021-10-28T12:19:43.172" v="4574" actId="478"/>
          <ac:cxnSpMkLst>
            <pc:docMk/>
            <pc:sldMk cId="1878737571" sldId="1133"/>
            <ac:cxnSpMk id="62" creationId="{CE9336D4-2354-42EB-B6AE-BE88796E704F}"/>
          </ac:cxnSpMkLst>
        </pc:cxnChg>
        <pc:cxnChg chg="mod">
          <ac:chgData name="Dennis Hendriks - DHFS" userId="ceacf04f-0b47-4d6f-9d04-eca8f76fbd3c" providerId="ADAL" clId="{6BF22A83-B45F-4C2E-919F-A38CCDC27124}" dt="2021-10-28T12:22:48.480" v="4607" actId="208"/>
          <ac:cxnSpMkLst>
            <pc:docMk/>
            <pc:sldMk cId="1878737571" sldId="1133"/>
            <ac:cxnSpMk id="67" creationId="{F5210CCF-B772-41E3-A209-6E984B97DC9E}"/>
          </ac:cxnSpMkLst>
        </pc:cxnChg>
        <pc:cxnChg chg="del mod">
          <ac:chgData name="Dennis Hendriks - DHFS" userId="ceacf04f-0b47-4d6f-9d04-eca8f76fbd3c" providerId="ADAL" clId="{6BF22A83-B45F-4C2E-919F-A38CCDC27124}" dt="2021-10-28T12:19:43.172" v="4574" actId="478"/>
          <ac:cxnSpMkLst>
            <pc:docMk/>
            <pc:sldMk cId="1878737571" sldId="1133"/>
            <ac:cxnSpMk id="69" creationId="{17EBA4B9-CADA-4002-A439-8525AA00603F}"/>
          </ac:cxnSpMkLst>
        </pc:cxnChg>
        <pc:cxnChg chg="mod">
          <ac:chgData name="Dennis Hendriks - DHFS" userId="ceacf04f-0b47-4d6f-9d04-eca8f76fbd3c" providerId="ADAL" clId="{6BF22A83-B45F-4C2E-919F-A38CCDC27124}" dt="2021-10-28T12:22:48.480" v="4607" actId="208"/>
          <ac:cxnSpMkLst>
            <pc:docMk/>
            <pc:sldMk cId="1878737571" sldId="1133"/>
            <ac:cxnSpMk id="70" creationId="{93190507-9112-4D2E-A29A-6D0EE224EAEF}"/>
          </ac:cxnSpMkLst>
        </pc:cxnChg>
        <pc:cxnChg chg="del mod">
          <ac:chgData name="Dennis Hendriks - DHFS" userId="ceacf04f-0b47-4d6f-9d04-eca8f76fbd3c" providerId="ADAL" clId="{6BF22A83-B45F-4C2E-919F-A38CCDC27124}" dt="2021-10-28T12:19:43.172" v="4574" actId="478"/>
          <ac:cxnSpMkLst>
            <pc:docMk/>
            <pc:sldMk cId="1878737571" sldId="1133"/>
            <ac:cxnSpMk id="73" creationId="{D81DE5DC-A6B6-484F-BD37-7189616AF23A}"/>
          </ac:cxnSpMkLst>
        </pc:cxnChg>
        <pc:cxnChg chg="mod">
          <ac:chgData name="Dennis Hendriks - DHFS" userId="ceacf04f-0b47-4d6f-9d04-eca8f76fbd3c" providerId="ADAL" clId="{6BF22A83-B45F-4C2E-919F-A38CCDC27124}" dt="2021-10-28T12:22:48.480" v="4607" actId="208"/>
          <ac:cxnSpMkLst>
            <pc:docMk/>
            <pc:sldMk cId="1878737571" sldId="1133"/>
            <ac:cxnSpMk id="81" creationId="{3C905AF5-794B-4A9B-9C6C-A5BDFCFA55A1}"/>
          </ac:cxnSpMkLst>
        </pc:cxnChg>
        <pc:cxnChg chg="add mod">
          <ac:chgData name="Dennis Hendriks - DHFS" userId="ceacf04f-0b47-4d6f-9d04-eca8f76fbd3c" providerId="ADAL" clId="{6BF22A83-B45F-4C2E-919F-A38CCDC27124}" dt="2021-10-28T12:19:43.367" v="4575"/>
          <ac:cxnSpMkLst>
            <pc:docMk/>
            <pc:sldMk cId="1878737571" sldId="1133"/>
            <ac:cxnSpMk id="92" creationId="{7540728D-8C06-4F55-85DA-876D86F0BA01}"/>
          </ac:cxnSpMkLst>
        </pc:cxnChg>
        <pc:cxnChg chg="add mod">
          <ac:chgData name="Dennis Hendriks - DHFS" userId="ceacf04f-0b47-4d6f-9d04-eca8f76fbd3c" providerId="ADAL" clId="{6BF22A83-B45F-4C2E-919F-A38CCDC27124}" dt="2021-10-28T12:19:43.367" v="4575"/>
          <ac:cxnSpMkLst>
            <pc:docMk/>
            <pc:sldMk cId="1878737571" sldId="1133"/>
            <ac:cxnSpMk id="93" creationId="{297FDD24-01F1-4744-9E3C-AFAFD88FE594}"/>
          </ac:cxnSpMkLst>
        </pc:cxnChg>
        <pc:cxnChg chg="add mod">
          <ac:chgData name="Dennis Hendriks - DHFS" userId="ceacf04f-0b47-4d6f-9d04-eca8f76fbd3c" providerId="ADAL" clId="{6BF22A83-B45F-4C2E-919F-A38CCDC27124}" dt="2021-10-28T12:19:43.367" v="4575"/>
          <ac:cxnSpMkLst>
            <pc:docMk/>
            <pc:sldMk cId="1878737571" sldId="1133"/>
            <ac:cxnSpMk id="94" creationId="{D1E596CD-1BC2-497C-8476-8824111484E4}"/>
          </ac:cxnSpMkLst>
        </pc:cxnChg>
        <pc:cxnChg chg="add mod">
          <ac:chgData name="Dennis Hendriks - DHFS" userId="ceacf04f-0b47-4d6f-9d04-eca8f76fbd3c" providerId="ADAL" clId="{6BF22A83-B45F-4C2E-919F-A38CCDC27124}" dt="2021-10-28T12:19:43.367" v="4575"/>
          <ac:cxnSpMkLst>
            <pc:docMk/>
            <pc:sldMk cId="1878737571" sldId="1133"/>
            <ac:cxnSpMk id="95" creationId="{1A7BCF97-CCE8-48FE-856D-AA592D68C698}"/>
          </ac:cxnSpMkLst>
        </pc:cxnChg>
      </pc:sldChg>
      <pc:sldChg chg="addSp delSp modSp add mod modAnim">
        <pc:chgData name="Dennis Hendriks - DHFS" userId="ceacf04f-0b47-4d6f-9d04-eca8f76fbd3c" providerId="ADAL" clId="{6BF22A83-B45F-4C2E-919F-A38CCDC27124}" dt="2021-11-01T13:58:20.087" v="5569" actId="208"/>
        <pc:sldMkLst>
          <pc:docMk/>
          <pc:sldMk cId="4271800236" sldId="1134"/>
        </pc:sldMkLst>
        <pc:spChg chg="mod">
          <ac:chgData name="Dennis Hendriks - DHFS" userId="ceacf04f-0b47-4d6f-9d04-eca8f76fbd3c" providerId="ADAL" clId="{6BF22A83-B45F-4C2E-919F-A38CCDC27124}" dt="2021-10-28T12:26:10.004" v="4657" actId="14100"/>
          <ac:spMkLst>
            <pc:docMk/>
            <pc:sldMk cId="4271800236" sldId="1134"/>
            <ac:spMk id="2" creationId="{53CB77FA-CF1B-4B0E-A304-10CE6620EE56}"/>
          </ac:spMkLst>
        </pc:spChg>
        <pc:spChg chg="add mod">
          <ac:chgData name="Dennis Hendriks - DHFS" userId="ceacf04f-0b47-4d6f-9d04-eca8f76fbd3c" providerId="ADAL" clId="{6BF22A83-B45F-4C2E-919F-A38CCDC27124}" dt="2021-11-01T13:57:48.785" v="5566"/>
          <ac:spMkLst>
            <pc:docMk/>
            <pc:sldMk cId="4271800236" sldId="1134"/>
            <ac:spMk id="52" creationId="{94D5B191-05FD-483B-852A-690FBF969EFF}"/>
          </ac:spMkLst>
        </pc:spChg>
        <pc:spChg chg="del">
          <ac:chgData name="Dennis Hendriks - DHFS" userId="ceacf04f-0b47-4d6f-9d04-eca8f76fbd3c" providerId="ADAL" clId="{6BF22A83-B45F-4C2E-919F-A38CCDC27124}" dt="2021-10-28T12:25:04.150" v="4617" actId="478"/>
          <ac:spMkLst>
            <pc:docMk/>
            <pc:sldMk cId="4271800236" sldId="1134"/>
            <ac:spMk id="52" creationId="{DABB80B5-58DF-4E21-A55A-930CF537A594}"/>
          </ac:spMkLst>
        </pc:spChg>
        <pc:spChg chg="del">
          <ac:chgData name="Dennis Hendriks - DHFS" userId="ceacf04f-0b47-4d6f-9d04-eca8f76fbd3c" providerId="ADAL" clId="{6BF22A83-B45F-4C2E-919F-A38CCDC27124}" dt="2021-11-01T13:57:48.644" v="5565" actId="478"/>
          <ac:spMkLst>
            <pc:docMk/>
            <pc:sldMk cId="4271800236" sldId="1134"/>
            <ac:spMk id="68" creationId="{00F04202-0E8F-4857-B920-D304DE8A7A28}"/>
          </ac:spMkLst>
        </pc:spChg>
        <pc:spChg chg="del">
          <ac:chgData name="Dennis Hendriks - DHFS" userId="ceacf04f-0b47-4d6f-9d04-eca8f76fbd3c" providerId="ADAL" clId="{6BF22A83-B45F-4C2E-919F-A38CCDC27124}" dt="2021-10-28T12:25:05.150" v="4618" actId="478"/>
          <ac:spMkLst>
            <pc:docMk/>
            <pc:sldMk cId="4271800236" sldId="1134"/>
            <ac:spMk id="76" creationId="{C6BBCDBB-132E-4277-B700-6CB44066D326}"/>
          </ac:spMkLst>
        </pc:spChg>
        <pc:spChg chg="mod">
          <ac:chgData name="Dennis Hendriks - DHFS" userId="ceacf04f-0b47-4d6f-9d04-eca8f76fbd3c" providerId="ADAL" clId="{6BF22A83-B45F-4C2E-919F-A38CCDC27124}" dt="2021-10-28T12:36:28.685" v="5046" actId="1076"/>
          <ac:spMkLst>
            <pc:docMk/>
            <pc:sldMk cId="4271800236" sldId="1134"/>
            <ac:spMk id="77" creationId="{4E7FA30F-2094-4A57-ABA1-75F3E9E9F452}"/>
          </ac:spMkLst>
        </pc:spChg>
        <pc:spChg chg="mod">
          <ac:chgData name="Dennis Hendriks - DHFS" userId="ceacf04f-0b47-4d6f-9d04-eca8f76fbd3c" providerId="ADAL" clId="{6BF22A83-B45F-4C2E-919F-A38CCDC27124}" dt="2021-11-01T13:58:05.870" v="5568" actId="207"/>
          <ac:spMkLst>
            <pc:docMk/>
            <pc:sldMk cId="4271800236" sldId="1134"/>
            <ac:spMk id="78" creationId="{8C64E7AF-6159-41C2-986F-F6A1EBCF5068}"/>
          </ac:spMkLst>
        </pc:spChg>
        <pc:spChg chg="mod">
          <ac:chgData name="Dennis Hendriks - DHFS" userId="ceacf04f-0b47-4d6f-9d04-eca8f76fbd3c" providerId="ADAL" clId="{6BF22A83-B45F-4C2E-919F-A38CCDC27124}" dt="2021-11-01T13:58:05.870" v="5568" actId="207"/>
          <ac:spMkLst>
            <pc:docMk/>
            <pc:sldMk cId="4271800236" sldId="1134"/>
            <ac:spMk id="79" creationId="{6B4A8220-9083-4DF5-9BF2-86374D5B1B72}"/>
          </ac:spMkLst>
        </pc:spChg>
        <pc:spChg chg="mod">
          <ac:chgData name="Dennis Hendriks - DHFS" userId="ceacf04f-0b47-4d6f-9d04-eca8f76fbd3c" providerId="ADAL" clId="{6BF22A83-B45F-4C2E-919F-A38CCDC27124}" dt="2021-11-01T13:58:05.870" v="5568" actId="207"/>
          <ac:spMkLst>
            <pc:docMk/>
            <pc:sldMk cId="4271800236" sldId="1134"/>
            <ac:spMk id="86" creationId="{7BC44EA8-1B6A-4CF3-95EB-E7223F95AF96}"/>
          </ac:spMkLst>
        </pc:spChg>
        <pc:cxnChg chg="add mod">
          <ac:chgData name="Dennis Hendriks - DHFS" userId="ceacf04f-0b47-4d6f-9d04-eca8f76fbd3c" providerId="ADAL" clId="{6BF22A83-B45F-4C2E-919F-A38CCDC27124}" dt="2021-10-28T12:27:10.335" v="4662" actId="208"/>
          <ac:cxnSpMkLst>
            <pc:docMk/>
            <pc:sldMk cId="4271800236" sldId="1134"/>
            <ac:cxnSpMk id="53" creationId="{931D85A9-D600-450D-94C8-46A02A2FC15B}"/>
          </ac:cxnSpMkLst>
        </pc:cxnChg>
        <pc:cxnChg chg="add mod">
          <ac:chgData name="Dennis Hendriks - DHFS" userId="ceacf04f-0b47-4d6f-9d04-eca8f76fbd3c" providerId="ADAL" clId="{6BF22A83-B45F-4C2E-919F-A38CCDC27124}" dt="2021-10-28T12:27:10.335" v="4662" actId="208"/>
          <ac:cxnSpMkLst>
            <pc:docMk/>
            <pc:sldMk cId="4271800236" sldId="1134"/>
            <ac:cxnSpMk id="54" creationId="{C0E28891-2580-431B-AF00-A0D56E58D07D}"/>
          </ac:cxnSpMkLst>
        </pc:cxnChg>
        <pc:cxnChg chg="mod">
          <ac:chgData name="Dennis Hendriks - DHFS" userId="ceacf04f-0b47-4d6f-9d04-eca8f76fbd3c" providerId="ADAL" clId="{6BF22A83-B45F-4C2E-919F-A38CCDC27124}" dt="2021-11-01T13:58:20.087" v="5569" actId="208"/>
          <ac:cxnSpMkLst>
            <pc:docMk/>
            <pc:sldMk cId="4271800236" sldId="1134"/>
            <ac:cxnSpMk id="67" creationId="{F5210CCF-B772-41E3-A209-6E984B97DC9E}"/>
          </ac:cxnSpMkLst>
        </pc:cxnChg>
        <pc:cxnChg chg="mod">
          <ac:chgData name="Dennis Hendriks - DHFS" userId="ceacf04f-0b47-4d6f-9d04-eca8f76fbd3c" providerId="ADAL" clId="{6BF22A83-B45F-4C2E-919F-A38CCDC27124}" dt="2021-11-01T13:58:20.087" v="5569" actId="208"/>
          <ac:cxnSpMkLst>
            <pc:docMk/>
            <pc:sldMk cId="4271800236" sldId="1134"/>
            <ac:cxnSpMk id="70" creationId="{93190507-9112-4D2E-A29A-6D0EE224EAEF}"/>
          </ac:cxnSpMkLst>
        </pc:cxnChg>
        <pc:cxnChg chg="mod">
          <ac:chgData name="Dennis Hendriks - DHFS" userId="ceacf04f-0b47-4d6f-9d04-eca8f76fbd3c" providerId="ADAL" clId="{6BF22A83-B45F-4C2E-919F-A38CCDC27124}" dt="2021-11-01T13:58:20.087" v="5569" actId="208"/>
          <ac:cxnSpMkLst>
            <pc:docMk/>
            <pc:sldMk cId="4271800236" sldId="1134"/>
            <ac:cxnSpMk id="81" creationId="{3C905AF5-794B-4A9B-9C6C-A5BDFCFA55A1}"/>
          </ac:cxnSpMkLst>
        </pc:cxnChg>
      </pc:sldChg>
      <pc:sldMasterChg chg="delSp mod modSldLayout">
        <pc:chgData name="Dennis Hendriks - DHFS" userId="ceacf04f-0b47-4d6f-9d04-eca8f76fbd3c" providerId="ADAL" clId="{6BF22A83-B45F-4C2E-919F-A38CCDC27124}" dt="2021-10-27T06:56:25.868" v="36" actId="21"/>
        <pc:sldMasterMkLst>
          <pc:docMk/>
          <pc:sldMasterMk cId="596944594" sldId="2147483667"/>
        </pc:sldMasterMkLst>
        <pc:picChg chg="del">
          <ac:chgData name="Dennis Hendriks - DHFS" userId="ceacf04f-0b47-4d6f-9d04-eca8f76fbd3c" providerId="ADAL" clId="{6BF22A83-B45F-4C2E-919F-A38CCDC27124}" dt="2021-10-27T06:56:25.868" v="36" actId="21"/>
          <ac:picMkLst>
            <pc:docMk/>
            <pc:sldMasterMk cId="596944594" sldId="2147483667"/>
            <ac:picMk id="11" creationId="{D759AA99-DC4D-4D76-83F1-FC5D9256671B}"/>
          </ac:picMkLst>
        </pc:picChg>
        <pc:sldLayoutChg chg="delSp mod">
          <pc:chgData name="Dennis Hendriks - DHFS" userId="ceacf04f-0b47-4d6f-9d04-eca8f76fbd3c" providerId="ADAL" clId="{6BF22A83-B45F-4C2E-919F-A38CCDC27124}" dt="2021-10-27T06:56:23.428" v="35" actId="478"/>
          <pc:sldLayoutMkLst>
            <pc:docMk/>
            <pc:sldMasterMk cId="596944594" sldId="2147483667"/>
            <pc:sldLayoutMk cId="0" sldId="2147483668"/>
          </pc:sldLayoutMkLst>
          <pc:picChg chg="del">
            <ac:chgData name="Dennis Hendriks - DHFS" userId="ceacf04f-0b47-4d6f-9d04-eca8f76fbd3c" providerId="ADAL" clId="{6BF22A83-B45F-4C2E-919F-A38CCDC27124}" dt="2021-10-27T06:56:23.428" v="35" actId="478"/>
            <ac:picMkLst>
              <pc:docMk/>
              <pc:sldMasterMk cId="596944594" sldId="2147483667"/>
              <pc:sldLayoutMk cId="0" sldId="2147483668"/>
              <ac:picMk id="6" creationId="{79EB0707-B582-4450-884A-40037F2DADEA}"/>
            </ac:picMkLst>
          </pc:picChg>
        </pc:sldLayoutChg>
      </pc:sldMasterChg>
    </pc:docChg>
  </pc:docChgLst>
  <pc:docChgLst>
    <pc:chgData name="Arjan van der Meer" userId="008f28a2-684e-4523-b3ca-dcb37d9c3e5d" providerId="ADAL" clId="{C3C0D317-475B-426A-8FE4-7C706DFBFC41}"/>
    <pc:docChg chg="undo custSel addSld delSld modSld sldOrd modMainMaster">
      <pc:chgData name="Arjan van der Meer" userId="008f28a2-684e-4523-b3ca-dcb37d9c3e5d" providerId="ADAL" clId="{C3C0D317-475B-426A-8FE4-7C706DFBFC41}" dt="2021-10-25T12:49:17.895" v="3852" actId="20577"/>
      <pc:docMkLst>
        <pc:docMk/>
      </pc:docMkLst>
      <pc:sldChg chg="modSp">
        <pc:chgData name="Arjan van der Meer" userId="008f28a2-684e-4523-b3ca-dcb37d9c3e5d" providerId="ADAL" clId="{C3C0D317-475B-426A-8FE4-7C706DFBFC41}" dt="2021-10-20T07:49:25.551" v="339"/>
        <pc:sldMkLst>
          <pc:docMk/>
          <pc:sldMk cId="1288819339" sldId="352"/>
        </pc:sldMkLst>
        <pc:spChg chg="mod">
          <ac:chgData name="Arjan van der Meer" userId="008f28a2-684e-4523-b3ca-dcb37d9c3e5d" providerId="ADAL" clId="{C3C0D317-475B-426A-8FE4-7C706DFBFC41}" dt="2021-10-20T07:49:25.551" v="339"/>
          <ac:spMkLst>
            <pc:docMk/>
            <pc:sldMk cId="1288819339" sldId="352"/>
            <ac:spMk id="8" creationId="{F3097622-C1C0-49DB-A38F-BD9450C26892}"/>
          </ac:spMkLst>
        </pc:spChg>
      </pc:sldChg>
      <pc:sldChg chg="modSp">
        <pc:chgData name="Arjan van der Meer" userId="008f28a2-684e-4523-b3ca-dcb37d9c3e5d" providerId="ADAL" clId="{C3C0D317-475B-426A-8FE4-7C706DFBFC41}" dt="2021-10-25T08:41:50.703" v="2585"/>
        <pc:sldMkLst>
          <pc:docMk/>
          <pc:sldMk cId="77635773" sldId="1022"/>
        </pc:sldMkLst>
        <pc:spChg chg="mod">
          <ac:chgData name="Arjan van der Meer" userId="008f28a2-684e-4523-b3ca-dcb37d9c3e5d" providerId="ADAL" clId="{C3C0D317-475B-426A-8FE4-7C706DFBFC41}" dt="2021-10-25T08:41:50.703" v="2585"/>
          <ac:spMkLst>
            <pc:docMk/>
            <pc:sldMk cId="77635773" sldId="1022"/>
            <ac:spMk id="2" creationId="{7F0D1080-4703-4F38-A90D-72ABD9987FA0}"/>
          </ac:spMkLst>
        </pc:spChg>
      </pc:sldChg>
      <pc:sldChg chg="modSp modNotesTx">
        <pc:chgData name="Arjan van der Meer" userId="008f28a2-684e-4523-b3ca-dcb37d9c3e5d" providerId="ADAL" clId="{C3C0D317-475B-426A-8FE4-7C706DFBFC41}" dt="2021-10-25T08:41:50.703" v="2585"/>
        <pc:sldMkLst>
          <pc:docMk/>
          <pc:sldMk cId="2771001521" sldId="1024"/>
        </pc:sldMkLst>
        <pc:spChg chg="mod">
          <ac:chgData name="Arjan van der Meer" userId="008f28a2-684e-4523-b3ca-dcb37d9c3e5d" providerId="ADAL" clId="{C3C0D317-475B-426A-8FE4-7C706DFBFC41}" dt="2021-10-25T08:41:50.703" v="2585"/>
          <ac:spMkLst>
            <pc:docMk/>
            <pc:sldMk cId="2771001521" sldId="1024"/>
            <ac:spMk id="2" creationId="{7F0D1080-4703-4F38-A90D-72ABD9987FA0}"/>
          </ac:spMkLst>
        </pc:spChg>
        <pc:spChg chg="mod">
          <ac:chgData name="Arjan van der Meer" userId="008f28a2-684e-4523-b3ca-dcb37d9c3e5d" providerId="ADAL" clId="{C3C0D317-475B-426A-8FE4-7C706DFBFC41}" dt="2021-10-20T07:49:25.551" v="339"/>
          <ac:spMkLst>
            <pc:docMk/>
            <pc:sldMk cId="2771001521" sldId="1024"/>
            <ac:spMk id="3" creationId="{EC7F1634-1182-41B6-82A9-B8B75FD01896}"/>
          </ac:spMkLst>
        </pc:spChg>
        <pc:spChg chg="mod">
          <ac:chgData name="Arjan van der Meer" userId="008f28a2-684e-4523-b3ca-dcb37d9c3e5d" providerId="ADAL" clId="{C3C0D317-475B-426A-8FE4-7C706DFBFC41}" dt="2021-10-20T07:49:25.551" v="339"/>
          <ac:spMkLst>
            <pc:docMk/>
            <pc:sldMk cId="2771001521" sldId="1024"/>
            <ac:spMk id="4" creationId="{4C0C364F-BFB4-4281-8534-0339E8EE35E7}"/>
          </ac:spMkLst>
        </pc:spChg>
      </pc:sldChg>
      <pc:sldChg chg="modSp mod modNotesTx">
        <pc:chgData name="Arjan van der Meer" userId="008f28a2-684e-4523-b3ca-dcb37d9c3e5d" providerId="ADAL" clId="{C3C0D317-475B-426A-8FE4-7C706DFBFC41}" dt="2021-10-25T08:50:19.492" v="2774" actId="114"/>
        <pc:sldMkLst>
          <pc:docMk/>
          <pc:sldMk cId="3438095514" sldId="1040"/>
        </pc:sldMkLst>
        <pc:spChg chg="mod">
          <ac:chgData name="Arjan van der Meer" userId="008f28a2-684e-4523-b3ca-dcb37d9c3e5d" providerId="ADAL" clId="{C3C0D317-475B-426A-8FE4-7C706DFBFC41}" dt="2021-10-25T08:41:50.703" v="2585"/>
          <ac:spMkLst>
            <pc:docMk/>
            <pc:sldMk cId="3438095514" sldId="1040"/>
            <ac:spMk id="2" creationId="{2AEBC816-FE4A-4DE3-9455-FC003C604A99}"/>
          </ac:spMkLst>
        </pc:spChg>
        <pc:spChg chg="mod">
          <ac:chgData name="Arjan van der Meer" userId="008f28a2-684e-4523-b3ca-dcb37d9c3e5d" providerId="ADAL" clId="{C3C0D317-475B-426A-8FE4-7C706DFBFC41}" dt="2021-10-20T07:49:25.551" v="339"/>
          <ac:spMkLst>
            <pc:docMk/>
            <pc:sldMk cId="3438095514" sldId="1040"/>
            <ac:spMk id="3" creationId="{D75C6250-1054-4220-884F-B7AED6BACAB0}"/>
          </ac:spMkLst>
        </pc:spChg>
        <pc:spChg chg="mod">
          <ac:chgData name="Arjan van der Meer" userId="008f28a2-684e-4523-b3ca-dcb37d9c3e5d" providerId="ADAL" clId="{C3C0D317-475B-426A-8FE4-7C706DFBFC41}" dt="2021-10-20T07:49:25.551" v="339"/>
          <ac:spMkLst>
            <pc:docMk/>
            <pc:sldMk cId="3438095514" sldId="1040"/>
            <ac:spMk id="4" creationId="{C9568B7C-0335-4195-97CC-112F1788B053}"/>
          </ac:spMkLst>
        </pc:spChg>
        <pc:spChg chg="mod">
          <ac:chgData name="Arjan van der Meer" userId="008f28a2-684e-4523-b3ca-dcb37d9c3e5d" providerId="ADAL" clId="{C3C0D317-475B-426A-8FE4-7C706DFBFC41}" dt="2021-10-25T08:47:38.002" v="2773" actId="20577"/>
          <ac:spMkLst>
            <pc:docMk/>
            <pc:sldMk cId="3438095514" sldId="1040"/>
            <ac:spMk id="5" creationId="{FCD37531-A61C-4471-9567-231E5E36593E}"/>
          </ac:spMkLst>
        </pc:spChg>
      </pc:sldChg>
      <pc:sldChg chg="modSp mod modTransition modNotesTx">
        <pc:chgData name="Arjan van der Meer" userId="008f28a2-684e-4523-b3ca-dcb37d9c3e5d" providerId="ADAL" clId="{C3C0D317-475B-426A-8FE4-7C706DFBFC41}" dt="2021-10-25T08:46:43.253" v="2752" actId="20577"/>
        <pc:sldMkLst>
          <pc:docMk/>
          <pc:sldMk cId="3312085732" sldId="1041"/>
        </pc:sldMkLst>
        <pc:spChg chg="mod">
          <ac:chgData name="Arjan van der Meer" userId="008f28a2-684e-4523-b3ca-dcb37d9c3e5d" providerId="ADAL" clId="{C3C0D317-475B-426A-8FE4-7C706DFBFC41}" dt="2021-10-25T08:41:50.703" v="2585"/>
          <ac:spMkLst>
            <pc:docMk/>
            <pc:sldMk cId="3312085732" sldId="1041"/>
            <ac:spMk id="2" creationId="{8D955C06-6CFE-4C3F-B233-9F3E14984A1F}"/>
          </ac:spMkLst>
        </pc:spChg>
        <pc:spChg chg="mod">
          <ac:chgData name="Arjan van der Meer" userId="008f28a2-684e-4523-b3ca-dcb37d9c3e5d" providerId="ADAL" clId="{C3C0D317-475B-426A-8FE4-7C706DFBFC41}" dt="2021-10-20T07:49:25.551" v="339"/>
          <ac:spMkLst>
            <pc:docMk/>
            <pc:sldMk cId="3312085732" sldId="1041"/>
            <ac:spMk id="3" creationId="{274FD4A2-76B1-44A7-AB61-9A320BFCF644}"/>
          </ac:spMkLst>
        </pc:spChg>
        <pc:spChg chg="mod">
          <ac:chgData name="Arjan van der Meer" userId="008f28a2-684e-4523-b3ca-dcb37d9c3e5d" providerId="ADAL" clId="{C3C0D317-475B-426A-8FE4-7C706DFBFC41}" dt="2021-10-20T07:49:25.551" v="339"/>
          <ac:spMkLst>
            <pc:docMk/>
            <pc:sldMk cId="3312085732" sldId="1041"/>
            <ac:spMk id="4" creationId="{9CF6974D-EF3C-4CD8-820D-1AB206BE5E5D}"/>
          </ac:spMkLst>
        </pc:spChg>
        <pc:spChg chg="mod">
          <ac:chgData name="Arjan van der Meer" userId="008f28a2-684e-4523-b3ca-dcb37d9c3e5d" providerId="ADAL" clId="{C3C0D317-475B-426A-8FE4-7C706DFBFC41}" dt="2021-10-25T08:46:43.253" v="2752" actId="20577"/>
          <ac:spMkLst>
            <pc:docMk/>
            <pc:sldMk cId="3312085732" sldId="1041"/>
            <ac:spMk id="5" creationId="{0605AAED-6A4F-46E6-ADEA-9460F6C56118}"/>
          </ac:spMkLst>
        </pc:spChg>
      </pc:sldChg>
      <pc:sldChg chg="modSp mod modNotesTx">
        <pc:chgData name="Arjan van der Meer" userId="008f28a2-684e-4523-b3ca-dcb37d9c3e5d" providerId="ADAL" clId="{C3C0D317-475B-426A-8FE4-7C706DFBFC41}" dt="2021-10-25T07:20:41.081" v="1942" actId="20577"/>
        <pc:sldMkLst>
          <pc:docMk/>
          <pc:sldMk cId="374053279" sldId="1047"/>
        </pc:sldMkLst>
        <pc:spChg chg="mod">
          <ac:chgData name="Arjan van der Meer" userId="008f28a2-684e-4523-b3ca-dcb37d9c3e5d" providerId="ADAL" clId="{C3C0D317-475B-426A-8FE4-7C706DFBFC41}" dt="2021-10-20T08:16:33.113" v="398" actId="20577"/>
          <ac:spMkLst>
            <pc:docMk/>
            <pc:sldMk cId="374053279" sldId="1047"/>
            <ac:spMk id="2" creationId="{0A911719-F6EE-4039-A3F1-59A51A2D41B1}"/>
          </ac:spMkLst>
        </pc:spChg>
        <pc:spChg chg="mod">
          <ac:chgData name="Arjan van der Meer" userId="008f28a2-684e-4523-b3ca-dcb37d9c3e5d" providerId="ADAL" clId="{C3C0D317-475B-426A-8FE4-7C706DFBFC41}" dt="2021-10-20T07:49:25.551" v="339"/>
          <ac:spMkLst>
            <pc:docMk/>
            <pc:sldMk cId="374053279" sldId="1047"/>
            <ac:spMk id="3" creationId="{E0E217D9-82ED-422F-8E53-FD47393C8E88}"/>
          </ac:spMkLst>
        </pc:spChg>
        <pc:spChg chg="mod">
          <ac:chgData name="Arjan van der Meer" userId="008f28a2-684e-4523-b3ca-dcb37d9c3e5d" providerId="ADAL" clId="{C3C0D317-475B-426A-8FE4-7C706DFBFC41}" dt="2021-10-20T07:49:25.551" v="339"/>
          <ac:spMkLst>
            <pc:docMk/>
            <pc:sldMk cId="374053279" sldId="1047"/>
            <ac:spMk id="4" creationId="{70229322-5048-4087-BACE-7442AE95F443}"/>
          </ac:spMkLst>
        </pc:spChg>
        <pc:spChg chg="mod">
          <ac:chgData name="Arjan van der Meer" userId="008f28a2-684e-4523-b3ca-dcb37d9c3e5d" providerId="ADAL" clId="{C3C0D317-475B-426A-8FE4-7C706DFBFC41}" dt="2021-10-20T07:49:25.551" v="339"/>
          <ac:spMkLst>
            <pc:docMk/>
            <pc:sldMk cId="374053279" sldId="1047"/>
            <ac:spMk id="5" creationId="{2DCD3033-093D-4E13-964A-11D69719E91D}"/>
          </ac:spMkLst>
        </pc:spChg>
        <pc:spChg chg="mod">
          <ac:chgData name="Arjan van der Meer" userId="008f28a2-684e-4523-b3ca-dcb37d9c3e5d" providerId="ADAL" clId="{C3C0D317-475B-426A-8FE4-7C706DFBFC41}" dt="2021-10-20T08:27:04.901" v="465" actId="20577"/>
          <ac:spMkLst>
            <pc:docMk/>
            <pc:sldMk cId="374053279" sldId="1047"/>
            <ac:spMk id="6" creationId="{8443B594-403E-4E93-8654-0D2C30416435}"/>
          </ac:spMkLst>
        </pc:spChg>
      </pc:sldChg>
      <pc:sldChg chg="modSp del">
        <pc:chgData name="Arjan van der Meer" userId="008f28a2-684e-4523-b3ca-dcb37d9c3e5d" providerId="ADAL" clId="{C3C0D317-475B-426A-8FE4-7C706DFBFC41}" dt="2021-10-20T08:15:51.479" v="391" actId="2696"/>
        <pc:sldMkLst>
          <pc:docMk/>
          <pc:sldMk cId="750721891" sldId="1049"/>
        </pc:sldMkLst>
        <pc:spChg chg="mod">
          <ac:chgData name="Arjan van der Meer" userId="008f28a2-684e-4523-b3ca-dcb37d9c3e5d" providerId="ADAL" clId="{C3C0D317-475B-426A-8FE4-7C706DFBFC41}" dt="2021-10-20T07:49:25.551" v="339"/>
          <ac:spMkLst>
            <pc:docMk/>
            <pc:sldMk cId="750721891" sldId="1049"/>
            <ac:spMk id="2" creationId="{7E839178-616E-4DFE-A60B-22C3AAF438E0}"/>
          </ac:spMkLst>
        </pc:spChg>
        <pc:spChg chg="mod">
          <ac:chgData name="Arjan van der Meer" userId="008f28a2-684e-4523-b3ca-dcb37d9c3e5d" providerId="ADAL" clId="{C3C0D317-475B-426A-8FE4-7C706DFBFC41}" dt="2021-10-20T07:49:25.551" v="339"/>
          <ac:spMkLst>
            <pc:docMk/>
            <pc:sldMk cId="750721891" sldId="1049"/>
            <ac:spMk id="3" creationId="{AD5B0B8D-A906-46C2-B14E-9A665A361731}"/>
          </ac:spMkLst>
        </pc:spChg>
        <pc:spChg chg="mod">
          <ac:chgData name="Arjan van der Meer" userId="008f28a2-684e-4523-b3ca-dcb37d9c3e5d" providerId="ADAL" clId="{C3C0D317-475B-426A-8FE4-7C706DFBFC41}" dt="2021-10-20T07:49:25.551" v="339"/>
          <ac:spMkLst>
            <pc:docMk/>
            <pc:sldMk cId="750721891" sldId="1049"/>
            <ac:spMk id="4" creationId="{44DB2007-2F27-465B-B4B6-D0E05A6CAFAC}"/>
          </ac:spMkLst>
        </pc:spChg>
        <pc:spChg chg="mod">
          <ac:chgData name="Arjan van der Meer" userId="008f28a2-684e-4523-b3ca-dcb37d9c3e5d" providerId="ADAL" clId="{C3C0D317-475B-426A-8FE4-7C706DFBFC41}" dt="2021-10-20T07:49:25.551" v="339"/>
          <ac:spMkLst>
            <pc:docMk/>
            <pc:sldMk cId="750721891" sldId="1049"/>
            <ac:spMk id="5" creationId="{F54AAD2D-EF4E-4DC4-899A-B3BE15403647}"/>
          </ac:spMkLst>
        </pc:spChg>
        <pc:spChg chg="mod">
          <ac:chgData name="Arjan van der Meer" userId="008f28a2-684e-4523-b3ca-dcb37d9c3e5d" providerId="ADAL" clId="{C3C0D317-475B-426A-8FE4-7C706DFBFC41}" dt="2021-10-20T07:49:25.551" v="339"/>
          <ac:spMkLst>
            <pc:docMk/>
            <pc:sldMk cId="750721891" sldId="1049"/>
            <ac:spMk id="6" creationId="{B896935E-D270-4DBD-9AD2-008200923DDD}"/>
          </ac:spMkLst>
        </pc:spChg>
      </pc:sldChg>
      <pc:sldChg chg="modSp del mod modNotesTx">
        <pc:chgData name="Arjan van der Meer" userId="008f28a2-684e-4523-b3ca-dcb37d9c3e5d" providerId="ADAL" clId="{C3C0D317-475B-426A-8FE4-7C706DFBFC41}" dt="2021-10-25T12:45:03.268" v="3773" actId="2696"/>
        <pc:sldMkLst>
          <pc:docMk/>
          <pc:sldMk cId="1235817020" sldId="1049"/>
        </pc:sldMkLst>
        <pc:spChg chg="mod">
          <ac:chgData name="Arjan van der Meer" userId="008f28a2-684e-4523-b3ca-dcb37d9c3e5d" providerId="ADAL" clId="{C3C0D317-475B-426A-8FE4-7C706DFBFC41}" dt="2021-10-20T08:16:09.549" v="394" actId="20577"/>
          <ac:spMkLst>
            <pc:docMk/>
            <pc:sldMk cId="1235817020" sldId="1049"/>
            <ac:spMk id="2" creationId="{7E839178-616E-4DFE-A60B-22C3AAF438E0}"/>
          </ac:spMkLst>
        </pc:spChg>
        <pc:spChg chg="mod">
          <ac:chgData name="Arjan van der Meer" userId="008f28a2-684e-4523-b3ca-dcb37d9c3e5d" providerId="ADAL" clId="{C3C0D317-475B-426A-8FE4-7C706DFBFC41}" dt="2021-10-25T11:41:18.990" v="3203" actId="20577"/>
          <ac:spMkLst>
            <pc:docMk/>
            <pc:sldMk cId="1235817020" sldId="1049"/>
            <ac:spMk id="6" creationId="{B896935E-D270-4DBD-9AD2-008200923DDD}"/>
          </ac:spMkLst>
        </pc:spChg>
      </pc:sldChg>
      <pc:sldChg chg="modSp mod">
        <pc:chgData name="Arjan van der Meer" userId="008f28a2-684e-4523-b3ca-dcb37d9c3e5d" providerId="ADAL" clId="{C3C0D317-475B-426A-8FE4-7C706DFBFC41}" dt="2021-10-25T12:45:18.058" v="3774" actId="20577"/>
        <pc:sldMkLst>
          <pc:docMk/>
          <pc:sldMk cId="1616559209" sldId="1049"/>
        </pc:sldMkLst>
        <pc:spChg chg="mod">
          <ac:chgData name="Arjan van der Meer" userId="008f28a2-684e-4523-b3ca-dcb37d9c3e5d" providerId="ADAL" clId="{C3C0D317-475B-426A-8FE4-7C706DFBFC41}" dt="2021-10-25T12:45:18.058" v="3774" actId="20577"/>
          <ac:spMkLst>
            <pc:docMk/>
            <pc:sldMk cId="1616559209" sldId="1049"/>
            <ac:spMk id="2" creationId="{7E839178-616E-4DFE-A60B-22C3AAF438E0}"/>
          </ac:spMkLst>
        </pc:spChg>
      </pc:sldChg>
      <pc:sldChg chg="modSp mod modNotesTx">
        <pc:chgData name="Arjan van der Meer" userId="008f28a2-684e-4523-b3ca-dcb37d9c3e5d" providerId="ADAL" clId="{C3C0D317-475B-426A-8FE4-7C706DFBFC41}" dt="2021-10-25T07:23:10.292" v="1995" actId="20577"/>
        <pc:sldMkLst>
          <pc:docMk/>
          <pc:sldMk cId="1154303861" sldId="1050"/>
        </pc:sldMkLst>
        <pc:spChg chg="mod">
          <ac:chgData name="Arjan van der Meer" userId="008f28a2-684e-4523-b3ca-dcb37d9c3e5d" providerId="ADAL" clId="{C3C0D317-475B-426A-8FE4-7C706DFBFC41}" dt="2021-10-20T09:07:15.363" v="745" actId="20577"/>
          <ac:spMkLst>
            <pc:docMk/>
            <pc:sldMk cId="1154303861" sldId="1050"/>
            <ac:spMk id="2" creationId="{087527A1-039F-4525-B42F-B1E05B958DCD}"/>
          </ac:spMkLst>
        </pc:spChg>
        <pc:spChg chg="mod">
          <ac:chgData name="Arjan van der Meer" userId="008f28a2-684e-4523-b3ca-dcb37d9c3e5d" providerId="ADAL" clId="{C3C0D317-475B-426A-8FE4-7C706DFBFC41}" dt="2021-10-20T07:49:25.551" v="339"/>
          <ac:spMkLst>
            <pc:docMk/>
            <pc:sldMk cId="1154303861" sldId="1050"/>
            <ac:spMk id="3" creationId="{B4B98E72-5E41-496B-AC2C-04A66BB6D901}"/>
          </ac:spMkLst>
        </pc:spChg>
        <pc:spChg chg="mod">
          <ac:chgData name="Arjan van der Meer" userId="008f28a2-684e-4523-b3ca-dcb37d9c3e5d" providerId="ADAL" clId="{C3C0D317-475B-426A-8FE4-7C706DFBFC41}" dt="2021-10-20T07:49:25.551" v="339"/>
          <ac:spMkLst>
            <pc:docMk/>
            <pc:sldMk cId="1154303861" sldId="1050"/>
            <ac:spMk id="4" creationId="{D71AE576-DECD-4340-9C04-33FC86CB3CB7}"/>
          </ac:spMkLst>
        </pc:spChg>
        <pc:spChg chg="mod">
          <ac:chgData name="Arjan van der Meer" userId="008f28a2-684e-4523-b3ca-dcb37d9c3e5d" providerId="ADAL" clId="{C3C0D317-475B-426A-8FE4-7C706DFBFC41}" dt="2021-10-20T07:49:25.551" v="339"/>
          <ac:spMkLst>
            <pc:docMk/>
            <pc:sldMk cId="1154303861" sldId="1050"/>
            <ac:spMk id="5" creationId="{C7527C59-1C9F-4F26-90D2-EA75C6DE5B1C}"/>
          </ac:spMkLst>
        </pc:spChg>
        <pc:spChg chg="mod">
          <ac:chgData name="Arjan van der Meer" userId="008f28a2-684e-4523-b3ca-dcb37d9c3e5d" providerId="ADAL" clId="{C3C0D317-475B-426A-8FE4-7C706DFBFC41}" dt="2021-10-25T07:23:10.292" v="1995" actId="20577"/>
          <ac:spMkLst>
            <pc:docMk/>
            <pc:sldMk cId="1154303861" sldId="1050"/>
            <ac:spMk id="6" creationId="{63CAB3D5-5AFC-48B3-AB4B-D3886C83AA0B}"/>
          </ac:spMkLst>
        </pc:spChg>
      </pc:sldChg>
      <pc:sldChg chg="addSp delSp modSp mod modNotesTx">
        <pc:chgData name="Arjan van der Meer" userId="008f28a2-684e-4523-b3ca-dcb37d9c3e5d" providerId="ADAL" clId="{C3C0D317-475B-426A-8FE4-7C706DFBFC41}" dt="2021-10-25T12:28:24.968" v="3651" actId="1076"/>
        <pc:sldMkLst>
          <pc:docMk/>
          <pc:sldMk cId="248328226" sldId="1051"/>
        </pc:sldMkLst>
        <pc:spChg chg="mod">
          <ac:chgData name="Arjan van der Meer" userId="008f28a2-684e-4523-b3ca-dcb37d9c3e5d" providerId="ADAL" clId="{C3C0D317-475B-426A-8FE4-7C706DFBFC41}" dt="2021-10-25T07:37:56.075" v="2401" actId="20577"/>
          <ac:spMkLst>
            <pc:docMk/>
            <pc:sldMk cId="248328226" sldId="1051"/>
            <ac:spMk id="2" creationId="{AD512730-BA7F-49C3-8EDD-9ED51298783B}"/>
          </ac:spMkLst>
        </pc:spChg>
        <pc:spChg chg="mod">
          <ac:chgData name="Arjan van der Meer" userId="008f28a2-684e-4523-b3ca-dcb37d9c3e5d" providerId="ADAL" clId="{C3C0D317-475B-426A-8FE4-7C706DFBFC41}" dt="2021-10-20T07:49:25.551" v="339"/>
          <ac:spMkLst>
            <pc:docMk/>
            <pc:sldMk cId="248328226" sldId="1051"/>
            <ac:spMk id="3" creationId="{4F88A779-01B7-4E26-B9B1-77027B0253E4}"/>
          </ac:spMkLst>
        </pc:spChg>
        <pc:spChg chg="mod">
          <ac:chgData name="Arjan van der Meer" userId="008f28a2-684e-4523-b3ca-dcb37d9c3e5d" providerId="ADAL" clId="{C3C0D317-475B-426A-8FE4-7C706DFBFC41}" dt="2021-10-20T07:49:25.551" v="339"/>
          <ac:spMkLst>
            <pc:docMk/>
            <pc:sldMk cId="248328226" sldId="1051"/>
            <ac:spMk id="4" creationId="{6AF8200E-2379-4FD6-971A-3E5157AF46C9}"/>
          </ac:spMkLst>
        </pc:spChg>
        <pc:spChg chg="mod">
          <ac:chgData name="Arjan van der Meer" userId="008f28a2-684e-4523-b3ca-dcb37d9c3e5d" providerId="ADAL" clId="{C3C0D317-475B-426A-8FE4-7C706DFBFC41}" dt="2021-10-20T07:49:25.551" v="339"/>
          <ac:spMkLst>
            <pc:docMk/>
            <pc:sldMk cId="248328226" sldId="1051"/>
            <ac:spMk id="5" creationId="{96754ED7-9E84-43A9-B72C-5CDB8C84482E}"/>
          </ac:spMkLst>
        </pc:spChg>
        <pc:spChg chg="mod">
          <ac:chgData name="Arjan van der Meer" userId="008f28a2-684e-4523-b3ca-dcb37d9c3e5d" providerId="ADAL" clId="{C3C0D317-475B-426A-8FE4-7C706DFBFC41}" dt="2021-10-25T12:15:40.381" v="3460" actId="554"/>
          <ac:spMkLst>
            <pc:docMk/>
            <pc:sldMk cId="248328226" sldId="1051"/>
            <ac:spMk id="6" creationId="{5FCAB3F2-C9E4-4074-934B-37E7613D4ABB}"/>
          </ac:spMkLst>
        </pc:spChg>
        <pc:spChg chg="mod">
          <ac:chgData name="Arjan van der Meer" userId="008f28a2-684e-4523-b3ca-dcb37d9c3e5d" providerId="ADAL" clId="{C3C0D317-475B-426A-8FE4-7C706DFBFC41}" dt="2021-10-25T12:15:40.381" v="3460" actId="554"/>
          <ac:spMkLst>
            <pc:docMk/>
            <pc:sldMk cId="248328226" sldId="1051"/>
            <ac:spMk id="7" creationId="{E5F2A22C-E0C3-4C4B-9FF3-BCBD6569068E}"/>
          </ac:spMkLst>
        </pc:spChg>
        <pc:spChg chg="mod">
          <ac:chgData name="Arjan van der Meer" userId="008f28a2-684e-4523-b3ca-dcb37d9c3e5d" providerId="ADAL" clId="{C3C0D317-475B-426A-8FE4-7C706DFBFC41}" dt="2021-10-25T12:15:40.381" v="3460" actId="554"/>
          <ac:spMkLst>
            <pc:docMk/>
            <pc:sldMk cId="248328226" sldId="1051"/>
            <ac:spMk id="9" creationId="{CC94035F-7676-4273-A0DB-AB1DDC3163F5}"/>
          </ac:spMkLst>
        </pc:spChg>
        <pc:spChg chg="mod">
          <ac:chgData name="Arjan van der Meer" userId="008f28a2-684e-4523-b3ca-dcb37d9c3e5d" providerId="ADAL" clId="{C3C0D317-475B-426A-8FE4-7C706DFBFC41}" dt="2021-10-25T12:15:40.381" v="3460" actId="554"/>
          <ac:spMkLst>
            <pc:docMk/>
            <pc:sldMk cId="248328226" sldId="1051"/>
            <ac:spMk id="10" creationId="{D863802D-021F-4854-A0F8-C744318C1AAD}"/>
          </ac:spMkLst>
        </pc:spChg>
        <pc:spChg chg="add del mod">
          <ac:chgData name="Arjan van der Meer" userId="008f28a2-684e-4523-b3ca-dcb37d9c3e5d" providerId="ADAL" clId="{C3C0D317-475B-426A-8FE4-7C706DFBFC41}" dt="2021-10-25T12:12:47.069" v="3443" actId="478"/>
          <ac:spMkLst>
            <pc:docMk/>
            <pc:sldMk cId="248328226" sldId="1051"/>
            <ac:spMk id="11" creationId="{F664FD4D-9B18-470F-8A4B-70A2C44C90FF}"/>
          </ac:spMkLst>
        </pc:spChg>
        <pc:spChg chg="add del mod">
          <ac:chgData name="Arjan van der Meer" userId="008f28a2-684e-4523-b3ca-dcb37d9c3e5d" providerId="ADAL" clId="{C3C0D317-475B-426A-8FE4-7C706DFBFC41}" dt="2021-10-25T12:12:48.249" v="3444" actId="478"/>
          <ac:spMkLst>
            <pc:docMk/>
            <pc:sldMk cId="248328226" sldId="1051"/>
            <ac:spMk id="13" creationId="{2B214FD9-06B3-44A9-974A-E0ED34423E2E}"/>
          </ac:spMkLst>
        </pc:spChg>
        <pc:spChg chg="add del mod">
          <ac:chgData name="Arjan van der Meer" userId="008f28a2-684e-4523-b3ca-dcb37d9c3e5d" providerId="ADAL" clId="{C3C0D317-475B-426A-8FE4-7C706DFBFC41}" dt="2021-10-25T12:12:48.889" v="3445" actId="478"/>
          <ac:spMkLst>
            <pc:docMk/>
            <pc:sldMk cId="248328226" sldId="1051"/>
            <ac:spMk id="23" creationId="{67FC1B30-1862-4F6C-A9B4-B798EA5AF256}"/>
          </ac:spMkLst>
        </pc:spChg>
        <pc:spChg chg="add del mod">
          <ac:chgData name="Arjan van der Meer" userId="008f28a2-684e-4523-b3ca-dcb37d9c3e5d" providerId="ADAL" clId="{C3C0D317-475B-426A-8FE4-7C706DFBFC41}" dt="2021-10-25T12:12:50.221" v="3446" actId="478"/>
          <ac:spMkLst>
            <pc:docMk/>
            <pc:sldMk cId="248328226" sldId="1051"/>
            <ac:spMk id="24" creationId="{FB72614B-5079-4715-B86D-34E6A8A50176}"/>
          </ac:spMkLst>
        </pc:spChg>
        <pc:spChg chg="add del">
          <ac:chgData name="Arjan van der Meer" userId="008f28a2-684e-4523-b3ca-dcb37d9c3e5d" providerId="ADAL" clId="{C3C0D317-475B-426A-8FE4-7C706DFBFC41}" dt="2021-10-25T12:12:45.324" v="3442" actId="478"/>
          <ac:spMkLst>
            <pc:docMk/>
            <pc:sldMk cId="248328226" sldId="1051"/>
            <ac:spMk id="25" creationId="{18461036-30C2-48A8-88E4-7B8C6C844133}"/>
          </ac:spMkLst>
        </pc:spChg>
        <pc:spChg chg="add mod">
          <ac:chgData name="Arjan van der Meer" userId="008f28a2-684e-4523-b3ca-dcb37d9c3e5d" providerId="ADAL" clId="{C3C0D317-475B-426A-8FE4-7C706DFBFC41}" dt="2021-10-25T12:16:39.678" v="3465" actId="692"/>
          <ac:spMkLst>
            <pc:docMk/>
            <pc:sldMk cId="248328226" sldId="1051"/>
            <ac:spMk id="26" creationId="{C79FEB23-E5C8-4370-8831-38D12F424816}"/>
          </ac:spMkLst>
        </pc:spChg>
        <pc:spChg chg="add mod">
          <ac:chgData name="Arjan van der Meer" userId="008f28a2-684e-4523-b3ca-dcb37d9c3e5d" providerId="ADAL" clId="{C3C0D317-475B-426A-8FE4-7C706DFBFC41}" dt="2021-10-25T12:16:39.678" v="3465" actId="692"/>
          <ac:spMkLst>
            <pc:docMk/>
            <pc:sldMk cId="248328226" sldId="1051"/>
            <ac:spMk id="27" creationId="{3CCCA85F-527F-4975-947F-48B0BFADEF1E}"/>
          </ac:spMkLst>
        </pc:spChg>
        <pc:spChg chg="add mod">
          <ac:chgData name="Arjan van der Meer" userId="008f28a2-684e-4523-b3ca-dcb37d9c3e5d" providerId="ADAL" clId="{C3C0D317-475B-426A-8FE4-7C706DFBFC41}" dt="2021-10-25T12:16:39.678" v="3465" actId="692"/>
          <ac:spMkLst>
            <pc:docMk/>
            <pc:sldMk cId="248328226" sldId="1051"/>
            <ac:spMk id="28" creationId="{4C485E54-BD65-4AB2-A903-DF997500B4F0}"/>
          </ac:spMkLst>
        </pc:spChg>
        <pc:spChg chg="add mod">
          <ac:chgData name="Arjan van der Meer" userId="008f28a2-684e-4523-b3ca-dcb37d9c3e5d" providerId="ADAL" clId="{C3C0D317-475B-426A-8FE4-7C706DFBFC41}" dt="2021-10-25T12:16:39.678" v="3465" actId="692"/>
          <ac:spMkLst>
            <pc:docMk/>
            <pc:sldMk cId="248328226" sldId="1051"/>
            <ac:spMk id="29" creationId="{73606000-4A1B-43E9-9AE3-E4F65EEB94AA}"/>
          </ac:spMkLst>
        </pc:spChg>
        <pc:spChg chg="add mod">
          <ac:chgData name="Arjan van der Meer" userId="008f28a2-684e-4523-b3ca-dcb37d9c3e5d" providerId="ADAL" clId="{C3C0D317-475B-426A-8FE4-7C706DFBFC41}" dt="2021-10-25T12:28:24.968" v="3651" actId="1076"/>
          <ac:spMkLst>
            <pc:docMk/>
            <pc:sldMk cId="248328226" sldId="1051"/>
            <ac:spMk id="31" creationId="{8F75C490-68B8-4829-A63C-861F89B2B63D}"/>
          </ac:spMkLst>
        </pc:spChg>
        <pc:picChg chg="mod">
          <ac:chgData name="Arjan van der Meer" userId="008f28a2-684e-4523-b3ca-dcb37d9c3e5d" providerId="ADAL" clId="{C3C0D317-475B-426A-8FE4-7C706DFBFC41}" dt="2021-10-20T07:49:25.551" v="339"/>
          <ac:picMkLst>
            <pc:docMk/>
            <pc:sldMk cId="248328226" sldId="1051"/>
            <ac:picMk id="8" creationId="{02425CCB-A86F-4774-826F-50653CB9646C}"/>
          </ac:picMkLst>
        </pc:picChg>
        <pc:cxnChg chg="mod">
          <ac:chgData name="Arjan van der Meer" userId="008f28a2-684e-4523-b3ca-dcb37d9c3e5d" providerId="ADAL" clId="{C3C0D317-475B-426A-8FE4-7C706DFBFC41}" dt="2021-10-25T12:07:44.414" v="3424" actId="14100"/>
          <ac:cxnSpMkLst>
            <pc:docMk/>
            <pc:sldMk cId="248328226" sldId="1051"/>
            <ac:cxnSpMk id="16" creationId="{AE3F2C2B-D2EB-4527-B01C-DC121CE8AAF1}"/>
          </ac:cxnSpMkLst>
        </pc:cxnChg>
        <pc:cxnChg chg="mod">
          <ac:chgData name="Arjan van der Meer" userId="008f28a2-684e-4523-b3ca-dcb37d9c3e5d" providerId="ADAL" clId="{C3C0D317-475B-426A-8FE4-7C706DFBFC41}" dt="2021-10-25T12:15:40.381" v="3460" actId="554"/>
          <ac:cxnSpMkLst>
            <pc:docMk/>
            <pc:sldMk cId="248328226" sldId="1051"/>
            <ac:cxnSpMk id="18" creationId="{C7B9251E-FB60-4761-9894-FA6E2A5190E0}"/>
          </ac:cxnSpMkLst>
        </pc:cxnChg>
        <pc:cxnChg chg="mod">
          <ac:chgData name="Arjan van der Meer" userId="008f28a2-684e-4523-b3ca-dcb37d9c3e5d" providerId="ADAL" clId="{C3C0D317-475B-426A-8FE4-7C706DFBFC41}" dt="2021-10-25T12:15:40.381" v="3460" actId="554"/>
          <ac:cxnSpMkLst>
            <pc:docMk/>
            <pc:sldMk cId="248328226" sldId="1051"/>
            <ac:cxnSpMk id="20" creationId="{34AC8F5A-784D-4A1D-B3B9-C1369619B704}"/>
          </ac:cxnSpMkLst>
        </pc:cxnChg>
        <pc:cxnChg chg="mod">
          <ac:chgData name="Arjan van der Meer" userId="008f28a2-684e-4523-b3ca-dcb37d9c3e5d" providerId="ADAL" clId="{C3C0D317-475B-426A-8FE4-7C706DFBFC41}" dt="2021-10-25T12:15:49.256" v="3461" actId="14100"/>
          <ac:cxnSpMkLst>
            <pc:docMk/>
            <pc:sldMk cId="248328226" sldId="1051"/>
            <ac:cxnSpMk id="22" creationId="{BC8A6310-1947-4C19-83A4-FD91367D1DBB}"/>
          </ac:cxnSpMkLst>
        </pc:cxnChg>
      </pc:sldChg>
      <pc:sldChg chg="addSp modSp mod modNotesTx">
        <pc:chgData name="Arjan van der Meer" userId="008f28a2-684e-4523-b3ca-dcb37d9c3e5d" providerId="ADAL" clId="{C3C0D317-475B-426A-8FE4-7C706DFBFC41}" dt="2021-10-25T12:27:35.269" v="3603" actId="113"/>
        <pc:sldMkLst>
          <pc:docMk/>
          <pc:sldMk cId="3007114066" sldId="1052"/>
        </pc:sldMkLst>
        <pc:spChg chg="mod">
          <ac:chgData name="Arjan van der Meer" userId="008f28a2-684e-4523-b3ca-dcb37d9c3e5d" providerId="ADAL" clId="{C3C0D317-475B-426A-8FE4-7C706DFBFC41}" dt="2021-10-25T07:38:04.555" v="2402" actId="20577"/>
          <ac:spMkLst>
            <pc:docMk/>
            <pc:sldMk cId="3007114066" sldId="1052"/>
            <ac:spMk id="2" creationId="{AA28B349-549E-4D80-B022-F6318DB4BF38}"/>
          </ac:spMkLst>
        </pc:spChg>
        <pc:spChg chg="mod">
          <ac:chgData name="Arjan van der Meer" userId="008f28a2-684e-4523-b3ca-dcb37d9c3e5d" providerId="ADAL" clId="{C3C0D317-475B-426A-8FE4-7C706DFBFC41}" dt="2021-10-20T07:49:25.551" v="339"/>
          <ac:spMkLst>
            <pc:docMk/>
            <pc:sldMk cId="3007114066" sldId="1052"/>
            <ac:spMk id="3" creationId="{5DF4508A-05D6-4C91-B283-4CDA3AF1154A}"/>
          </ac:spMkLst>
        </pc:spChg>
        <pc:spChg chg="mod">
          <ac:chgData name="Arjan van der Meer" userId="008f28a2-684e-4523-b3ca-dcb37d9c3e5d" providerId="ADAL" clId="{C3C0D317-475B-426A-8FE4-7C706DFBFC41}" dt="2021-10-20T07:49:25.551" v="339"/>
          <ac:spMkLst>
            <pc:docMk/>
            <pc:sldMk cId="3007114066" sldId="1052"/>
            <ac:spMk id="4" creationId="{2330DF11-B2CC-44F0-A0F7-E528DB170316}"/>
          </ac:spMkLst>
        </pc:spChg>
        <pc:spChg chg="mod">
          <ac:chgData name="Arjan van der Meer" userId="008f28a2-684e-4523-b3ca-dcb37d9c3e5d" providerId="ADAL" clId="{C3C0D317-475B-426A-8FE4-7C706DFBFC41}" dt="2021-10-20T07:49:25.551" v="339"/>
          <ac:spMkLst>
            <pc:docMk/>
            <pc:sldMk cId="3007114066" sldId="1052"/>
            <ac:spMk id="5" creationId="{F14422CC-C933-4EF7-B435-678601797A4A}"/>
          </ac:spMkLst>
        </pc:spChg>
        <pc:spChg chg="mod">
          <ac:chgData name="Arjan van der Meer" userId="008f28a2-684e-4523-b3ca-dcb37d9c3e5d" providerId="ADAL" clId="{C3C0D317-475B-426A-8FE4-7C706DFBFC41}" dt="2021-10-25T12:18:16.222" v="3547" actId="554"/>
          <ac:spMkLst>
            <pc:docMk/>
            <pc:sldMk cId="3007114066" sldId="1052"/>
            <ac:spMk id="7" creationId="{4F6AC07D-B213-4BBA-B563-9C462627E729}"/>
          </ac:spMkLst>
        </pc:spChg>
        <pc:spChg chg="mod">
          <ac:chgData name="Arjan van der Meer" userId="008f28a2-684e-4523-b3ca-dcb37d9c3e5d" providerId="ADAL" clId="{C3C0D317-475B-426A-8FE4-7C706DFBFC41}" dt="2021-10-25T12:18:16.222" v="3547" actId="554"/>
          <ac:spMkLst>
            <pc:docMk/>
            <pc:sldMk cId="3007114066" sldId="1052"/>
            <ac:spMk id="9" creationId="{EC660CBA-5D72-4983-8514-C6F65B6515D0}"/>
          </ac:spMkLst>
        </pc:spChg>
        <pc:spChg chg="mod">
          <ac:chgData name="Arjan van der Meer" userId="008f28a2-684e-4523-b3ca-dcb37d9c3e5d" providerId="ADAL" clId="{C3C0D317-475B-426A-8FE4-7C706DFBFC41}" dt="2021-10-25T12:18:16.222" v="3547" actId="554"/>
          <ac:spMkLst>
            <pc:docMk/>
            <pc:sldMk cId="3007114066" sldId="1052"/>
            <ac:spMk id="10" creationId="{22BED916-59ED-410E-8624-43CFFDEA338E}"/>
          </ac:spMkLst>
        </pc:spChg>
        <pc:spChg chg="mod">
          <ac:chgData name="Arjan van der Meer" userId="008f28a2-684e-4523-b3ca-dcb37d9c3e5d" providerId="ADAL" clId="{C3C0D317-475B-426A-8FE4-7C706DFBFC41}" dt="2021-10-25T12:18:16.222" v="3547" actId="554"/>
          <ac:spMkLst>
            <pc:docMk/>
            <pc:sldMk cId="3007114066" sldId="1052"/>
            <ac:spMk id="11" creationId="{A2A1CB8C-C337-4A68-99D5-3D6C34D23F97}"/>
          </ac:spMkLst>
        </pc:spChg>
        <pc:spChg chg="add mod">
          <ac:chgData name="Arjan van der Meer" userId="008f28a2-684e-4523-b3ca-dcb37d9c3e5d" providerId="ADAL" clId="{C3C0D317-475B-426A-8FE4-7C706DFBFC41}" dt="2021-10-25T12:19:09.200" v="3552" actId="14100"/>
          <ac:spMkLst>
            <pc:docMk/>
            <pc:sldMk cId="3007114066" sldId="1052"/>
            <ac:spMk id="27" creationId="{E7310465-7395-49D1-A213-C24E2CD4C4E1}"/>
          </ac:spMkLst>
        </pc:spChg>
        <pc:spChg chg="add mod">
          <ac:chgData name="Arjan van der Meer" userId="008f28a2-684e-4523-b3ca-dcb37d9c3e5d" providerId="ADAL" clId="{C3C0D317-475B-426A-8FE4-7C706DFBFC41}" dt="2021-10-25T12:19:23.681" v="3555" actId="14100"/>
          <ac:spMkLst>
            <pc:docMk/>
            <pc:sldMk cId="3007114066" sldId="1052"/>
            <ac:spMk id="28" creationId="{64E0EED2-ACFE-4FEA-BACD-9845823E2DDB}"/>
          </ac:spMkLst>
        </pc:spChg>
        <pc:spChg chg="add mod">
          <ac:chgData name="Arjan van der Meer" userId="008f28a2-684e-4523-b3ca-dcb37d9c3e5d" providerId="ADAL" clId="{C3C0D317-475B-426A-8FE4-7C706DFBFC41}" dt="2021-10-25T12:19:51.184" v="3558" actId="14100"/>
          <ac:spMkLst>
            <pc:docMk/>
            <pc:sldMk cId="3007114066" sldId="1052"/>
            <ac:spMk id="29" creationId="{897B541F-4EF6-48C0-9925-84365FFE9561}"/>
          </ac:spMkLst>
        </pc:spChg>
        <pc:spChg chg="add mod">
          <ac:chgData name="Arjan van der Meer" userId="008f28a2-684e-4523-b3ca-dcb37d9c3e5d" providerId="ADAL" clId="{C3C0D317-475B-426A-8FE4-7C706DFBFC41}" dt="2021-10-25T12:27:35.269" v="3603" actId="113"/>
          <ac:spMkLst>
            <pc:docMk/>
            <pc:sldMk cId="3007114066" sldId="1052"/>
            <ac:spMk id="30" creationId="{D73BCAC4-8C25-4280-94C5-4CDEC81431FD}"/>
          </ac:spMkLst>
        </pc:spChg>
        <pc:cxnChg chg="mod">
          <ac:chgData name="Arjan van der Meer" userId="008f28a2-684e-4523-b3ca-dcb37d9c3e5d" providerId="ADAL" clId="{C3C0D317-475B-426A-8FE4-7C706DFBFC41}" dt="2021-10-25T12:18:37.072" v="3549" actId="14100"/>
          <ac:cxnSpMkLst>
            <pc:docMk/>
            <pc:sldMk cId="3007114066" sldId="1052"/>
            <ac:cxnSpMk id="12" creationId="{4BDF891F-7C73-46F1-9593-583C47E13085}"/>
          </ac:cxnSpMkLst>
        </pc:cxnChg>
        <pc:cxnChg chg="mod">
          <ac:chgData name="Arjan van der Meer" userId="008f28a2-684e-4523-b3ca-dcb37d9c3e5d" providerId="ADAL" clId="{C3C0D317-475B-426A-8FE4-7C706DFBFC41}" dt="2021-10-25T12:18:32.603" v="3548" actId="14100"/>
          <ac:cxnSpMkLst>
            <pc:docMk/>
            <pc:sldMk cId="3007114066" sldId="1052"/>
            <ac:cxnSpMk id="13" creationId="{AA42E6C1-B8CD-4442-8F98-3EB66EF4C92E}"/>
          </ac:cxnSpMkLst>
        </pc:cxnChg>
        <pc:cxnChg chg="mod">
          <ac:chgData name="Arjan van der Meer" userId="008f28a2-684e-4523-b3ca-dcb37d9c3e5d" providerId="ADAL" clId="{C3C0D317-475B-426A-8FE4-7C706DFBFC41}" dt="2021-10-25T12:18:16.222" v="3547" actId="554"/>
          <ac:cxnSpMkLst>
            <pc:docMk/>
            <pc:sldMk cId="3007114066" sldId="1052"/>
            <ac:cxnSpMk id="14" creationId="{3A22954C-8A3F-4E9B-A90A-F901F52D9D89}"/>
          </ac:cxnSpMkLst>
        </pc:cxnChg>
        <pc:cxnChg chg="mod">
          <ac:chgData name="Arjan van der Meer" userId="008f28a2-684e-4523-b3ca-dcb37d9c3e5d" providerId="ADAL" clId="{C3C0D317-475B-426A-8FE4-7C706DFBFC41}" dt="2021-10-25T12:18:16.222" v="3547" actId="554"/>
          <ac:cxnSpMkLst>
            <pc:docMk/>
            <pc:sldMk cId="3007114066" sldId="1052"/>
            <ac:cxnSpMk id="15" creationId="{F958E070-1FDE-4880-982F-C5C7830DE911}"/>
          </ac:cxnSpMkLst>
        </pc:cxnChg>
        <pc:cxnChg chg="mod">
          <ac:chgData name="Arjan van der Meer" userId="008f28a2-684e-4523-b3ca-dcb37d9c3e5d" providerId="ADAL" clId="{C3C0D317-475B-426A-8FE4-7C706DFBFC41}" dt="2021-10-25T12:17:24.949" v="3535" actId="14100"/>
          <ac:cxnSpMkLst>
            <pc:docMk/>
            <pc:sldMk cId="3007114066" sldId="1052"/>
            <ac:cxnSpMk id="16" creationId="{A1C14B12-D0DC-407B-822C-27BF3AD95CAE}"/>
          </ac:cxnSpMkLst>
        </pc:cxnChg>
      </pc:sldChg>
      <pc:sldChg chg="modSp modTransition">
        <pc:chgData name="Arjan van der Meer" userId="008f28a2-684e-4523-b3ca-dcb37d9c3e5d" providerId="ADAL" clId="{C3C0D317-475B-426A-8FE4-7C706DFBFC41}" dt="2021-10-25T07:28:11.248" v="2121"/>
        <pc:sldMkLst>
          <pc:docMk/>
          <pc:sldMk cId="3454179965" sldId="1053"/>
        </pc:sldMkLst>
        <pc:spChg chg="mod">
          <ac:chgData name="Arjan van der Meer" userId="008f28a2-684e-4523-b3ca-dcb37d9c3e5d" providerId="ADAL" clId="{C3C0D317-475B-426A-8FE4-7C706DFBFC41}" dt="2021-10-20T07:49:25.551" v="339"/>
          <ac:spMkLst>
            <pc:docMk/>
            <pc:sldMk cId="3454179965" sldId="1053"/>
            <ac:spMk id="2" creationId="{C56574E2-4B09-4471-9C69-0F456DDF45BF}"/>
          </ac:spMkLst>
        </pc:spChg>
        <pc:spChg chg="mod">
          <ac:chgData name="Arjan van der Meer" userId="008f28a2-684e-4523-b3ca-dcb37d9c3e5d" providerId="ADAL" clId="{C3C0D317-475B-426A-8FE4-7C706DFBFC41}" dt="2021-10-20T07:49:25.551" v="339"/>
          <ac:spMkLst>
            <pc:docMk/>
            <pc:sldMk cId="3454179965" sldId="1053"/>
            <ac:spMk id="3" creationId="{31B8DB04-5F33-4F7B-81C4-8B480DC2930A}"/>
          </ac:spMkLst>
        </pc:spChg>
        <pc:spChg chg="mod">
          <ac:chgData name="Arjan van der Meer" userId="008f28a2-684e-4523-b3ca-dcb37d9c3e5d" providerId="ADAL" clId="{C3C0D317-475B-426A-8FE4-7C706DFBFC41}" dt="2021-10-20T07:49:25.551" v="339"/>
          <ac:spMkLst>
            <pc:docMk/>
            <pc:sldMk cId="3454179965" sldId="1053"/>
            <ac:spMk id="4" creationId="{D3384C50-4F59-4860-B737-7593F74133AD}"/>
          </ac:spMkLst>
        </pc:spChg>
        <pc:spChg chg="mod">
          <ac:chgData name="Arjan van der Meer" userId="008f28a2-684e-4523-b3ca-dcb37d9c3e5d" providerId="ADAL" clId="{C3C0D317-475B-426A-8FE4-7C706DFBFC41}" dt="2021-10-20T07:49:25.551" v="339"/>
          <ac:spMkLst>
            <pc:docMk/>
            <pc:sldMk cId="3454179965" sldId="1053"/>
            <ac:spMk id="5" creationId="{4D92A102-0D43-4A88-9DCA-6C490169E0C3}"/>
          </ac:spMkLst>
        </pc:spChg>
        <pc:spChg chg="mod">
          <ac:chgData name="Arjan van der Meer" userId="008f28a2-684e-4523-b3ca-dcb37d9c3e5d" providerId="ADAL" clId="{C3C0D317-475B-426A-8FE4-7C706DFBFC41}" dt="2021-10-20T07:49:25.551" v="339"/>
          <ac:spMkLst>
            <pc:docMk/>
            <pc:sldMk cId="3454179965" sldId="1053"/>
            <ac:spMk id="6" creationId="{2784E93F-279C-4FE2-AFC3-7FBB6B185E81}"/>
          </ac:spMkLst>
        </pc:spChg>
      </pc:sldChg>
      <pc:sldChg chg="modSp mod modTransition">
        <pc:chgData name="Arjan van der Meer" userId="008f28a2-684e-4523-b3ca-dcb37d9c3e5d" providerId="ADAL" clId="{C3C0D317-475B-426A-8FE4-7C706DFBFC41}" dt="2021-10-25T07:28:00.497" v="2120"/>
        <pc:sldMkLst>
          <pc:docMk/>
          <pc:sldMk cId="662340548" sldId="1054"/>
        </pc:sldMkLst>
        <pc:spChg chg="mod">
          <ac:chgData name="Arjan van der Meer" userId="008f28a2-684e-4523-b3ca-dcb37d9c3e5d" providerId="ADAL" clId="{C3C0D317-475B-426A-8FE4-7C706DFBFC41}" dt="2021-10-25T07:25:29.324" v="2038" actId="20577"/>
          <ac:spMkLst>
            <pc:docMk/>
            <pc:sldMk cId="662340548" sldId="1054"/>
            <ac:spMk id="2" creationId="{188C9991-15EE-4694-8F01-BB88563D79A9}"/>
          </ac:spMkLst>
        </pc:spChg>
        <pc:spChg chg="mod">
          <ac:chgData name="Arjan van der Meer" userId="008f28a2-684e-4523-b3ca-dcb37d9c3e5d" providerId="ADAL" clId="{C3C0D317-475B-426A-8FE4-7C706DFBFC41}" dt="2021-10-20T07:49:25.551" v="339"/>
          <ac:spMkLst>
            <pc:docMk/>
            <pc:sldMk cId="662340548" sldId="1054"/>
            <ac:spMk id="3" creationId="{CF7E4E8F-00E7-4E13-8DB7-234F30BCEBAF}"/>
          </ac:spMkLst>
        </pc:spChg>
        <pc:spChg chg="mod">
          <ac:chgData name="Arjan van der Meer" userId="008f28a2-684e-4523-b3ca-dcb37d9c3e5d" providerId="ADAL" clId="{C3C0D317-475B-426A-8FE4-7C706DFBFC41}" dt="2021-10-20T07:49:25.551" v="339"/>
          <ac:spMkLst>
            <pc:docMk/>
            <pc:sldMk cId="662340548" sldId="1054"/>
            <ac:spMk id="4" creationId="{3EFDA843-9A19-41BC-B8DF-7B6FA0F1679B}"/>
          </ac:spMkLst>
        </pc:spChg>
        <pc:spChg chg="mod">
          <ac:chgData name="Arjan van der Meer" userId="008f28a2-684e-4523-b3ca-dcb37d9c3e5d" providerId="ADAL" clId="{C3C0D317-475B-426A-8FE4-7C706DFBFC41}" dt="2021-10-20T07:49:25.551" v="339"/>
          <ac:spMkLst>
            <pc:docMk/>
            <pc:sldMk cId="662340548" sldId="1054"/>
            <ac:spMk id="5" creationId="{D5C9E9F8-991B-4B2A-A7E6-659666E820CC}"/>
          </ac:spMkLst>
        </pc:spChg>
        <pc:spChg chg="mod">
          <ac:chgData name="Arjan van der Meer" userId="008f28a2-684e-4523-b3ca-dcb37d9c3e5d" providerId="ADAL" clId="{C3C0D317-475B-426A-8FE4-7C706DFBFC41}" dt="2021-10-25T07:25:53.880" v="2064" actId="20577"/>
          <ac:spMkLst>
            <pc:docMk/>
            <pc:sldMk cId="662340548" sldId="1054"/>
            <ac:spMk id="6" creationId="{F6DA460B-E221-42BD-8A6D-24ACDD389678}"/>
          </ac:spMkLst>
        </pc:spChg>
      </pc:sldChg>
      <pc:sldChg chg="modSp modTransition">
        <pc:chgData name="Arjan van der Meer" userId="008f28a2-684e-4523-b3ca-dcb37d9c3e5d" providerId="ADAL" clId="{C3C0D317-475B-426A-8FE4-7C706DFBFC41}" dt="2021-10-20T07:49:25.551" v="339"/>
        <pc:sldMkLst>
          <pc:docMk/>
          <pc:sldMk cId="1762244077" sldId="1055"/>
        </pc:sldMkLst>
        <pc:spChg chg="mod">
          <ac:chgData name="Arjan van der Meer" userId="008f28a2-684e-4523-b3ca-dcb37d9c3e5d" providerId="ADAL" clId="{C3C0D317-475B-426A-8FE4-7C706DFBFC41}" dt="2021-10-20T07:49:25.551" v="339"/>
          <ac:spMkLst>
            <pc:docMk/>
            <pc:sldMk cId="1762244077" sldId="1055"/>
            <ac:spMk id="2" creationId="{36F8C540-35CA-4758-BBB6-936C32823B28}"/>
          </ac:spMkLst>
        </pc:spChg>
        <pc:spChg chg="mod">
          <ac:chgData name="Arjan van der Meer" userId="008f28a2-684e-4523-b3ca-dcb37d9c3e5d" providerId="ADAL" clId="{C3C0D317-475B-426A-8FE4-7C706DFBFC41}" dt="2021-10-20T07:49:25.551" v="339"/>
          <ac:spMkLst>
            <pc:docMk/>
            <pc:sldMk cId="1762244077" sldId="1055"/>
            <ac:spMk id="3" creationId="{BABFA951-DF3E-407D-879A-D8BD368EC6B7}"/>
          </ac:spMkLst>
        </pc:spChg>
        <pc:spChg chg="mod">
          <ac:chgData name="Arjan van der Meer" userId="008f28a2-684e-4523-b3ca-dcb37d9c3e5d" providerId="ADAL" clId="{C3C0D317-475B-426A-8FE4-7C706DFBFC41}" dt="2021-10-20T07:49:25.551" v="339"/>
          <ac:spMkLst>
            <pc:docMk/>
            <pc:sldMk cId="1762244077" sldId="1055"/>
            <ac:spMk id="4" creationId="{03111FC5-BCC9-4929-8A9A-61100E9844C5}"/>
          </ac:spMkLst>
        </pc:spChg>
        <pc:spChg chg="mod">
          <ac:chgData name="Arjan van der Meer" userId="008f28a2-684e-4523-b3ca-dcb37d9c3e5d" providerId="ADAL" clId="{C3C0D317-475B-426A-8FE4-7C706DFBFC41}" dt="2021-10-20T07:49:25.551" v="339"/>
          <ac:spMkLst>
            <pc:docMk/>
            <pc:sldMk cId="1762244077" sldId="1055"/>
            <ac:spMk id="5" creationId="{F3837556-2FDA-4526-AA69-8841FEF053F2}"/>
          </ac:spMkLst>
        </pc:spChg>
        <pc:spChg chg="mod">
          <ac:chgData name="Arjan van der Meer" userId="008f28a2-684e-4523-b3ca-dcb37d9c3e5d" providerId="ADAL" clId="{C3C0D317-475B-426A-8FE4-7C706DFBFC41}" dt="2021-10-20T07:49:25.551" v="339"/>
          <ac:spMkLst>
            <pc:docMk/>
            <pc:sldMk cId="1762244077" sldId="1055"/>
            <ac:spMk id="6" creationId="{72384904-E4A9-4CE2-81DD-6D6B67E81BA7}"/>
          </ac:spMkLst>
        </pc:spChg>
      </pc:sldChg>
      <pc:sldChg chg="modSp mod modNotesTx">
        <pc:chgData name="Arjan van der Meer" userId="008f28a2-684e-4523-b3ca-dcb37d9c3e5d" providerId="ADAL" clId="{C3C0D317-475B-426A-8FE4-7C706DFBFC41}" dt="2021-10-25T06:55:09.800" v="1417" actId="20577"/>
        <pc:sldMkLst>
          <pc:docMk/>
          <pc:sldMk cId="3071920198" sldId="1056"/>
        </pc:sldMkLst>
        <pc:spChg chg="mod">
          <ac:chgData name="Arjan van der Meer" userId="008f28a2-684e-4523-b3ca-dcb37d9c3e5d" providerId="ADAL" clId="{C3C0D317-475B-426A-8FE4-7C706DFBFC41}" dt="2021-10-20T07:49:25.551" v="339"/>
          <ac:spMkLst>
            <pc:docMk/>
            <pc:sldMk cId="3071920198" sldId="1056"/>
            <ac:spMk id="2" creationId="{32E008E6-5FE1-46BE-AC43-EF46114F7667}"/>
          </ac:spMkLst>
        </pc:spChg>
        <pc:spChg chg="mod">
          <ac:chgData name="Arjan van der Meer" userId="008f28a2-684e-4523-b3ca-dcb37d9c3e5d" providerId="ADAL" clId="{C3C0D317-475B-426A-8FE4-7C706DFBFC41}" dt="2021-10-20T07:49:25.551" v="339"/>
          <ac:spMkLst>
            <pc:docMk/>
            <pc:sldMk cId="3071920198" sldId="1056"/>
            <ac:spMk id="3" creationId="{32FED566-4612-4474-A921-D9E8781876B6}"/>
          </ac:spMkLst>
        </pc:spChg>
        <pc:spChg chg="mod">
          <ac:chgData name="Arjan van der Meer" userId="008f28a2-684e-4523-b3ca-dcb37d9c3e5d" providerId="ADAL" clId="{C3C0D317-475B-426A-8FE4-7C706DFBFC41}" dt="2021-10-20T07:49:25.551" v="339"/>
          <ac:spMkLst>
            <pc:docMk/>
            <pc:sldMk cId="3071920198" sldId="1056"/>
            <ac:spMk id="4" creationId="{765037E0-5FAE-47A2-AAE8-D033069C8983}"/>
          </ac:spMkLst>
        </pc:spChg>
        <pc:spChg chg="mod">
          <ac:chgData name="Arjan van der Meer" userId="008f28a2-684e-4523-b3ca-dcb37d9c3e5d" providerId="ADAL" clId="{C3C0D317-475B-426A-8FE4-7C706DFBFC41}" dt="2021-10-20T07:49:25.551" v="339"/>
          <ac:spMkLst>
            <pc:docMk/>
            <pc:sldMk cId="3071920198" sldId="1056"/>
            <ac:spMk id="5" creationId="{398FD8FA-9804-4894-A532-77B9DFB0DF87}"/>
          </ac:spMkLst>
        </pc:spChg>
        <pc:spChg chg="mod">
          <ac:chgData name="Arjan van der Meer" userId="008f28a2-684e-4523-b3ca-dcb37d9c3e5d" providerId="ADAL" clId="{C3C0D317-475B-426A-8FE4-7C706DFBFC41}" dt="2021-10-22T13:51:01.721" v="1089" actId="20577"/>
          <ac:spMkLst>
            <pc:docMk/>
            <pc:sldMk cId="3071920198" sldId="1056"/>
            <ac:spMk id="6" creationId="{FEF16699-8D90-4D47-93D2-E40582A69893}"/>
          </ac:spMkLst>
        </pc:spChg>
      </pc:sldChg>
      <pc:sldChg chg="modSp mod modNotesTx">
        <pc:chgData name="Arjan van der Meer" userId="008f28a2-684e-4523-b3ca-dcb37d9c3e5d" providerId="ADAL" clId="{C3C0D317-475B-426A-8FE4-7C706DFBFC41}" dt="2021-10-25T11:01:03.356" v="2858" actId="20577"/>
        <pc:sldMkLst>
          <pc:docMk/>
          <pc:sldMk cId="2786694568" sldId="1057"/>
        </pc:sldMkLst>
        <pc:spChg chg="mod">
          <ac:chgData name="Arjan van der Meer" userId="008f28a2-684e-4523-b3ca-dcb37d9c3e5d" providerId="ADAL" clId="{C3C0D317-475B-426A-8FE4-7C706DFBFC41}" dt="2021-10-25T08:41:50.703" v="2585"/>
          <ac:spMkLst>
            <pc:docMk/>
            <pc:sldMk cId="2786694568" sldId="1057"/>
            <ac:spMk id="2" creationId="{6E152B49-A927-4745-9D7A-444DD308408F}"/>
          </ac:spMkLst>
        </pc:spChg>
        <pc:spChg chg="mod">
          <ac:chgData name="Arjan van der Meer" userId="008f28a2-684e-4523-b3ca-dcb37d9c3e5d" providerId="ADAL" clId="{C3C0D317-475B-426A-8FE4-7C706DFBFC41}" dt="2021-10-20T07:49:25.551" v="339"/>
          <ac:spMkLst>
            <pc:docMk/>
            <pc:sldMk cId="2786694568" sldId="1057"/>
            <ac:spMk id="3" creationId="{44A1147C-BE21-402D-ACF6-C93F50B3371B}"/>
          </ac:spMkLst>
        </pc:spChg>
        <pc:spChg chg="mod">
          <ac:chgData name="Arjan van der Meer" userId="008f28a2-684e-4523-b3ca-dcb37d9c3e5d" providerId="ADAL" clId="{C3C0D317-475B-426A-8FE4-7C706DFBFC41}" dt="2021-10-20T07:49:25.551" v="339"/>
          <ac:spMkLst>
            <pc:docMk/>
            <pc:sldMk cId="2786694568" sldId="1057"/>
            <ac:spMk id="4" creationId="{14C69661-E882-454C-9E39-6656D82B7E5B}"/>
          </ac:spMkLst>
        </pc:spChg>
        <pc:spChg chg="mod">
          <ac:chgData name="Arjan van der Meer" userId="008f28a2-684e-4523-b3ca-dcb37d9c3e5d" providerId="ADAL" clId="{C3C0D317-475B-426A-8FE4-7C706DFBFC41}" dt="2021-10-25T10:52:45.372" v="2781" actId="14100"/>
          <ac:spMkLst>
            <pc:docMk/>
            <pc:sldMk cId="2786694568" sldId="1057"/>
            <ac:spMk id="9" creationId="{7E77B42F-B884-4021-B0EE-7DD2AC7CE48A}"/>
          </ac:spMkLst>
        </pc:spChg>
        <pc:spChg chg="mod">
          <ac:chgData name="Arjan van der Meer" userId="008f28a2-684e-4523-b3ca-dcb37d9c3e5d" providerId="ADAL" clId="{C3C0D317-475B-426A-8FE4-7C706DFBFC41}" dt="2021-10-25T10:54:28.739" v="2787" actId="14100"/>
          <ac:spMkLst>
            <pc:docMk/>
            <pc:sldMk cId="2786694568" sldId="1057"/>
            <ac:spMk id="10" creationId="{7E6A4A08-B5E4-44F2-AF81-3D86FE0D4DC1}"/>
          </ac:spMkLst>
        </pc:spChg>
        <pc:spChg chg="mod">
          <ac:chgData name="Arjan van der Meer" userId="008f28a2-684e-4523-b3ca-dcb37d9c3e5d" providerId="ADAL" clId="{C3C0D317-475B-426A-8FE4-7C706DFBFC41}" dt="2021-10-25T10:54:31.843" v="2788" actId="14100"/>
          <ac:spMkLst>
            <pc:docMk/>
            <pc:sldMk cId="2786694568" sldId="1057"/>
            <ac:spMk id="14" creationId="{9844DB70-3597-4136-917B-5C5994425491}"/>
          </ac:spMkLst>
        </pc:spChg>
        <pc:spChg chg="mod">
          <ac:chgData name="Arjan van der Meer" userId="008f28a2-684e-4523-b3ca-dcb37d9c3e5d" providerId="ADAL" clId="{C3C0D317-475B-426A-8FE4-7C706DFBFC41}" dt="2021-10-25T10:54:16.270" v="2785" actId="208"/>
          <ac:spMkLst>
            <pc:docMk/>
            <pc:sldMk cId="2786694568" sldId="1057"/>
            <ac:spMk id="19" creationId="{E11751C5-6E01-44B5-A44E-295A04E8F9ED}"/>
          </ac:spMkLst>
        </pc:spChg>
        <pc:spChg chg="mod">
          <ac:chgData name="Arjan van der Meer" userId="008f28a2-684e-4523-b3ca-dcb37d9c3e5d" providerId="ADAL" clId="{C3C0D317-475B-426A-8FE4-7C706DFBFC41}" dt="2021-10-25T10:53:27.676" v="2783" actId="14100"/>
          <ac:spMkLst>
            <pc:docMk/>
            <pc:sldMk cId="2786694568" sldId="1057"/>
            <ac:spMk id="21" creationId="{B7CE972A-8B9A-4A16-A33B-1E4CF9ABDA7D}"/>
          </ac:spMkLst>
        </pc:spChg>
      </pc:sldChg>
      <pc:sldChg chg="modSp">
        <pc:chgData name="Arjan van der Meer" userId="008f28a2-684e-4523-b3ca-dcb37d9c3e5d" providerId="ADAL" clId="{C3C0D317-475B-426A-8FE4-7C706DFBFC41}" dt="2021-10-20T07:49:25.551" v="339"/>
        <pc:sldMkLst>
          <pc:docMk/>
          <pc:sldMk cId="2753424592" sldId="1058"/>
        </pc:sldMkLst>
        <pc:spChg chg="mod">
          <ac:chgData name="Arjan van der Meer" userId="008f28a2-684e-4523-b3ca-dcb37d9c3e5d" providerId="ADAL" clId="{C3C0D317-475B-426A-8FE4-7C706DFBFC41}" dt="2021-10-20T07:49:25.551" v="339"/>
          <ac:spMkLst>
            <pc:docMk/>
            <pc:sldMk cId="2753424592" sldId="1058"/>
            <ac:spMk id="2" creationId="{CF061FBC-F101-454F-B729-FF28773578F4}"/>
          </ac:spMkLst>
        </pc:spChg>
        <pc:spChg chg="mod">
          <ac:chgData name="Arjan van der Meer" userId="008f28a2-684e-4523-b3ca-dcb37d9c3e5d" providerId="ADAL" clId="{C3C0D317-475B-426A-8FE4-7C706DFBFC41}" dt="2021-10-20T07:49:25.551" v="339"/>
          <ac:spMkLst>
            <pc:docMk/>
            <pc:sldMk cId="2753424592" sldId="1058"/>
            <ac:spMk id="3" creationId="{39CF8EE6-BF3F-4F1D-9FF4-52E50FF8CC73}"/>
          </ac:spMkLst>
        </pc:spChg>
        <pc:spChg chg="mod">
          <ac:chgData name="Arjan van der Meer" userId="008f28a2-684e-4523-b3ca-dcb37d9c3e5d" providerId="ADAL" clId="{C3C0D317-475B-426A-8FE4-7C706DFBFC41}" dt="2021-10-20T07:49:25.551" v="339"/>
          <ac:spMkLst>
            <pc:docMk/>
            <pc:sldMk cId="2753424592" sldId="1058"/>
            <ac:spMk id="4" creationId="{F3B28A8D-1BB3-4689-98CC-97CCF5F325E0}"/>
          </ac:spMkLst>
        </pc:spChg>
        <pc:spChg chg="mod">
          <ac:chgData name="Arjan van der Meer" userId="008f28a2-684e-4523-b3ca-dcb37d9c3e5d" providerId="ADAL" clId="{C3C0D317-475B-426A-8FE4-7C706DFBFC41}" dt="2021-10-20T07:49:25.551" v="339"/>
          <ac:spMkLst>
            <pc:docMk/>
            <pc:sldMk cId="2753424592" sldId="1058"/>
            <ac:spMk id="5" creationId="{6336A697-48CF-4832-B077-DCABE1915640}"/>
          </ac:spMkLst>
        </pc:spChg>
        <pc:graphicFrameChg chg="mod">
          <ac:chgData name="Arjan van der Meer" userId="008f28a2-684e-4523-b3ca-dcb37d9c3e5d" providerId="ADAL" clId="{C3C0D317-475B-426A-8FE4-7C706DFBFC41}" dt="2021-10-20T07:49:25.551" v="339"/>
          <ac:graphicFrameMkLst>
            <pc:docMk/>
            <pc:sldMk cId="2753424592" sldId="1058"/>
            <ac:graphicFrameMk id="7" creationId="{FB17A615-CEE6-43F1-B111-7E484B2EDABF}"/>
          </ac:graphicFrameMkLst>
        </pc:graphicFrameChg>
      </pc:sldChg>
      <pc:sldChg chg="addSp delSp modSp mod">
        <pc:chgData name="Arjan van der Meer" userId="008f28a2-684e-4523-b3ca-dcb37d9c3e5d" providerId="ADAL" clId="{C3C0D317-475B-426A-8FE4-7C706DFBFC41}" dt="2021-10-25T12:49:10.930" v="3851" actId="20577"/>
        <pc:sldMkLst>
          <pc:docMk/>
          <pc:sldMk cId="3073011292" sldId="1063"/>
        </pc:sldMkLst>
        <pc:spChg chg="mod">
          <ac:chgData name="Arjan van der Meer" userId="008f28a2-684e-4523-b3ca-dcb37d9c3e5d" providerId="ADAL" clId="{C3C0D317-475B-426A-8FE4-7C706DFBFC41}" dt="2021-10-25T12:49:10.930" v="3851" actId="20577"/>
          <ac:spMkLst>
            <pc:docMk/>
            <pc:sldMk cId="3073011292" sldId="1063"/>
            <ac:spMk id="2" creationId="{53CB77FA-CF1B-4B0E-A304-10CE6620EE56}"/>
          </ac:spMkLst>
        </pc:spChg>
        <pc:spChg chg="mod">
          <ac:chgData name="Arjan van der Meer" userId="008f28a2-684e-4523-b3ca-dcb37d9c3e5d" providerId="ADAL" clId="{C3C0D317-475B-426A-8FE4-7C706DFBFC41}" dt="2021-10-20T07:49:25.551" v="339"/>
          <ac:spMkLst>
            <pc:docMk/>
            <pc:sldMk cId="3073011292" sldId="1063"/>
            <ac:spMk id="3" creationId="{4C95D5B2-08E4-446C-9BDA-A34FB03C3650}"/>
          </ac:spMkLst>
        </pc:spChg>
        <pc:spChg chg="mod">
          <ac:chgData name="Arjan van der Meer" userId="008f28a2-684e-4523-b3ca-dcb37d9c3e5d" providerId="ADAL" clId="{C3C0D317-475B-426A-8FE4-7C706DFBFC41}" dt="2021-10-20T07:49:25.551" v="339"/>
          <ac:spMkLst>
            <pc:docMk/>
            <pc:sldMk cId="3073011292" sldId="1063"/>
            <ac:spMk id="4" creationId="{35CB6A7A-9ED0-45D9-BEE5-2A29FF6AF5E1}"/>
          </ac:spMkLst>
        </pc:spChg>
        <pc:spChg chg="mod">
          <ac:chgData name="Arjan van der Meer" userId="008f28a2-684e-4523-b3ca-dcb37d9c3e5d" providerId="ADAL" clId="{C3C0D317-475B-426A-8FE4-7C706DFBFC41}" dt="2021-10-20T07:49:25.551" v="339"/>
          <ac:spMkLst>
            <pc:docMk/>
            <pc:sldMk cId="3073011292" sldId="1063"/>
            <ac:spMk id="5" creationId="{18EF1DD4-3393-4BF5-9274-FA66DD0256AC}"/>
          </ac:spMkLst>
        </pc:spChg>
        <pc:spChg chg="add del mod">
          <ac:chgData name="Arjan van der Meer" userId="008f28a2-684e-4523-b3ca-dcb37d9c3e5d" providerId="ADAL" clId="{C3C0D317-475B-426A-8FE4-7C706DFBFC41}" dt="2021-10-25T11:51:29.859" v="3308" actId="478"/>
          <ac:spMkLst>
            <pc:docMk/>
            <pc:sldMk cId="3073011292" sldId="1063"/>
            <ac:spMk id="20" creationId="{EA19762C-552E-4B13-8742-17FCC5C85D6C}"/>
          </ac:spMkLst>
        </pc:spChg>
        <pc:spChg chg="add del mod">
          <ac:chgData name="Arjan van der Meer" userId="008f28a2-684e-4523-b3ca-dcb37d9c3e5d" providerId="ADAL" clId="{C3C0D317-475B-426A-8FE4-7C706DFBFC41}" dt="2021-10-25T11:51:29.859" v="3308" actId="478"/>
          <ac:spMkLst>
            <pc:docMk/>
            <pc:sldMk cId="3073011292" sldId="1063"/>
            <ac:spMk id="21" creationId="{467C6B00-53C9-47AC-87B7-5FAF33BC39C6}"/>
          </ac:spMkLst>
        </pc:spChg>
        <pc:spChg chg="add del mod">
          <ac:chgData name="Arjan van der Meer" userId="008f28a2-684e-4523-b3ca-dcb37d9c3e5d" providerId="ADAL" clId="{C3C0D317-475B-426A-8FE4-7C706DFBFC41}" dt="2021-10-25T11:51:29.859" v="3308" actId="478"/>
          <ac:spMkLst>
            <pc:docMk/>
            <pc:sldMk cId="3073011292" sldId="1063"/>
            <ac:spMk id="22" creationId="{DF77F707-A846-47F2-8AB2-A482FC8DFEDF}"/>
          </ac:spMkLst>
        </pc:spChg>
        <pc:spChg chg="add del mod">
          <ac:chgData name="Arjan van der Meer" userId="008f28a2-684e-4523-b3ca-dcb37d9c3e5d" providerId="ADAL" clId="{C3C0D317-475B-426A-8FE4-7C706DFBFC41}" dt="2021-10-25T11:51:29.859" v="3308" actId="478"/>
          <ac:spMkLst>
            <pc:docMk/>
            <pc:sldMk cId="3073011292" sldId="1063"/>
            <ac:spMk id="23" creationId="{6D131556-4682-4014-8F56-8206F1F6CD7A}"/>
          </ac:spMkLst>
        </pc:spChg>
        <pc:spChg chg="add del mod">
          <ac:chgData name="Arjan van der Meer" userId="008f28a2-684e-4523-b3ca-dcb37d9c3e5d" providerId="ADAL" clId="{C3C0D317-475B-426A-8FE4-7C706DFBFC41}" dt="2021-10-25T11:51:29.859" v="3308" actId="478"/>
          <ac:spMkLst>
            <pc:docMk/>
            <pc:sldMk cId="3073011292" sldId="1063"/>
            <ac:spMk id="24" creationId="{CEF515AF-DBCE-41BA-A705-DB59622AC191}"/>
          </ac:spMkLst>
        </pc:spChg>
        <pc:spChg chg="add del mod">
          <ac:chgData name="Arjan van der Meer" userId="008f28a2-684e-4523-b3ca-dcb37d9c3e5d" providerId="ADAL" clId="{C3C0D317-475B-426A-8FE4-7C706DFBFC41}" dt="2021-10-25T11:51:29.859" v="3308" actId="478"/>
          <ac:spMkLst>
            <pc:docMk/>
            <pc:sldMk cId="3073011292" sldId="1063"/>
            <ac:spMk id="25" creationId="{975F2593-E003-4D3B-B110-DEC783EFA4CE}"/>
          </ac:spMkLst>
        </pc:spChg>
        <pc:spChg chg="add del mod">
          <ac:chgData name="Arjan van der Meer" userId="008f28a2-684e-4523-b3ca-dcb37d9c3e5d" providerId="ADAL" clId="{C3C0D317-475B-426A-8FE4-7C706DFBFC41}" dt="2021-10-25T11:51:29.859" v="3308" actId="478"/>
          <ac:spMkLst>
            <pc:docMk/>
            <pc:sldMk cId="3073011292" sldId="1063"/>
            <ac:spMk id="26" creationId="{3808D717-9D31-4C4C-8AC2-2E99AC589FCE}"/>
          </ac:spMkLst>
        </pc:spChg>
        <pc:spChg chg="add del mod">
          <ac:chgData name="Arjan van der Meer" userId="008f28a2-684e-4523-b3ca-dcb37d9c3e5d" providerId="ADAL" clId="{C3C0D317-475B-426A-8FE4-7C706DFBFC41}" dt="2021-10-25T11:51:29.859" v="3308" actId="478"/>
          <ac:spMkLst>
            <pc:docMk/>
            <pc:sldMk cId="3073011292" sldId="1063"/>
            <ac:spMk id="27" creationId="{9157B42D-D27F-4FD3-A440-3CB21442DA00}"/>
          </ac:spMkLst>
        </pc:spChg>
        <pc:spChg chg="add del mod">
          <ac:chgData name="Arjan van der Meer" userId="008f28a2-684e-4523-b3ca-dcb37d9c3e5d" providerId="ADAL" clId="{C3C0D317-475B-426A-8FE4-7C706DFBFC41}" dt="2021-10-20T08:33:31.197" v="538" actId="478"/>
          <ac:spMkLst>
            <pc:docMk/>
            <pc:sldMk cId="3073011292" sldId="1063"/>
            <ac:spMk id="28" creationId="{EDB0875B-612B-4344-84D2-F85FF0DA0CA3}"/>
          </ac:spMkLst>
        </pc:spChg>
        <pc:spChg chg="add mod">
          <ac:chgData name="Arjan van der Meer" userId="008f28a2-684e-4523-b3ca-dcb37d9c3e5d" providerId="ADAL" clId="{C3C0D317-475B-426A-8FE4-7C706DFBFC41}" dt="2021-10-25T11:51:31.008" v="3309"/>
          <ac:spMkLst>
            <pc:docMk/>
            <pc:sldMk cId="3073011292" sldId="1063"/>
            <ac:spMk id="28" creationId="{F0E48F8D-C071-4581-A9C5-B5AC90BB64D8}"/>
          </ac:spMkLst>
        </pc:spChg>
        <pc:spChg chg="add mod">
          <ac:chgData name="Arjan van der Meer" userId="008f28a2-684e-4523-b3ca-dcb37d9c3e5d" providerId="ADAL" clId="{C3C0D317-475B-426A-8FE4-7C706DFBFC41}" dt="2021-10-25T11:51:31.008" v="3309"/>
          <ac:spMkLst>
            <pc:docMk/>
            <pc:sldMk cId="3073011292" sldId="1063"/>
            <ac:spMk id="29" creationId="{6D322FB5-30D4-4C01-B356-951D89C08DBD}"/>
          </ac:spMkLst>
        </pc:spChg>
        <pc:spChg chg="add del mod">
          <ac:chgData name="Arjan van der Meer" userId="008f28a2-684e-4523-b3ca-dcb37d9c3e5d" providerId="ADAL" clId="{C3C0D317-475B-426A-8FE4-7C706DFBFC41}" dt="2021-10-20T08:33:31.197" v="538" actId="478"/>
          <ac:spMkLst>
            <pc:docMk/>
            <pc:sldMk cId="3073011292" sldId="1063"/>
            <ac:spMk id="30" creationId="{4EE2AB47-67DD-4B95-A712-A068E296EF68}"/>
          </ac:spMkLst>
        </pc:spChg>
        <pc:spChg chg="add mod">
          <ac:chgData name="Arjan van der Meer" userId="008f28a2-684e-4523-b3ca-dcb37d9c3e5d" providerId="ADAL" clId="{C3C0D317-475B-426A-8FE4-7C706DFBFC41}" dt="2021-10-25T11:51:31.008" v="3309"/>
          <ac:spMkLst>
            <pc:docMk/>
            <pc:sldMk cId="3073011292" sldId="1063"/>
            <ac:spMk id="30" creationId="{AC0E10EE-2D3E-4F8F-9FCF-394CADC514ED}"/>
          </ac:spMkLst>
        </pc:spChg>
        <pc:spChg chg="add mod">
          <ac:chgData name="Arjan van der Meer" userId="008f28a2-684e-4523-b3ca-dcb37d9c3e5d" providerId="ADAL" clId="{C3C0D317-475B-426A-8FE4-7C706DFBFC41}" dt="2021-10-25T12:00:13.403" v="3341" actId="12789"/>
          <ac:spMkLst>
            <pc:docMk/>
            <pc:sldMk cId="3073011292" sldId="1063"/>
            <ac:spMk id="31" creationId="{C16A223B-73C3-419A-9AC0-2AB7FB7CEAE6}"/>
          </ac:spMkLst>
        </pc:spChg>
        <pc:spChg chg="add del mod">
          <ac:chgData name="Arjan van der Meer" userId="008f28a2-684e-4523-b3ca-dcb37d9c3e5d" providerId="ADAL" clId="{C3C0D317-475B-426A-8FE4-7C706DFBFC41}" dt="2021-10-20T08:33:31.197" v="538" actId="478"/>
          <ac:spMkLst>
            <pc:docMk/>
            <pc:sldMk cId="3073011292" sldId="1063"/>
            <ac:spMk id="31" creationId="{F0451B0A-1ECE-4046-891A-BA82C19CEC9E}"/>
          </ac:spMkLst>
        </pc:spChg>
        <pc:spChg chg="add mod">
          <ac:chgData name="Arjan van der Meer" userId="008f28a2-684e-4523-b3ca-dcb37d9c3e5d" providerId="ADAL" clId="{C3C0D317-475B-426A-8FE4-7C706DFBFC41}" dt="2021-10-25T12:00:13.403" v="3341" actId="12789"/>
          <ac:spMkLst>
            <pc:docMk/>
            <pc:sldMk cId="3073011292" sldId="1063"/>
            <ac:spMk id="32" creationId="{AFD41579-109B-4E22-8855-FC2D6F935732}"/>
          </ac:spMkLst>
        </pc:spChg>
        <pc:spChg chg="add mod">
          <ac:chgData name="Arjan van der Meer" userId="008f28a2-684e-4523-b3ca-dcb37d9c3e5d" providerId="ADAL" clId="{C3C0D317-475B-426A-8FE4-7C706DFBFC41}" dt="2021-10-25T12:00:13.403" v="3341" actId="12789"/>
          <ac:spMkLst>
            <pc:docMk/>
            <pc:sldMk cId="3073011292" sldId="1063"/>
            <ac:spMk id="33" creationId="{002F8C92-4BD9-49DD-8196-DB6F1B372A26}"/>
          </ac:spMkLst>
        </pc:spChg>
        <pc:spChg chg="add del mod">
          <ac:chgData name="Arjan van der Meer" userId="008f28a2-684e-4523-b3ca-dcb37d9c3e5d" providerId="ADAL" clId="{C3C0D317-475B-426A-8FE4-7C706DFBFC41}" dt="2021-10-25T11:51:29.859" v="3308" actId="478"/>
          <ac:spMkLst>
            <pc:docMk/>
            <pc:sldMk cId="3073011292" sldId="1063"/>
            <ac:spMk id="37" creationId="{42B11343-8AFE-48FC-B704-17A58DC13173}"/>
          </ac:spMkLst>
        </pc:spChg>
        <pc:spChg chg="add del mod">
          <ac:chgData name="Arjan van der Meer" userId="008f28a2-684e-4523-b3ca-dcb37d9c3e5d" providerId="ADAL" clId="{C3C0D317-475B-426A-8FE4-7C706DFBFC41}" dt="2021-10-20T08:33:31.197" v="538" actId="478"/>
          <ac:spMkLst>
            <pc:docMk/>
            <pc:sldMk cId="3073011292" sldId="1063"/>
            <ac:spMk id="38" creationId="{748C3ADA-5AA4-4032-AD67-5FD1F683334D}"/>
          </ac:spMkLst>
        </pc:spChg>
        <pc:spChg chg="add mod">
          <ac:chgData name="Arjan van der Meer" userId="008f28a2-684e-4523-b3ca-dcb37d9c3e5d" providerId="ADAL" clId="{C3C0D317-475B-426A-8FE4-7C706DFBFC41}" dt="2021-10-25T12:00:21.372" v="3342" actId="12789"/>
          <ac:spMkLst>
            <pc:docMk/>
            <pc:sldMk cId="3073011292" sldId="1063"/>
            <ac:spMk id="38" creationId="{8F045400-06D8-48E2-9083-8FAFDB8E009B}"/>
          </ac:spMkLst>
        </pc:spChg>
        <pc:spChg chg="add del mod">
          <ac:chgData name="Arjan van der Meer" userId="008f28a2-684e-4523-b3ca-dcb37d9c3e5d" providerId="ADAL" clId="{C3C0D317-475B-426A-8FE4-7C706DFBFC41}" dt="2021-10-20T08:33:31.197" v="538" actId="478"/>
          <ac:spMkLst>
            <pc:docMk/>
            <pc:sldMk cId="3073011292" sldId="1063"/>
            <ac:spMk id="39" creationId="{16E8BC42-CCC2-44E2-87EE-F47526768FC0}"/>
          </ac:spMkLst>
        </pc:spChg>
        <pc:spChg chg="add mod">
          <ac:chgData name="Arjan van der Meer" userId="008f28a2-684e-4523-b3ca-dcb37d9c3e5d" providerId="ADAL" clId="{C3C0D317-475B-426A-8FE4-7C706DFBFC41}" dt="2021-10-25T12:00:21.372" v="3342" actId="12789"/>
          <ac:spMkLst>
            <pc:docMk/>
            <pc:sldMk cId="3073011292" sldId="1063"/>
            <ac:spMk id="39" creationId="{36B7E453-BCA2-4681-BA1F-23E845D84100}"/>
          </ac:spMkLst>
        </pc:spChg>
        <pc:spChg chg="add del mod">
          <ac:chgData name="Arjan van der Meer" userId="008f28a2-684e-4523-b3ca-dcb37d9c3e5d" providerId="ADAL" clId="{C3C0D317-475B-426A-8FE4-7C706DFBFC41}" dt="2021-10-20T08:33:31.197" v="538" actId="478"/>
          <ac:spMkLst>
            <pc:docMk/>
            <pc:sldMk cId="3073011292" sldId="1063"/>
            <ac:spMk id="40" creationId="{29A4F31C-3C8A-4205-A8D6-CCA326C0BF4C}"/>
          </ac:spMkLst>
        </pc:spChg>
        <pc:spChg chg="add del mod">
          <ac:chgData name="Arjan van der Meer" userId="008f28a2-684e-4523-b3ca-dcb37d9c3e5d" providerId="ADAL" clId="{C3C0D317-475B-426A-8FE4-7C706DFBFC41}" dt="2021-10-25T11:51:36.508" v="3310" actId="478"/>
          <ac:spMkLst>
            <pc:docMk/>
            <pc:sldMk cId="3073011292" sldId="1063"/>
            <ac:spMk id="40" creationId="{F5F7B921-0376-4BA5-867F-EACD0C6178A7}"/>
          </ac:spMkLst>
        </pc:spChg>
        <pc:spChg chg="add del mod">
          <ac:chgData name="Arjan van der Meer" userId="008f28a2-684e-4523-b3ca-dcb37d9c3e5d" providerId="ADAL" clId="{C3C0D317-475B-426A-8FE4-7C706DFBFC41}" dt="2021-10-25T11:51:29.859" v="3308" actId="478"/>
          <ac:spMkLst>
            <pc:docMk/>
            <pc:sldMk cId="3073011292" sldId="1063"/>
            <ac:spMk id="41" creationId="{9F2FEAB9-4EA3-4A84-BF30-6050A92D404E}"/>
          </ac:spMkLst>
        </pc:spChg>
        <pc:spChg chg="add del mod">
          <ac:chgData name="Arjan van der Meer" userId="008f28a2-684e-4523-b3ca-dcb37d9c3e5d" providerId="ADAL" clId="{C3C0D317-475B-426A-8FE4-7C706DFBFC41}" dt="2021-10-25T11:51:29.859" v="3308" actId="478"/>
          <ac:spMkLst>
            <pc:docMk/>
            <pc:sldMk cId="3073011292" sldId="1063"/>
            <ac:spMk id="42" creationId="{356B5FA0-88CF-4161-9101-8FE13403B973}"/>
          </ac:spMkLst>
        </pc:spChg>
        <pc:spChg chg="add mod">
          <ac:chgData name="Arjan van der Meer" userId="008f28a2-684e-4523-b3ca-dcb37d9c3e5d" providerId="ADAL" clId="{C3C0D317-475B-426A-8FE4-7C706DFBFC41}" dt="2021-10-20T08:33:49.649" v="543"/>
          <ac:spMkLst>
            <pc:docMk/>
            <pc:sldMk cId="3073011292" sldId="1063"/>
            <ac:spMk id="43" creationId="{770814A7-D04E-4868-9932-F853D318A0C0}"/>
          </ac:spMkLst>
        </pc:spChg>
        <pc:spChg chg="add del mod">
          <ac:chgData name="Arjan van der Meer" userId="008f28a2-684e-4523-b3ca-dcb37d9c3e5d" providerId="ADAL" clId="{C3C0D317-475B-426A-8FE4-7C706DFBFC41}" dt="2021-10-20T08:33:58.423" v="544" actId="478"/>
          <ac:spMkLst>
            <pc:docMk/>
            <pc:sldMk cId="3073011292" sldId="1063"/>
            <ac:spMk id="44" creationId="{A6E2C9B7-EC40-42D5-B7F2-B5DBBDB8691F}"/>
          </ac:spMkLst>
        </pc:spChg>
        <pc:spChg chg="add del mod">
          <ac:chgData name="Arjan van der Meer" userId="008f28a2-684e-4523-b3ca-dcb37d9c3e5d" providerId="ADAL" clId="{C3C0D317-475B-426A-8FE4-7C706DFBFC41}" dt="2021-10-25T11:51:36.508" v="3310" actId="478"/>
          <ac:spMkLst>
            <pc:docMk/>
            <pc:sldMk cId="3073011292" sldId="1063"/>
            <ac:spMk id="45" creationId="{3694ECDA-38D1-4FA1-96C2-C7EC88412591}"/>
          </ac:spMkLst>
        </pc:spChg>
        <pc:spChg chg="add del mod">
          <ac:chgData name="Arjan van der Meer" userId="008f28a2-684e-4523-b3ca-dcb37d9c3e5d" providerId="ADAL" clId="{C3C0D317-475B-426A-8FE4-7C706DFBFC41}" dt="2021-10-20T08:33:59.792" v="545" actId="478"/>
          <ac:spMkLst>
            <pc:docMk/>
            <pc:sldMk cId="3073011292" sldId="1063"/>
            <ac:spMk id="45" creationId="{51157D4A-FB25-4291-A577-DDF969615310}"/>
          </ac:spMkLst>
        </pc:spChg>
        <pc:spChg chg="add del mod">
          <ac:chgData name="Arjan van der Meer" userId="008f28a2-684e-4523-b3ca-dcb37d9c3e5d" providerId="ADAL" clId="{C3C0D317-475B-426A-8FE4-7C706DFBFC41}" dt="2021-10-25T11:51:36.508" v="3310" actId="478"/>
          <ac:spMkLst>
            <pc:docMk/>
            <pc:sldMk cId="3073011292" sldId="1063"/>
            <ac:spMk id="46" creationId="{58C5C40E-0BEA-4D5E-8FCE-821FA77B646E}"/>
          </ac:spMkLst>
        </pc:spChg>
        <pc:spChg chg="del">
          <ac:chgData name="Arjan van der Meer" userId="008f28a2-684e-4523-b3ca-dcb37d9c3e5d" providerId="ADAL" clId="{C3C0D317-475B-426A-8FE4-7C706DFBFC41}" dt="2021-10-20T08:33:24.715" v="536" actId="478"/>
          <ac:spMkLst>
            <pc:docMk/>
            <pc:sldMk cId="3073011292" sldId="1063"/>
            <ac:spMk id="48" creationId="{0A5A1562-6B26-4D25-AD5C-5EECE04F29C4}"/>
          </ac:spMkLst>
        </pc:spChg>
        <pc:spChg chg="del">
          <ac:chgData name="Arjan van der Meer" userId="008f28a2-684e-4523-b3ca-dcb37d9c3e5d" providerId="ADAL" clId="{C3C0D317-475B-426A-8FE4-7C706DFBFC41}" dt="2021-10-20T08:33:24.715" v="536" actId="478"/>
          <ac:spMkLst>
            <pc:docMk/>
            <pc:sldMk cId="3073011292" sldId="1063"/>
            <ac:spMk id="49" creationId="{13CE74E9-EF83-4FA6-9D22-5CE5AE28988B}"/>
          </ac:spMkLst>
        </pc:spChg>
        <pc:spChg chg="del">
          <ac:chgData name="Arjan van der Meer" userId="008f28a2-684e-4523-b3ca-dcb37d9c3e5d" providerId="ADAL" clId="{C3C0D317-475B-426A-8FE4-7C706DFBFC41}" dt="2021-10-20T08:33:24.715" v="536" actId="478"/>
          <ac:spMkLst>
            <pc:docMk/>
            <pc:sldMk cId="3073011292" sldId="1063"/>
            <ac:spMk id="50" creationId="{8BA9D30A-F8CC-47B7-AE80-28737E620E02}"/>
          </ac:spMkLst>
        </pc:spChg>
        <pc:spChg chg="del">
          <ac:chgData name="Arjan van der Meer" userId="008f28a2-684e-4523-b3ca-dcb37d9c3e5d" providerId="ADAL" clId="{C3C0D317-475B-426A-8FE4-7C706DFBFC41}" dt="2021-10-20T08:33:24.715" v="536" actId="478"/>
          <ac:spMkLst>
            <pc:docMk/>
            <pc:sldMk cId="3073011292" sldId="1063"/>
            <ac:spMk id="51" creationId="{C9E23312-A095-4625-9563-A221E3A7F38D}"/>
          </ac:spMkLst>
        </pc:spChg>
        <pc:spChg chg="del">
          <ac:chgData name="Arjan van der Meer" userId="008f28a2-684e-4523-b3ca-dcb37d9c3e5d" providerId="ADAL" clId="{C3C0D317-475B-426A-8FE4-7C706DFBFC41}" dt="2021-10-20T08:33:24.715" v="536" actId="478"/>
          <ac:spMkLst>
            <pc:docMk/>
            <pc:sldMk cId="3073011292" sldId="1063"/>
            <ac:spMk id="52" creationId="{4E0FBEF9-9C87-49D3-9B58-64B48B92F5C9}"/>
          </ac:spMkLst>
        </pc:spChg>
        <pc:spChg chg="add mod">
          <ac:chgData name="Arjan van der Meer" userId="008f28a2-684e-4523-b3ca-dcb37d9c3e5d" providerId="ADAL" clId="{C3C0D317-475B-426A-8FE4-7C706DFBFC41}" dt="2021-10-25T11:51:31.008" v="3309"/>
          <ac:spMkLst>
            <pc:docMk/>
            <pc:sldMk cId="3073011292" sldId="1063"/>
            <ac:spMk id="52" creationId="{9F51B146-5A62-4F16-A297-12913B5DB8C4}"/>
          </ac:spMkLst>
        </pc:spChg>
        <pc:spChg chg="add del mod">
          <ac:chgData name="Arjan van der Meer" userId="008f28a2-684e-4523-b3ca-dcb37d9c3e5d" providerId="ADAL" clId="{C3C0D317-475B-426A-8FE4-7C706DFBFC41}" dt="2021-10-25T11:51:36.508" v="3310" actId="478"/>
          <ac:spMkLst>
            <pc:docMk/>
            <pc:sldMk cId="3073011292" sldId="1063"/>
            <ac:spMk id="53" creationId="{987CF1C6-2A68-4031-A79F-95C24782CB37}"/>
          </ac:spMkLst>
        </pc:spChg>
        <pc:spChg chg="del">
          <ac:chgData name="Arjan van der Meer" userId="008f28a2-684e-4523-b3ca-dcb37d9c3e5d" providerId="ADAL" clId="{C3C0D317-475B-426A-8FE4-7C706DFBFC41}" dt="2021-10-20T08:33:24.715" v="536" actId="478"/>
          <ac:spMkLst>
            <pc:docMk/>
            <pc:sldMk cId="3073011292" sldId="1063"/>
            <ac:spMk id="53" creationId="{AA243AA7-F70E-4CEF-A4FB-D2C455BB7B1A}"/>
          </ac:spMkLst>
        </pc:spChg>
        <pc:spChg chg="add del mod">
          <ac:chgData name="Arjan van der Meer" userId="008f28a2-684e-4523-b3ca-dcb37d9c3e5d" providerId="ADAL" clId="{C3C0D317-475B-426A-8FE4-7C706DFBFC41}" dt="2021-10-25T11:51:36.508" v="3310" actId="478"/>
          <ac:spMkLst>
            <pc:docMk/>
            <pc:sldMk cId="3073011292" sldId="1063"/>
            <ac:spMk id="54" creationId="{1A6DFAF0-D291-4C2A-804E-28B656380518}"/>
          </ac:spMkLst>
        </pc:spChg>
        <pc:spChg chg="del">
          <ac:chgData name="Arjan van der Meer" userId="008f28a2-684e-4523-b3ca-dcb37d9c3e5d" providerId="ADAL" clId="{C3C0D317-475B-426A-8FE4-7C706DFBFC41}" dt="2021-10-20T08:33:24.715" v="536" actId="478"/>
          <ac:spMkLst>
            <pc:docMk/>
            <pc:sldMk cId="3073011292" sldId="1063"/>
            <ac:spMk id="55" creationId="{30EFDA3C-2A8C-404C-9FC8-C8F70AA3E181}"/>
          </ac:spMkLst>
        </pc:spChg>
        <pc:spChg chg="add del mod">
          <ac:chgData name="Arjan van der Meer" userId="008f28a2-684e-4523-b3ca-dcb37d9c3e5d" providerId="ADAL" clId="{C3C0D317-475B-426A-8FE4-7C706DFBFC41}" dt="2021-10-25T11:51:36.508" v="3310" actId="478"/>
          <ac:spMkLst>
            <pc:docMk/>
            <pc:sldMk cId="3073011292" sldId="1063"/>
            <ac:spMk id="55" creationId="{9C24AEFC-4C84-4D05-92CD-95F4AED7E2BA}"/>
          </ac:spMkLst>
        </pc:spChg>
        <pc:spChg chg="add mod">
          <ac:chgData name="Arjan van der Meer" userId="008f28a2-684e-4523-b3ca-dcb37d9c3e5d" providerId="ADAL" clId="{C3C0D317-475B-426A-8FE4-7C706DFBFC41}" dt="2021-10-25T11:51:31.008" v="3309"/>
          <ac:spMkLst>
            <pc:docMk/>
            <pc:sldMk cId="3073011292" sldId="1063"/>
            <ac:spMk id="56" creationId="{226676F7-CACB-4408-B3B8-495C7B5578CD}"/>
          </ac:spMkLst>
        </pc:spChg>
        <pc:spChg chg="del">
          <ac:chgData name="Arjan van der Meer" userId="008f28a2-684e-4523-b3ca-dcb37d9c3e5d" providerId="ADAL" clId="{C3C0D317-475B-426A-8FE4-7C706DFBFC41}" dt="2021-10-20T08:33:24.715" v="536" actId="478"/>
          <ac:spMkLst>
            <pc:docMk/>
            <pc:sldMk cId="3073011292" sldId="1063"/>
            <ac:spMk id="56" creationId="{35D7597D-8037-40C1-BF47-6B3D10EE0BF9}"/>
          </ac:spMkLst>
        </pc:spChg>
        <pc:spChg chg="del">
          <ac:chgData name="Arjan van der Meer" userId="008f28a2-684e-4523-b3ca-dcb37d9c3e5d" providerId="ADAL" clId="{C3C0D317-475B-426A-8FE4-7C706DFBFC41}" dt="2021-10-20T08:33:24.715" v="536" actId="478"/>
          <ac:spMkLst>
            <pc:docMk/>
            <pc:sldMk cId="3073011292" sldId="1063"/>
            <ac:spMk id="57" creationId="{197D498D-D5D6-4759-93E2-42EA9A37CB45}"/>
          </ac:spMkLst>
        </pc:spChg>
        <pc:spChg chg="add mod">
          <ac:chgData name="Arjan van der Meer" userId="008f28a2-684e-4523-b3ca-dcb37d9c3e5d" providerId="ADAL" clId="{C3C0D317-475B-426A-8FE4-7C706DFBFC41}" dt="2021-10-25T11:51:31.008" v="3309"/>
          <ac:spMkLst>
            <pc:docMk/>
            <pc:sldMk cId="3073011292" sldId="1063"/>
            <ac:spMk id="57" creationId="{D0C84354-0BD0-433F-BED2-E07A32F4BD3E}"/>
          </ac:spMkLst>
        </pc:spChg>
        <pc:spChg chg="add mod">
          <ac:chgData name="Arjan van der Meer" userId="008f28a2-684e-4523-b3ca-dcb37d9c3e5d" providerId="ADAL" clId="{C3C0D317-475B-426A-8FE4-7C706DFBFC41}" dt="2021-10-25T12:00:21.372" v="3342" actId="12789"/>
          <ac:spMkLst>
            <pc:docMk/>
            <pc:sldMk cId="3073011292" sldId="1063"/>
            <ac:spMk id="58" creationId="{16F5055A-AA4F-466A-88F0-FF2A20EF94B2}"/>
          </ac:spMkLst>
        </pc:spChg>
        <pc:spChg chg="del">
          <ac:chgData name="Arjan van der Meer" userId="008f28a2-684e-4523-b3ca-dcb37d9c3e5d" providerId="ADAL" clId="{C3C0D317-475B-426A-8FE4-7C706DFBFC41}" dt="2021-10-20T08:33:24.715" v="536" actId="478"/>
          <ac:spMkLst>
            <pc:docMk/>
            <pc:sldMk cId="3073011292" sldId="1063"/>
            <ac:spMk id="58" creationId="{3BF1DB98-FFD3-4E64-9D9D-47D72DD44EEB}"/>
          </ac:spMkLst>
        </pc:spChg>
        <pc:spChg chg="del">
          <ac:chgData name="Arjan van der Meer" userId="008f28a2-684e-4523-b3ca-dcb37d9c3e5d" providerId="ADAL" clId="{C3C0D317-475B-426A-8FE4-7C706DFBFC41}" dt="2021-10-20T08:33:24.715" v="536" actId="478"/>
          <ac:spMkLst>
            <pc:docMk/>
            <pc:sldMk cId="3073011292" sldId="1063"/>
            <ac:spMk id="59" creationId="{A65FD5AC-8538-41AE-AF15-5A7D6618BEFB}"/>
          </ac:spMkLst>
        </pc:spChg>
        <pc:spChg chg="add mod">
          <ac:chgData name="Arjan van der Meer" userId="008f28a2-684e-4523-b3ca-dcb37d9c3e5d" providerId="ADAL" clId="{C3C0D317-475B-426A-8FE4-7C706DFBFC41}" dt="2021-10-20T08:34:32.717" v="554" actId="1076"/>
          <ac:spMkLst>
            <pc:docMk/>
            <pc:sldMk cId="3073011292" sldId="1063"/>
            <ac:spMk id="61" creationId="{DFB961A7-07C0-48FC-A394-2EA6CD6FDBCC}"/>
          </ac:spMkLst>
        </pc:spChg>
        <pc:spChg chg="add mod">
          <ac:chgData name="Arjan van der Meer" userId="008f28a2-684e-4523-b3ca-dcb37d9c3e5d" providerId="ADAL" clId="{C3C0D317-475B-426A-8FE4-7C706DFBFC41}" dt="2021-10-20T08:35:01.561" v="558" actId="1076"/>
          <ac:spMkLst>
            <pc:docMk/>
            <pc:sldMk cId="3073011292" sldId="1063"/>
            <ac:spMk id="63" creationId="{3C9738C2-8D59-42C0-8252-EBB2956C2A73}"/>
          </ac:spMkLst>
        </pc:spChg>
        <pc:spChg chg="add del mod">
          <ac:chgData name="Arjan van der Meer" userId="008f28a2-684e-4523-b3ca-dcb37d9c3e5d" providerId="ADAL" clId="{C3C0D317-475B-426A-8FE4-7C706DFBFC41}" dt="2021-10-20T08:35:06.592" v="559" actId="1076"/>
          <ac:spMkLst>
            <pc:docMk/>
            <pc:sldMk cId="3073011292" sldId="1063"/>
            <ac:spMk id="64" creationId="{EAB20B6E-BB39-4127-8094-86661EDEBC61}"/>
          </ac:spMkLst>
        </pc:spChg>
        <pc:cxnChg chg="add mod">
          <ac:chgData name="Arjan van der Meer" userId="008f28a2-684e-4523-b3ca-dcb37d9c3e5d" providerId="ADAL" clId="{C3C0D317-475B-426A-8FE4-7C706DFBFC41}" dt="2021-10-20T08:34:25.770" v="553" actId="1076"/>
          <ac:cxnSpMkLst>
            <pc:docMk/>
            <pc:sldMk cId="3073011292" sldId="1063"/>
            <ac:cxnSpMk id="7" creationId="{9C07DE62-A8D9-4B58-8D06-22DA10518B49}"/>
          </ac:cxnSpMkLst>
        </pc:cxnChg>
        <pc:cxnChg chg="add del mod">
          <ac:chgData name="Arjan van der Meer" userId="008f28a2-684e-4523-b3ca-dcb37d9c3e5d" providerId="ADAL" clId="{C3C0D317-475B-426A-8FE4-7C706DFBFC41}" dt="2021-10-20T08:34:55.861" v="557" actId="478"/>
          <ac:cxnSpMkLst>
            <pc:docMk/>
            <pc:sldMk cId="3073011292" sldId="1063"/>
            <ac:cxnSpMk id="9" creationId="{355EF655-2A51-47A7-8C23-10FE03A9B9F4}"/>
          </ac:cxnSpMkLst>
        </pc:cxnChg>
        <pc:cxnChg chg="add del mod">
          <ac:chgData name="Arjan van der Meer" userId="008f28a2-684e-4523-b3ca-dcb37d9c3e5d" providerId="ADAL" clId="{C3C0D317-475B-426A-8FE4-7C706DFBFC41}" dt="2021-10-20T08:33:31.197" v="538" actId="478"/>
          <ac:cxnSpMkLst>
            <pc:docMk/>
            <pc:sldMk cId="3073011292" sldId="1063"/>
            <ac:cxnSpMk id="29" creationId="{4C260A3B-6926-42BE-B13E-0A4D363F5E83}"/>
          </ac:cxnSpMkLst>
        </pc:cxnChg>
        <pc:cxnChg chg="add del mod">
          <ac:chgData name="Arjan van der Meer" userId="008f28a2-684e-4523-b3ca-dcb37d9c3e5d" providerId="ADAL" clId="{C3C0D317-475B-426A-8FE4-7C706DFBFC41}" dt="2021-10-20T08:33:31.197" v="538" actId="478"/>
          <ac:cxnSpMkLst>
            <pc:docMk/>
            <pc:sldMk cId="3073011292" sldId="1063"/>
            <ac:cxnSpMk id="32" creationId="{20017E60-DB62-4EF7-8AE5-BDE44C6321B3}"/>
          </ac:cxnSpMkLst>
        </pc:cxnChg>
        <pc:cxnChg chg="add del mod">
          <ac:chgData name="Arjan van der Meer" userId="008f28a2-684e-4523-b3ca-dcb37d9c3e5d" providerId="ADAL" clId="{C3C0D317-475B-426A-8FE4-7C706DFBFC41}" dt="2021-10-20T08:33:31.197" v="538" actId="478"/>
          <ac:cxnSpMkLst>
            <pc:docMk/>
            <pc:sldMk cId="3073011292" sldId="1063"/>
            <ac:cxnSpMk id="33" creationId="{963048B6-DE06-473E-9FB3-B5E96C479822}"/>
          </ac:cxnSpMkLst>
        </pc:cxnChg>
        <pc:cxnChg chg="add del mod">
          <ac:chgData name="Arjan van der Meer" userId="008f28a2-684e-4523-b3ca-dcb37d9c3e5d" providerId="ADAL" clId="{C3C0D317-475B-426A-8FE4-7C706DFBFC41}" dt="2021-10-25T11:51:29.859" v="3308" actId="478"/>
          <ac:cxnSpMkLst>
            <pc:docMk/>
            <pc:sldMk cId="3073011292" sldId="1063"/>
            <ac:cxnSpMk id="34" creationId="{906E7155-34B4-4EDD-8A2B-D2ECCFEDD7A2}"/>
          </ac:cxnSpMkLst>
        </pc:cxnChg>
        <pc:cxnChg chg="add del mod">
          <ac:chgData name="Arjan van der Meer" userId="008f28a2-684e-4523-b3ca-dcb37d9c3e5d" providerId="ADAL" clId="{C3C0D317-475B-426A-8FE4-7C706DFBFC41}" dt="2021-10-25T11:51:29.859" v="3308" actId="478"/>
          <ac:cxnSpMkLst>
            <pc:docMk/>
            <pc:sldMk cId="3073011292" sldId="1063"/>
            <ac:cxnSpMk id="35" creationId="{30542BCB-83BC-4DA8-97BE-C32B6526DF6E}"/>
          </ac:cxnSpMkLst>
        </pc:cxnChg>
        <pc:cxnChg chg="add del mod">
          <ac:chgData name="Arjan van der Meer" userId="008f28a2-684e-4523-b3ca-dcb37d9c3e5d" providerId="ADAL" clId="{C3C0D317-475B-426A-8FE4-7C706DFBFC41}" dt="2021-10-25T11:51:29.859" v="3308" actId="478"/>
          <ac:cxnSpMkLst>
            <pc:docMk/>
            <pc:sldMk cId="3073011292" sldId="1063"/>
            <ac:cxnSpMk id="36" creationId="{A27CFACD-C417-45B8-B17C-BD8E2DB1ED6F}"/>
          </ac:cxnSpMkLst>
        </pc:cxnChg>
        <pc:cxnChg chg="add del mod">
          <ac:chgData name="Arjan van der Meer" userId="008f28a2-684e-4523-b3ca-dcb37d9c3e5d" providerId="ADAL" clId="{C3C0D317-475B-426A-8FE4-7C706DFBFC41}" dt="2021-10-25T11:51:39.634" v="3313" actId="478"/>
          <ac:cxnSpMkLst>
            <pc:docMk/>
            <pc:sldMk cId="3073011292" sldId="1063"/>
            <ac:cxnSpMk id="44" creationId="{F78000E8-AADA-413E-886C-B7437C8DC8F1}"/>
          </ac:cxnSpMkLst>
        </pc:cxnChg>
        <pc:cxnChg chg="add del mod">
          <ac:chgData name="Arjan van der Meer" userId="008f28a2-684e-4523-b3ca-dcb37d9c3e5d" providerId="ADAL" clId="{C3C0D317-475B-426A-8FE4-7C706DFBFC41}" dt="2021-10-20T08:34:07.563" v="550" actId="478"/>
          <ac:cxnSpMkLst>
            <pc:docMk/>
            <pc:sldMk cId="3073011292" sldId="1063"/>
            <ac:cxnSpMk id="46" creationId="{47520999-AB3C-4C3B-8ECA-C5A9CF3C9041}"/>
          </ac:cxnSpMkLst>
        </pc:cxnChg>
        <pc:cxnChg chg="add del mod">
          <ac:chgData name="Arjan van der Meer" userId="008f28a2-684e-4523-b3ca-dcb37d9c3e5d" providerId="ADAL" clId="{C3C0D317-475B-426A-8FE4-7C706DFBFC41}" dt="2021-10-25T11:51:38.921" v="3312" actId="478"/>
          <ac:cxnSpMkLst>
            <pc:docMk/>
            <pc:sldMk cId="3073011292" sldId="1063"/>
            <ac:cxnSpMk id="47" creationId="{90A2EF38-485E-4DCC-A2A8-D4E670D05873}"/>
          </ac:cxnSpMkLst>
        </pc:cxnChg>
        <pc:cxnChg chg="add del mod">
          <ac:chgData name="Arjan van der Meer" userId="008f28a2-684e-4523-b3ca-dcb37d9c3e5d" providerId="ADAL" clId="{C3C0D317-475B-426A-8FE4-7C706DFBFC41}" dt="2021-10-20T08:34:00.909" v="546" actId="478"/>
          <ac:cxnSpMkLst>
            <pc:docMk/>
            <pc:sldMk cId="3073011292" sldId="1063"/>
            <ac:cxnSpMk id="47" creationId="{FC4BAB4F-6EBB-4CB2-95A1-19D26AE28289}"/>
          </ac:cxnSpMkLst>
        </pc:cxnChg>
        <pc:cxnChg chg="add del mod">
          <ac:chgData name="Arjan van der Meer" userId="008f28a2-684e-4523-b3ca-dcb37d9c3e5d" providerId="ADAL" clId="{C3C0D317-475B-426A-8FE4-7C706DFBFC41}" dt="2021-10-25T11:51:37.884" v="3311" actId="478"/>
          <ac:cxnSpMkLst>
            <pc:docMk/>
            <pc:sldMk cId="3073011292" sldId="1063"/>
            <ac:cxnSpMk id="48" creationId="{DB7E9AF6-0E4C-4690-ACB2-0BCA91BB16E8}"/>
          </ac:cxnSpMkLst>
        </pc:cxnChg>
        <pc:cxnChg chg="add mod">
          <ac:chgData name="Arjan van der Meer" userId="008f28a2-684e-4523-b3ca-dcb37d9c3e5d" providerId="ADAL" clId="{C3C0D317-475B-426A-8FE4-7C706DFBFC41}" dt="2021-10-25T12:00:13.403" v="3341" actId="12789"/>
          <ac:cxnSpMkLst>
            <pc:docMk/>
            <pc:sldMk cId="3073011292" sldId="1063"/>
            <ac:cxnSpMk id="49" creationId="{DDCA1091-D361-430C-827D-D3C762563321}"/>
          </ac:cxnSpMkLst>
        </pc:cxnChg>
        <pc:cxnChg chg="add mod">
          <ac:chgData name="Arjan van der Meer" userId="008f28a2-684e-4523-b3ca-dcb37d9c3e5d" providerId="ADAL" clId="{C3C0D317-475B-426A-8FE4-7C706DFBFC41}" dt="2021-10-25T12:00:21.372" v="3342" actId="12789"/>
          <ac:cxnSpMkLst>
            <pc:docMk/>
            <pc:sldMk cId="3073011292" sldId="1063"/>
            <ac:cxnSpMk id="50" creationId="{B7522B28-564A-49F2-BBE9-9D02968C1FA2}"/>
          </ac:cxnSpMkLst>
        </pc:cxnChg>
        <pc:cxnChg chg="add mod">
          <ac:chgData name="Arjan van der Meer" userId="008f28a2-684e-4523-b3ca-dcb37d9c3e5d" providerId="ADAL" clId="{C3C0D317-475B-426A-8FE4-7C706DFBFC41}" dt="2021-10-25T12:00:21.372" v="3342" actId="12789"/>
          <ac:cxnSpMkLst>
            <pc:docMk/>
            <pc:sldMk cId="3073011292" sldId="1063"/>
            <ac:cxnSpMk id="51" creationId="{11060D11-EC1E-4458-ABF7-17E2EC4BB6DF}"/>
          </ac:cxnSpMkLst>
        </pc:cxnChg>
        <pc:cxnChg chg="add del mod">
          <ac:chgData name="Arjan van der Meer" userId="008f28a2-684e-4523-b3ca-dcb37d9c3e5d" providerId="ADAL" clId="{C3C0D317-475B-426A-8FE4-7C706DFBFC41}" dt="2021-10-20T08:34:05.778" v="549" actId="478"/>
          <ac:cxnSpMkLst>
            <pc:docMk/>
            <pc:sldMk cId="3073011292" sldId="1063"/>
            <ac:cxnSpMk id="54" creationId="{12CEBA0B-BA30-49B3-9101-1F908DED4FC2}"/>
          </ac:cxnSpMkLst>
        </pc:cxnChg>
        <pc:cxnChg chg="add mod">
          <ac:chgData name="Arjan van der Meer" userId="008f28a2-684e-4523-b3ca-dcb37d9c3e5d" providerId="ADAL" clId="{C3C0D317-475B-426A-8FE4-7C706DFBFC41}" dt="2021-10-20T08:33:49.649" v="543"/>
          <ac:cxnSpMkLst>
            <pc:docMk/>
            <pc:sldMk cId="3073011292" sldId="1063"/>
            <ac:cxnSpMk id="60" creationId="{CBAA7CE2-9385-430B-A8A1-EF8DD6393C2C}"/>
          </ac:cxnSpMkLst>
        </pc:cxnChg>
        <pc:cxnChg chg="del mod">
          <ac:chgData name="Arjan van der Meer" userId="008f28a2-684e-4523-b3ca-dcb37d9c3e5d" providerId="ADAL" clId="{C3C0D317-475B-426A-8FE4-7C706DFBFC41}" dt="2021-10-20T08:33:24.715" v="536" actId="478"/>
          <ac:cxnSpMkLst>
            <pc:docMk/>
            <pc:sldMk cId="3073011292" sldId="1063"/>
            <ac:cxnSpMk id="62" creationId="{2743069D-41C5-438A-B778-69834FC631B1}"/>
          </ac:cxnSpMkLst>
        </pc:cxnChg>
        <pc:cxnChg chg="del mod">
          <ac:chgData name="Arjan van der Meer" userId="008f28a2-684e-4523-b3ca-dcb37d9c3e5d" providerId="ADAL" clId="{C3C0D317-475B-426A-8FE4-7C706DFBFC41}" dt="2021-10-20T08:33:24.715" v="536" actId="478"/>
          <ac:cxnSpMkLst>
            <pc:docMk/>
            <pc:sldMk cId="3073011292" sldId="1063"/>
            <ac:cxnSpMk id="69" creationId="{17EBEE15-022B-4D89-9FCB-10DFE680F5DD}"/>
          </ac:cxnSpMkLst>
        </pc:cxnChg>
        <pc:cxnChg chg="del mod">
          <ac:chgData name="Arjan van der Meer" userId="008f28a2-684e-4523-b3ca-dcb37d9c3e5d" providerId="ADAL" clId="{C3C0D317-475B-426A-8FE4-7C706DFBFC41}" dt="2021-10-20T08:33:24.715" v="536" actId="478"/>
          <ac:cxnSpMkLst>
            <pc:docMk/>
            <pc:sldMk cId="3073011292" sldId="1063"/>
            <ac:cxnSpMk id="76" creationId="{6220F7DC-8B76-4F79-9EB9-7868E9B08E05}"/>
          </ac:cxnSpMkLst>
        </pc:cxnChg>
      </pc:sldChg>
      <pc:sldChg chg="addSp delSp modSp mod modNotesTx">
        <pc:chgData name="Arjan van der Meer" userId="008f28a2-684e-4523-b3ca-dcb37d9c3e5d" providerId="ADAL" clId="{C3C0D317-475B-426A-8FE4-7C706DFBFC41}" dt="2021-10-25T12:49:17.895" v="3852" actId="20577"/>
        <pc:sldMkLst>
          <pc:docMk/>
          <pc:sldMk cId="1073877126" sldId="1064"/>
        </pc:sldMkLst>
        <pc:spChg chg="mod">
          <ac:chgData name="Arjan van der Meer" userId="008f28a2-684e-4523-b3ca-dcb37d9c3e5d" providerId="ADAL" clId="{C3C0D317-475B-426A-8FE4-7C706DFBFC41}" dt="2021-10-25T12:49:17.895" v="3852" actId="20577"/>
          <ac:spMkLst>
            <pc:docMk/>
            <pc:sldMk cId="1073877126" sldId="1064"/>
            <ac:spMk id="2" creationId="{53CB77FA-CF1B-4B0E-A304-10CE6620EE56}"/>
          </ac:spMkLst>
        </pc:spChg>
        <pc:spChg chg="mod">
          <ac:chgData name="Arjan van der Meer" userId="008f28a2-684e-4523-b3ca-dcb37d9c3e5d" providerId="ADAL" clId="{C3C0D317-475B-426A-8FE4-7C706DFBFC41}" dt="2021-10-20T07:49:25.551" v="339"/>
          <ac:spMkLst>
            <pc:docMk/>
            <pc:sldMk cId="1073877126" sldId="1064"/>
            <ac:spMk id="3" creationId="{4C95D5B2-08E4-446C-9BDA-A34FB03C3650}"/>
          </ac:spMkLst>
        </pc:spChg>
        <pc:spChg chg="mod">
          <ac:chgData name="Arjan van der Meer" userId="008f28a2-684e-4523-b3ca-dcb37d9c3e5d" providerId="ADAL" clId="{C3C0D317-475B-426A-8FE4-7C706DFBFC41}" dt="2021-10-20T07:49:25.551" v="339"/>
          <ac:spMkLst>
            <pc:docMk/>
            <pc:sldMk cId="1073877126" sldId="1064"/>
            <ac:spMk id="4" creationId="{35CB6A7A-9ED0-45D9-BEE5-2A29FF6AF5E1}"/>
          </ac:spMkLst>
        </pc:spChg>
        <pc:spChg chg="mod">
          <ac:chgData name="Arjan van der Meer" userId="008f28a2-684e-4523-b3ca-dcb37d9c3e5d" providerId="ADAL" clId="{C3C0D317-475B-426A-8FE4-7C706DFBFC41}" dt="2021-10-20T07:49:25.551" v="339"/>
          <ac:spMkLst>
            <pc:docMk/>
            <pc:sldMk cId="1073877126" sldId="1064"/>
            <ac:spMk id="5" creationId="{18EF1DD4-3393-4BF5-9274-FA66DD0256AC}"/>
          </ac:spMkLst>
        </pc:spChg>
        <pc:spChg chg="add del mod">
          <ac:chgData name="Arjan van der Meer" userId="008f28a2-684e-4523-b3ca-dcb37d9c3e5d" providerId="ADAL" clId="{C3C0D317-475B-426A-8FE4-7C706DFBFC41}" dt="2021-10-20T08:36:24.985" v="561" actId="21"/>
          <ac:spMkLst>
            <pc:docMk/>
            <pc:sldMk cId="1073877126" sldId="1064"/>
            <ac:spMk id="6" creationId="{875327F0-D0FC-4AFF-B5B4-12ED587C71F7}"/>
          </ac:spMkLst>
        </pc:spChg>
        <pc:spChg chg="add mod">
          <ac:chgData name="Arjan van der Meer" userId="008f28a2-684e-4523-b3ca-dcb37d9c3e5d" providerId="ADAL" clId="{C3C0D317-475B-426A-8FE4-7C706DFBFC41}" dt="2021-10-25T11:50:54.653" v="3304" actId="554"/>
          <ac:spMkLst>
            <pc:docMk/>
            <pc:sldMk cId="1073877126" sldId="1064"/>
            <ac:spMk id="19" creationId="{69D233B8-BD14-42F3-8D3D-E627BF753CE3}"/>
          </ac:spMkLst>
        </pc:spChg>
        <pc:spChg chg="add mod">
          <ac:chgData name="Arjan van der Meer" userId="008f28a2-684e-4523-b3ca-dcb37d9c3e5d" providerId="ADAL" clId="{C3C0D317-475B-426A-8FE4-7C706DFBFC41}" dt="2021-10-25T11:51:04.411" v="3305" actId="554"/>
          <ac:spMkLst>
            <pc:docMk/>
            <pc:sldMk cId="1073877126" sldId="1064"/>
            <ac:spMk id="20" creationId="{AE503076-64F9-4971-927E-2FB0D6A204CD}"/>
          </ac:spMkLst>
        </pc:spChg>
        <pc:spChg chg="add mod">
          <ac:chgData name="Arjan van der Meer" userId="008f28a2-684e-4523-b3ca-dcb37d9c3e5d" providerId="ADAL" clId="{C3C0D317-475B-426A-8FE4-7C706DFBFC41}" dt="2021-10-25T11:51:04.411" v="3305" actId="554"/>
          <ac:spMkLst>
            <pc:docMk/>
            <pc:sldMk cId="1073877126" sldId="1064"/>
            <ac:spMk id="21" creationId="{D353F02A-3E3E-4A23-B0B9-F898044D5C99}"/>
          </ac:spMkLst>
        </pc:spChg>
        <pc:spChg chg="add mod">
          <ac:chgData name="Arjan van der Meer" userId="008f28a2-684e-4523-b3ca-dcb37d9c3e5d" providerId="ADAL" clId="{C3C0D317-475B-426A-8FE4-7C706DFBFC41}" dt="2021-10-25T11:51:04.411" v="3305" actId="554"/>
          <ac:spMkLst>
            <pc:docMk/>
            <pc:sldMk cId="1073877126" sldId="1064"/>
            <ac:spMk id="22" creationId="{1349657E-0642-4270-9080-3D0A4538072D}"/>
          </ac:spMkLst>
        </pc:spChg>
        <pc:spChg chg="add mod">
          <ac:chgData name="Arjan van der Meer" userId="008f28a2-684e-4523-b3ca-dcb37d9c3e5d" providerId="ADAL" clId="{C3C0D317-475B-426A-8FE4-7C706DFBFC41}" dt="2021-10-25T11:50:54.653" v="3304" actId="554"/>
          <ac:spMkLst>
            <pc:docMk/>
            <pc:sldMk cId="1073877126" sldId="1064"/>
            <ac:spMk id="23" creationId="{D12F4F51-4D34-4E14-B4D5-B87447DB6D1E}"/>
          </ac:spMkLst>
        </pc:spChg>
        <pc:spChg chg="add mod">
          <ac:chgData name="Arjan van der Meer" userId="008f28a2-684e-4523-b3ca-dcb37d9c3e5d" providerId="ADAL" clId="{C3C0D317-475B-426A-8FE4-7C706DFBFC41}" dt="2021-10-25T11:50:54.653" v="3304" actId="554"/>
          <ac:spMkLst>
            <pc:docMk/>
            <pc:sldMk cId="1073877126" sldId="1064"/>
            <ac:spMk id="24" creationId="{25E4D455-DDDF-4DA5-9A71-54FF1AB6A335}"/>
          </ac:spMkLst>
        </pc:spChg>
        <pc:spChg chg="add del mod">
          <ac:chgData name="Arjan van der Meer" userId="008f28a2-684e-4523-b3ca-dcb37d9c3e5d" providerId="ADAL" clId="{C3C0D317-475B-426A-8FE4-7C706DFBFC41}" dt="2021-10-20T08:36:24.985" v="561" actId="21"/>
          <ac:spMkLst>
            <pc:docMk/>
            <pc:sldMk cId="1073877126" sldId="1064"/>
            <ac:spMk id="29" creationId="{35C691B4-681B-4AF2-913E-E5034EF490E2}"/>
          </ac:spMkLst>
        </pc:spChg>
        <pc:spChg chg="add del mod">
          <ac:chgData name="Arjan van der Meer" userId="008f28a2-684e-4523-b3ca-dcb37d9c3e5d" providerId="ADAL" clId="{C3C0D317-475B-426A-8FE4-7C706DFBFC41}" dt="2021-10-20T08:36:24.985" v="561" actId="21"/>
          <ac:spMkLst>
            <pc:docMk/>
            <pc:sldMk cId="1073877126" sldId="1064"/>
            <ac:spMk id="30" creationId="{988911F4-62F2-4781-B94E-F96F3DAC8702}"/>
          </ac:spMkLst>
        </pc:spChg>
        <pc:spChg chg="add del mod">
          <ac:chgData name="Arjan van der Meer" userId="008f28a2-684e-4523-b3ca-dcb37d9c3e5d" providerId="ADAL" clId="{C3C0D317-475B-426A-8FE4-7C706DFBFC41}" dt="2021-10-20T08:36:24.985" v="561" actId="21"/>
          <ac:spMkLst>
            <pc:docMk/>
            <pc:sldMk cId="1073877126" sldId="1064"/>
            <ac:spMk id="47" creationId="{A64B8C9F-51E4-416E-8E77-21CB048041C9}"/>
          </ac:spMkLst>
        </pc:spChg>
        <pc:spChg chg="mod">
          <ac:chgData name="Arjan van der Meer" userId="008f28a2-684e-4523-b3ca-dcb37d9c3e5d" providerId="ADAL" clId="{C3C0D317-475B-426A-8FE4-7C706DFBFC41}" dt="2021-10-25T11:44:21.675" v="3212" actId="1076"/>
          <ac:spMkLst>
            <pc:docMk/>
            <pc:sldMk cId="1073877126" sldId="1064"/>
            <ac:spMk id="48" creationId="{0A5A1562-6B26-4D25-AD5C-5EECE04F29C4}"/>
          </ac:spMkLst>
        </pc:spChg>
        <pc:spChg chg="mod">
          <ac:chgData name="Arjan van der Meer" userId="008f28a2-684e-4523-b3ca-dcb37d9c3e5d" providerId="ADAL" clId="{C3C0D317-475B-426A-8FE4-7C706DFBFC41}" dt="2021-10-25T11:50:22.903" v="3294" actId="1037"/>
          <ac:spMkLst>
            <pc:docMk/>
            <pc:sldMk cId="1073877126" sldId="1064"/>
            <ac:spMk id="49" creationId="{13CE74E9-EF83-4FA6-9D22-5CE5AE28988B}"/>
          </ac:spMkLst>
        </pc:spChg>
        <pc:spChg chg="del mod">
          <ac:chgData name="Arjan van der Meer" userId="008f28a2-684e-4523-b3ca-dcb37d9c3e5d" providerId="ADAL" clId="{C3C0D317-475B-426A-8FE4-7C706DFBFC41}" dt="2021-10-20T08:29:11.375" v="477"/>
          <ac:spMkLst>
            <pc:docMk/>
            <pc:sldMk cId="1073877126" sldId="1064"/>
            <ac:spMk id="50" creationId="{8BA9D30A-F8CC-47B7-AE80-28737E620E02}"/>
          </ac:spMkLst>
        </pc:spChg>
        <pc:spChg chg="del mod">
          <ac:chgData name="Arjan van der Meer" userId="008f28a2-684e-4523-b3ca-dcb37d9c3e5d" providerId="ADAL" clId="{C3C0D317-475B-426A-8FE4-7C706DFBFC41}" dt="2021-10-20T08:29:11.378" v="481"/>
          <ac:spMkLst>
            <pc:docMk/>
            <pc:sldMk cId="1073877126" sldId="1064"/>
            <ac:spMk id="51" creationId="{C9E23312-A095-4625-9563-A221E3A7F38D}"/>
          </ac:spMkLst>
        </pc:spChg>
        <pc:spChg chg="mod">
          <ac:chgData name="Arjan van der Meer" userId="008f28a2-684e-4523-b3ca-dcb37d9c3e5d" providerId="ADAL" clId="{C3C0D317-475B-426A-8FE4-7C706DFBFC41}" dt="2021-10-25T11:50:24.887" v="3301" actId="1038"/>
          <ac:spMkLst>
            <pc:docMk/>
            <pc:sldMk cId="1073877126" sldId="1064"/>
            <ac:spMk id="52" creationId="{4E0FBEF9-9C87-49D3-9B58-64B48B92F5C9}"/>
          </ac:spMkLst>
        </pc:spChg>
        <pc:spChg chg="add mod">
          <ac:chgData name="Arjan van der Meer" userId="008f28a2-684e-4523-b3ca-dcb37d9c3e5d" providerId="ADAL" clId="{C3C0D317-475B-426A-8FE4-7C706DFBFC41}" dt="2021-10-25T12:00:51.043" v="3346" actId="12789"/>
          <ac:spMkLst>
            <pc:docMk/>
            <pc:sldMk cId="1073877126" sldId="1064"/>
            <ac:spMk id="53" creationId="{26062C52-F13B-4226-9CE0-3A262DC286CF}"/>
          </ac:spMkLst>
        </pc:spChg>
        <pc:spChg chg="del mod">
          <ac:chgData name="Arjan van der Meer" userId="008f28a2-684e-4523-b3ca-dcb37d9c3e5d" providerId="ADAL" clId="{C3C0D317-475B-426A-8FE4-7C706DFBFC41}" dt="2021-10-20T08:29:11.377" v="479"/>
          <ac:spMkLst>
            <pc:docMk/>
            <pc:sldMk cId="1073877126" sldId="1064"/>
            <ac:spMk id="53" creationId="{AA243AA7-F70E-4CEF-A4FB-D2C455BB7B1A}"/>
          </ac:spMkLst>
        </pc:spChg>
        <pc:spChg chg="mod">
          <ac:chgData name="Arjan van der Meer" userId="008f28a2-684e-4523-b3ca-dcb37d9c3e5d" providerId="ADAL" clId="{C3C0D317-475B-426A-8FE4-7C706DFBFC41}" dt="2021-10-25T12:00:41.422" v="3345" actId="12789"/>
          <ac:spMkLst>
            <pc:docMk/>
            <pc:sldMk cId="1073877126" sldId="1064"/>
            <ac:spMk id="55" creationId="{30EFDA3C-2A8C-404C-9FC8-C8F70AA3E181}"/>
          </ac:spMkLst>
        </pc:spChg>
        <pc:spChg chg="mod">
          <ac:chgData name="Arjan van der Meer" userId="008f28a2-684e-4523-b3ca-dcb37d9c3e5d" providerId="ADAL" clId="{C3C0D317-475B-426A-8FE4-7C706DFBFC41}" dt="2021-10-25T12:00:41.422" v="3345" actId="12789"/>
          <ac:spMkLst>
            <pc:docMk/>
            <pc:sldMk cId="1073877126" sldId="1064"/>
            <ac:spMk id="56" creationId="{35D7597D-8037-40C1-BF47-6B3D10EE0BF9}"/>
          </ac:spMkLst>
        </pc:spChg>
        <pc:spChg chg="mod">
          <ac:chgData name="Arjan van der Meer" userId="008f28a2-684e-4523-b3ca-dcb37d9c3e5d" providerId="ADAL" clId="{C3C0D317-475B-426A-8FE4-7C706DFBFC41}" dt="2021-10-25T12:00:41.422" v="3345" actId="12789"/>
          <ac:spMkLst>
            <pc:docMk/>
            <pc:sldMk cId="1073877126" sldId="1064"/>
            <ac:spMk id="57" creationId="{197D498D-D5D6-4759-93E2-42EA9A37CB45}"/>
          </ac:spMkLst>
        </pc:spChg>
        <pc:spChg chg="mod">
          <ac:chgData name="Arjan van der Meer" userId="008f28a2-684e-4523-b3ca-dcb37d9c3e5d" providerId="ADAL" clId="{C3C0D317-475B-426A-8FE4-7C706DFBFC41}" dt="2021-10-25T12:00:51.043" v="3346" actId="12789"/>
          <ac:spMkLst>
            <pc:docMk/>
            <pc:sldMk cId="1073877126" sldId="1064"/>
            <ac:spMk id="58" creationId="{3BF1DB98-FFD3-4E64-9D9D-47D72DD44EEB}"/>
          </ac:spMkLst>
        </pc:spChg>
        <pc:spChg chg="mod">
          <ac:chgData name="Arjan van der Meer" userId="008f28a2-684e-4523-b3ca-dcb37d9c3e5d" providerId="ADAL" clId="{C3C0D317-475B-426A-8FE4-7C706DFBFC41}" dt="2021-10-25T12:00:51.043" v="3346" actId="12789"/>
          <ac:spMkLst>
            <pc:docMk/>
            <pc:sldMk cId="1073877126" sldId="1064"/>
            <ac:spMk id="59" creationId="{A65FD5AC-8538-41AE-AF15-5A7D6618BEFB}"/>
          </ac:spMkLst>
        </pc:spChg>
        <pc:spChg chg="mod">
          <ac:chgData name="Arjan van der Meer" userId="008f28a2-684e-4523-b3ca-dcb37d9c3e5d" providerId="ADAL" clId="{C3C0D317-475B-426A-8FE4-7C706DFBFC41}" dt="2021-10-20T08:29:10.749" v="475" actId="20577"/>
          <ac:spMkLst>
            <pc:docMk/>
            <pc:sldMk cId="1073877126" sldId="1064"/>
            <ac:spMk id="60" creationId="{0B0D5852-EE35-4561-BFE8-AA24EB4DAD9F}"/>
          </ac:spMkLst>
        </pc:spChg>
        <pc:spChg chg="add del mod">
          <ac:chgData name="Arjan van der Meer" userId="008f28a2-684e-4523-b3ca-dcb37d9c3e5d" providerId="ADAL" clId="{C3C0D317-475B-426A-8FE4-7C706DFBFC41}" dt="2021-10-20T08:36:24.985" v="561" actId="21"/>
          <ac:spMkLst>
            <pc:docMk/>
            <pc:sldMk cId="1073877126" sldId="1064"/>
            <ac:spMk id="61" creationId="{74058A14-A379-4355-9960-CABE3B74D8D1}"/>
          </ac:spMkLst>
        </pc:spChg>
        <pc:spChg chg="add del mod">
          <ac:chgData name="Arjan van der Meer" userId="008f28a2-684e-4523-b3ca-dcb37d9c3e5d" providerId="ADAL" clId="{C3C0D317-475B-426A-8FE4-7C706DFBFC41}" dt="2021-10-20T08:36:24.985" v="561" actId="21"/>
          <ac:spMkLst>
            <pc:docMk/>
            <pc:sldMk cId="1073877126" sldId="1064"/>
            <ac:spMk id="63" creationId="{7159EEF3-DA0B-4A79-8EA6-B7D63840F6BA}"/>
          </ac:spMkLst>
        </pc:spChg>
        <pc:spChg chg="mod">
          <ac:chgData name="Arjan van der Meer" userId="008f28a2-684e-4523-b3ca-dcb37d9c3e5d" providerId="ADAL" clId="{C3C0D317-475B-426A-8FE4-7C706DFBFC41}" dt="2021-10-25T11:44:50.918" v="3220" actId="14100"/>
          <ac:spMkLst>
            <pc:docMk/>
            <pc:sldMk cId="1073877126" sldId="1064"/>
            <ac:spMk id="64" creationId="{0236EF38-BC16-4445-B09B-75D3794DA876}"/>
          </ac:spMkLst>
        </pc:spChg>
        <pc:spChg chg="add del mod">
          <ac:chgData name="Arjan van der Meer" userId="008f28a2-684e-4523-b3ca-dcb37d9c3e5d" providerId="ADAL" clId="{C3C0D317-475B-426A-8FE4-7C706DFBFC41}" dt="2021-10-25T11:51:25.900" v="3307"/>
          <ac:spMkLst>
            <pc:docMk/>
            <pc:sldMk cId="1073877126" sldId="1064"/>
            <ac:spMk id="65" creationId="{59E814B2-F46B-4113-8780-3406B8F569C3}"/>
          </ac:spMkLst>
        </pc:spChg>
        <pc:spChg chg="mod">
          <ac:chgData name="Arjan van der Meer" userId="008f28a2-684e-4523-b3ca-dcb37d9c3e5d" providerId="ADAL" clId="{C3C0D317-475B-426A-8FE4-7C706DFBFC41}" dt="2021-10-25T11:49:51.353" v="3272" actId="14100"/>
          <ac:spMkLst>
            <pc:docMk/>
            <pc:sldMk cId="1073877126" sldId="1064"/>
            <ac:spMk id="66" creationId="{F281DEA3-5CB1-45E3-9241-F6431917B150}"/>
          </ac:spMkLst>
        </pc:spChg>
        <pc:spChg chg="add del mod">
          <ac:chgData name="Arjan van der Meer" userId="008f28a2-684e-4523-b3ca-dcb37d9c3e5d" providerId="ADAL" clId="{C3C0D317-475B-426A-8FE4-7C706DFBFC41}" dt="2021-10-25T11:51:25.900" v="3307"/>
          <ac:spMkLst>
            <pc:docMk/>
            <pc:sldMk cId="1073877126" sldId="1064"/>
            <ac:spMk id="67" creationId="{016CDEDE-C079-4F4D-A217-E035F008C00B}"/>
          </ac:spMkLst>
        </pc:spChg>
        <pc:spChg chg="add del mod">
          <ac:chgData name="Arjan van der Meer" userId="008f28a2-684e-4523-b3ca-dcb37d9c3e5d" providerId="ADAL" clId="{C3C0D317-475B-426A-8FE4-7C706DFBFC41}" dt="2021-10-25T11:51:25.900" v="3307"/>
          <ac:spMkLst>
            <pc:docMk/>
            <pc:sldMk cId="1073877126" sldId="1064"/>
            <ac:spMk id="68" creationId="{F4B59697-4224-4019-AECB-7D71D3D55785}"/>
          </ac:spMkLst>
        </pc:spChg>
        <pc:spChg chg="add del mod">
          <ac:chgData name="Arjan van der Meer" userId="008f28a2-684e-4523-b3ca-dcb37d9c3e5d" providerId="ADAL" clId="{C3C0D317-475B-426A-8FE4-7C706DFBFC41}" dt="2021-10-25T11:51:25.900" v="3307"/>
          <ac:spMkLst>
            <pc:docMk/>
            <pc:sldMk cId="1073877126" sldId="1064"/>
            <ac:spMk id="70" creationId="{F5421596-87EE-4CB6-94A8-826E7246E382}"/>
          </ac:spMkLst>
        </pc:spChg>
        <pc:spChg chg="add del mod">
          <ac:chgData name="Arjan van der Meer" userId="008f28a2-684e-4523-b3ca-dcb37d9c3e5d" providerId="ADAL" clId="{C3C0D317-475B-426A-8FE4-7C706DFBFC41}" dt="2021-10-25T11:51:25.900" v="3307"/>
          <ac:spMkLst>
            <pc:docMk/>
            <pc:sldMk cId="1073877126" sldId="1064"/>
            <ac:spMk id="71" creationId="{5C55ABD3-0D9C-4F9A-95D4-7DDABBD4C94F}"/>
          </ac:spMkLst>
        </pc:spChg>
        <pc:spChg chg="add del mod">
          <ac:chgData name="Arjan van der Meer" userId="008f28a2-684e-4523-b3ca-dcb37d9c3e5d" providerId="ADAL" clId="{C3C0D317-475B-426A-8FE4-7C706DFBFC41}" dt="2021-10-25T11:51:25.900" v="3307"/>
          <ac:spMkLst>
            <pc:docMk/>
            <pc:sldMk cId="1073877126" sldId="1064"/>
            <ac:spMk id="72" creationId="{A62B079F-AB85-4D68-A92B-38B1C68D1EB0}"/>
          </ac:spMkLst>
        </pc:spChg>
        <pc:spChg chg="add del mod">
          <ac:chgData name="Arjan van der Meer" userId="008f28a2-684e-4523-b3ca-dcb37d9c3e5d" providerId="ADAL" clId="{C3C0D317-475B-426A-8FE4-7C706DFBFC41}" dt="2021-10-25T11:51:25.900" v="3307"/>
          <ac:spMkLst>
            <pc:docMk/>
            <pc:sldMk cId="1073877126" sldId="1064"/>
            <ac:spMk id="73" creationId="{65DFD547-F301-4118-9370-B034E036A228}"/>
          </ac:spMkLst>
        </pc:spChg>
        <pc:spChg chg="add del mod">
          <ac:chgData name="Arjan van der Meer" userId="008f28a2-684e-4523-b3ca-dcb37d9c3e5d" providerId="ADAL" clId="{C3C0D317-475B-426A-8FE4-7C706DFBFC41}" dt="2021-10-25T11:51:25.900" v="3307"/>
          <ac:spMkLst>
            <pc:docMk/>
            <pc:sldMk cId="1073877126" sldId="1064"/>
            <ac:spMk id="74" creationId="{4F6FD5DA-2FE0-4FF8-81C2-721645322C27}"/>
          </ac:spMkLst>
        </pc:spChg>
        <pc:spChg chg="add del mod">
          <ac:chgData name="Arjan van der Meer" userId="008f28a2-684e-4523-b3ca-dcb37d9c3e5d" providerId="ADAL" clId="{C3C0D317-475B-426A-8FE4-7C706DFBFC41}" dt="2021-10-25T11:51:25.900" v="3307"/>
          <ac:spMkLst>
            <pc:docMk/>
            <pc:sldMk cId="1073877126" sldId="1064"/>
            <ac:spMk id="75" creationId="{9521D81A-D3AF-4ABA-A574-0858B446CA98}"/>
          </ac:spMkLst>
        </pc:spChg>
        <pc:spChg chg="add del mod">
          <ac:chgData name="Arjan van der Meer" userId="008f28a2-684e-4523-b3ca-dcb37d9c3e5d" providerId="ADAL" clId="{C3C0D317-475B-426A-8FE4-7C706DFBFC41}" dt="2021-10-25T11:51:25.900" v="3307"/>
          <ac:spMkLst>
            <pc:docMk/>
            <pc:sldMk cId="1073877126" sldId="1064"/>
            <ac:spMk id="78" creationId="{7A58CAA8-5A5B-4A76-9041-2C10E8C23821}"/>
          </ac:spMkLst>
        </pc:spChg>
        <pc:spChg chg="add del mod">
          <ac:chgData name="Arjan van der Meer" userId="008f28a2-684e-4523-b3ca-dcb37d9c3e5d" providerId="ADAL" clId="{C3C0D317-475B-426A-8FE4-7C706DFBFC41}" dt="2021-10-25T11:51:25.900" v="3307"/>
          <ac:spMkLst>
            <pc:docMk/>
            <pc:sldMk cId="1073877126" sldId="1064"/>
            <ac:spMk id="79" creationId="{05F6B639-D6E0-4516-972E-4FF39E51CF58}"/>
          </ac:spMkLst>
        </pc:spChg>
        <pc:spChg chg="add del mod">
          <ac:chgData name="Arjan van der Meer" userId="008f28a2-684e-4523-b3ca-dcb37d9c3e5d" providerId="ADAL" clId="{C3C0D317-475B-426A-8FE4-7C706DFBFC41}" dt="2021-10-25T11:51:25.900" v="3307"/>
          <ac:spMkLst>
            <pc:docMk/>
            <pc:sldMk cId="1073877126" sldId="1064"/>
            <ac:spMk id="85" creationId="{6F32CE10-A230-4DE2-8E34-D70CB048236B}"/>
          </ac:spMkLst>
        </pc:spChg>
        <pc:spChg chg="add del mod">
          <ac:chgData name="Arjan van der Meer" userId="008f28a2-684e-4523-b3ca-dcb37d9c3e5d" providerId="ADAL" clId="{C3C0D317-475B-426A-8FE4-7C706DFBFC41}" dt="2021-10-25T11:51:25.900" v="3307"/>
          <ac:spMkLst>
            <pc:docMk/>
            <pc:sldMk cId="1073877126" sldId="1064"/>
            <ac:spMk id="86" creationId="{20DA9A1B-58AE-401D-9670-258975095409}"/>
          </ac:spMkLst>
        </pc:spChg>
        <pc:spChg chg="add del mod">
          <ac:chgData name="Arjan van der Meer" userId="008f28a2-684e-4523-b3ca-dcb37d9c3e5d" providerId="ADAL" clId="{C3C0D317-475B-426A-8FE4-7C706DFBFC41}" dt="2021-10-25T11:51:25.900" v="3307"/>
          <ac:spMkLst>
            <pc:docMk/>
            <pc:sldMk cId="1073877126" sldId="1064"/>
            <ac:spMk id="87" creationId="{F02165D6-D43C-4CD7-AF41-CEC3C2DD4898}"/>
          </ac:spMkLst>
        </pc:spChg>
        <pc:spChg chg="add del mod">
          <ac:chgData name="Arjan van der Meer" userId="008f28a2-684e-4523-b3ca-dcb37d9c3e5d" providerId="ADAL" clId="{C3C0D317-475B-426A-8FE4-7C706DFBFC41}" dt="2021-10-25T11:51:25.900" v="3307"/>
          <ac:spMkLst>
            <pc:docMk/>
            <pc:sldMk cId="1073877126" sldId="1064"/>
            <ac:spMk id="88" creationId="{083BFEB5-BF6A-4BE7-8017-742E8CCBD492}"/>
          </ac:spMkLst>
        </pc:spChg>
        <pc:spChg chg="add del mod">
          <ac:chgData name="Arjan van der Meer" userId="008f28a2-684e-4523-b3ca-dcb37d9c3e5d" providerId="ADAL" clId="{C3C0D317-475B-426A-8FE4-7C706DFBFC41}" dt="2021-10-25T11:51:25.900" v="3307"/>
          <ac:spMkLst>
            <pc:docMk/>
            <pc:sldMk cId="1073877126" sldId="1064"/>
            <ac:spMk id="89" creationId="{58DEEE5C-D7B6-4997-BE38-0303DD69F117}"/>
          </ac:spMkLst>
        </pc:spChg>
        <pc:spChg chg="add del mod">
          <ac:chgData name="Arjan van der Meer" userId="008f28a2-684e-4523-b3ca-dcb37d9c3e5d" providerId="ADAL" clId="{C3C0D317-475B-426A-8FE4-7C706DFBFC41}" dt="2021-10-25T11:51:25.900" v="3307"/>
          <ac:spMkLst>
            <pc:docMk/>
            <pc:sldMk cId="1073877126" sldId="1064"/>
            <ac:spMk id="90" creationId="{3D959411-9A18-4643-ACD1-5867E17B4DF9}"/>
          </ac:spMkLst>
        </pc:spChg>
        <pc:spChg chg="add del mod">
          <ac:chgData name="Arjan van der Meer" userId="008f28a2-684e-4523-b3ca-dcb37d9c3e5d" providerId="ADAL" clId="{C3C0D317-475B-426A-8FE4-7C706DFBFC41}" dt="2021-10-25T11:51:25.900" v="3307"/>
          <ac:spMkLst>
            <pc:docMk/>
            <pc:sldMk cId="1073877126" sldId="1064"/>
            <ac:spMk id="91" creationId="{A8A249C3-5C50-46AC-9991-AF7ACB3B9367}"/>
          </ac:spMkLst>
        </pc:spChg>
        <pc:cxnChg chg="add del mod">
          <ac:chgData name="Arjan van der Meer" userId="008f28a2-684e-4523-b3ca-dcb37d9c3e5d" providerId="ADAL" clId="{C3C0D317-475B-426A-8FE4-7C706DFBFC41}" dt="2021-10-20T08:36:24.985" v="561" actId="21"/>
          <ac:cxnSpMkLst>
            <pc:docMk/>
            <pc:sldMk cId="1073877126" sldId="1064"/>
            <ac:cxnSpMk id="10" creationId="{7E792568-6D0C-4E30-B193-8933D6B2FA2D}"/>
          </ac:cxnSpMkLst>
        </pc:cxnChg>
        <pc:cxnChg chg="add del mod">
          <ac:chgData name="Arjan van der Meer" userId="008f28a2-684e-4523-b3ca-dcb37d9c3e5d" providerId="ADAL" clId="{C3C0D317-475B-426A-8FE4-7C706DFBFC41}" dt="2021-10-20T08:29:51.987" v="491" actId="478"/>
          <ac:cxnSpMkLst>
            <pc:docMk/>
            <pc:sldMk cId="1073877126" sldId="1064"/>
            <ac:cxnSpMk id="12" creationId="{9861A9EA-01A1-4840-891E-6327411AEE2F}"/>
          </ac:cxnSpMkLst>
        </pc:cxnChg>
        <pc:cxnChg chg="add del mod">
          <ac:chgData name="Arjan van der Meer" userId="008f28a2-684e-4523-b3ca-dcb37d9c3e5d" providerId="ADAL" clId="{C3C0D317-475B-426A-8FE4-7C706DFBFC41}" dt="2021-10-20T08:36:24.985" v="561" actId="21"/>
          <ac:cxnSpMkLst>
            <pc:docMk/>
            <pc:sldMk cId="1073877126" sldId="1064"/>
            <ac:cxnSpMk id="14" creationId="{5C1B9866-E2AD-4B54-88FE-CA9CCAE76C52}"/>
          </ac:cxnSpMkLst>
        </pc:cxnChg>
        <pc:cxnChg chg="add del mod">
          <ac:chgData name="Arjan van der Meer" userId="008f28a2-684e-4523-b3ca-dcb37d9c3e5d" providerId="ADAL" clId="{C3C0D317-475B-426A-8FE4-7C706DFBFC41}" dt="2021-10-20T08:36:24.985" v="561" actId="21"/>
          <ac:cxnSpMkLst>
            <pc:docMk/>
            <pc:sldMk cId="1073877126" sldId="1064"/>
            <ac:cxnSpMk id="16" creationId="{CB9C8DE1-5A04-4A9F-A82D-B5F9071E69EC}"/>
          </ac:cxnSpMkLst>
        </pc:cxnChg>
        <pc:cxnChg chg="add del mod">
          <ac:chgData name="Arjan van der Meer" userId="008f28a2-684e-4523-b3ca-dcb37d9c3e5d" providerId="ADAL" clId="{C3C0D317-475B-426A-8FE4-7C706DFBFC41}" dt="2021-10-20T08:36:24.985" v="561" actId="21"/>
          <ac:cxnSpMkLst>
            <pc:docMk/>
            <pc:sldMk cId="1073877126" sldId="1064"/>
            <ac:cxnSpMk id="18" creationId="{D2A4C615-3DA9-4D6C-BF6D-AF96B5E8DCBC}"/>
          </ac:cxnSpMkLst>
        </pc:cxnChg>
        <pc:cxnChg chg="mod">
          <ac:chgData name="Arjan van der Meer" userId="008f28a2-684e-4523-b3ca-dcb37d9c3e5d" providerId="ADAL" clId="{C3C0D317-475B-426A-8FE4-7C706DFBFC41}" dt="2021-10-25T12:00:51.043" v="3346" actId="12789"/>
          <ac:cxnSpMkLst>
            <pc:docMk/>
            <pc:sldMk cId="1073877126" sldId="1064"/>
            <ac:cxnSpMk id="32" creationId="{4058D355-B1C2-4492-BCF0-3609222B0EC2}"/>
          </ac:cxnSpMkLst>
        </pc:cxnChg>
        <pc:cxnChg chg="mod">
          <ac:chgData name="Arjan van der Meer" userId="008f28a2-684e-4523-b3ca-dcb37d9c3e5d" providerId="ADAL" clId="{C3C0D317-475B-426A-8FE4-7C706DFBFC41}" dt="2021-10-25T12:00:41.422" v="3345" actId="12789"/>
          <ac:cxnSpMkLst>
            <pc:docMk/>
            <pc:sldMk cId="1073877126" sldId="1064"/>
            <ac:cxnSpMk id="42" creationId="{85CDD86E-AAF5-44C7-AFE9-0C7E54C84EE7}"/>
          </ac:cxnSpMkLst>
        </pc:cxnChg>
        <pc:cxnChg chg="mod">
          <ac:chgData name="Arjan van der Meer" userId="008f28a2-684e-4523-b3ca-dcb37d9c3e5d" providerId="ADAL" clId="{C3C0D317-475B-426A-8FE4-7C706DFBFC41}" dt="2021-10-25T12:00:41.422" v="3345" actId="12789"/>
          <ac:cxnSpMkLst>
            <pc:docMk/>
            <pc:sldMk cId="1073877126" sldId="1064"/>
            <ac:cxnSpMk id="54" creationId="{4BCF0211-998F-4840-BF81-DAC84EEC675A}"/>
          </ac:cxnSpMkLst>
        </pc:cxnChg>
        <pc:cxnChg chg="mod">
          <ac:chgData name="Arjan van der Meer" userId="008f28a2-684e-4523-b3ca-dcb37d9c3e5d" providerId="ADAL" clId="{C3C0D317-475B-426A-8FE4-7C706DFBFC41}" dt="2021-10-25T12:00:41.422" v="3345" actId="12789"/>
          <ac:cxnSpMkLst>
            <pc:docMk/>
            <pc:sldMk cId="1073877126" sldId="1064"/>
            <ac:cxnSpMk id="62" creationId="{2743069D-41C5-438A-B778-69834FC631B1}"/>
          </ac:cxnSpMkLst>
        </pc:cxnChg>
        <pc:cxnChg chg="mod">
          <ac:chgData name="Arjan van der Meer" userId="008f28a2-684e-4523-b3ca-dcb37d9c3e5d" providerId="ADAL" clId="{C3C0D317-475B-426A-8FE4-7C706DFBFC41}" dt="2021-10-25T12:00:51.043" v="3346" actId="12789"/>
          <ac:cxnSpMkLst>
            <pc:docMk/>
            <pc:sldMk cId="1073877126" sldId="1064"/>
            <ac:cxnSpMk id="69" creationId="{17EBEE15-022B-4D89-9FCB-10DFE680F5DD}"/>
          </ac:cxnSpMkLst>
        </pc:cxnChg>
        <pc:cxnChg chg="mod">
          <ac:chgData name="Arjan van der Meer" userId="008f28a2-684e-4523-b3ca-dcb37d9c3e5d" providerId="ADAL" clId="{C3C0D317-475B-426A-8FE4-7C706DFBFC41}" dt="2021-10-25T12:00:51.043" v="3346" actId="12789"/>
          <ac:cxnSpMkLst>
            <pc:docMk/>
            <pc:sldMk cId="1073877126" sldId="1064"/>
            <ac:cxnSpMk id="76" creationId="{6220F7DC-8B76-4F79-9EB9-7868E9B08E05}"/>
          </ac:cxnSpMkLst>
        </pc:cxnChg>
        <pc:cxnChg chg="add del mod">
          <ac:chgData name="Arjan van der Meer" userId="008f28a2-684e-4523-b3ca-dcb37d9c3e5d" providerId="ADAL" clId="{C3C0D317-475B-426A-8FE4-7C706DFBFC41}" dt="2021-10-25T11:51:25.900" v="3307"/>
          <ac:cxnSpMkLst>
            <pc:docMk/>
            <pc:sldMk cId="1073877126" sldId="1064"/>
            <ac:cxnSpMk id="77" creationId="{8BAEED32-1C86-4CFC-B2E3-6B8C1D574161}"/>
          </ac:cxnSpMkLst>
        </pc:cxnChg>
        <pc:cxnChg chg="add del mod">
          <ac:chgData name="Arjan van der Meer" userId="008f28a2-684e-4523-b3ca-dcb37d9c3e5d" providerId="ADAL" clId="{C3C0D317-475B-426A-8FE4-7C706DFBFC41}" dt="2021-10-25T11:51:25.900" v="3307"/>
          <ac:cxnSpMkLst>
            <pc:docMk/>
            <pc:sldMk cId="1073877126" sldId="1064"/>
            <ac:cxnSpMk id="80" creationId="{02641DFA-E18F-4219-9B38-F998CC37FE91}"/>
          </ac:cxnSpMkLst>
        </pc:cxnChg>
        <pc:cxnChg chg="add del mod">
          <ac:chgData name="Arjan van der Meer" userId="008f28a2-684e-4523-b3ca-dcb37d9c3e5d" providerId="ADAL" clId="{C3C0D317-475B-426A-8FE4-7C706DFBFC41}" dt="2021-10-25T11:51:25.900" v="3307"/>
          <ac:cxnSpMkLst>
            <pc:docMk/>
            <pc:sldMk cId="1073877126" sldId="1064"/>
            <ac:cxnSpMk id="81" creationId="{E0E11CC5-BA35-4F13-B903-C70AB907A835}"/>
          </ac:cxnSpMkLst>
        </pc:cxnChg>
        <pc:cxnChg chg="add del mod">
          <ac:chgData name="Arjan van der Meer" userId="008f28a2-684e-4523-b3ca-dcb37d9c3e5d" providerId="ADAL" clId="{C3C0D317-475B-426A-8FE4-7C706DFBFC41}" dt="2021-10-25T11:51:25.900" v="3307"/>
          <ac:cxnSpMkLst>
            <pc:docMk/>
            <pc:sldMk cId="1073877126" sldId="1064"/>
            <ac:cxnSpMk id="82" creationId="{7FD462D7-D0A8-49A1-B24F-5CA690062516}"/>
          </ac:cxnSpMkLst>
        </pc:cxnChg>
        <pc:cxnChg chg="add del mod">
          <ac:chgData name="Arjan van der Meer" userId="008f28a2-684e-4523-b3ca-dcb37d9c3e5d" providerId="ADAL" clId="{C3C0D317-475B-426A-8FE4-7C706DFBFC41}" dt="2021-10-25T11:51:25.900" v="3307"/>
          <ac:cxnSpMkLst>
            <pc:docMk/>
            <pc:sldMk cId="1073877126" sldId="1064"/>
            <ac:cxnSpMk id="83" creationId="{9EB53B7F-BE72-42C1-9E9A-F07E5617663A}"/>
          </ac:cxnSpMkLst>
        </pc:cxnChg>
        <pc:cxnChg chg="add del mod">
          <ac:chgData name="Arjan van der Meer" userId="008f28a2-684e-4523-b3ca-dcb37d9c3e5d" providerId="ADAL" clId="{C3C0D317-475B-426A-8FE4-7C706DFBFC41}" dt="2021-10-25T11:51:25.900" v="3307"/>
          <ac:cxnSpMkLst>
            <pc:docMk/>
            <pc:sldMk cId="1073877126" sldId="1064"/>
            <ac:cxnSpMk id="84" creationId="{B623A446-A2B8-49BA-A522-8B971774E180}"/>
          </ac:cxnSpMkLst>
        </pc:cxnChg>
      </pc:sldChg>
      <pc:sldChg chg="modSp mod">
        <pc:chgData name="Arjan van der Meer" userId="008f28a2-684e-4523-b3ca-dcb37d9c3e5d" providerId="ADAL" clId="{C3C0D317-475B-426A-8FE4-7C706DFBFC41}" dt="2021-10-25T08:41:50.703" v="2585"/>
        <pc:sldMkLst>
          <pc:docMk/>
          <pc:sldMk cId="4138300204" sldId="1065"/>
        </pc:sldMkLst>
        <pc:spChg chg="mod">
          <ac:chgData name="Arjan van der Meer" userId="008f28a2-684e-4523-b3ca-dcb37d9c3e5d" providerId="ADAL" clId="{C3C0D317-475B-426A-8FE4-7C706DFBFC41}" dt="2021-10-25T08:41:50.703" v="2585"/>
          <ac:spMkLst>
            <pc:docMk/>
            <pc:sldMk cId="4138300204" sldId="1065"/>
            <ac:spMk id="2" creationId="{186E864A-1AF1-41BE-8BBC-7B6F7CCA645E}"/>
          </ac:spMkLst>
        </pc:spChg>
        <pc:spChg chg="mod">
          <ac:chgData name="Arjan van der Meer" userId="008f28a2-684e-4523-b3ca-dcb37d9c3e5d" providerId="ADAL" clId="{C3C0D317-475B-426A-8FE4-7C706DFBFC41}" dt="2021-10-22T13:31:01.818" v="992" actId="20577"/>
          <ac:spMkLst>
            <pc:docMk/>
            <pc:sldMk cId="4138300204" sldId="1065"/>
            <ac:spMk id="5" creationId="{BDE3B0FF-B947-4B45-82C9-28ED80494271}"/>
          </ac:spMkLst>
        </pc:spChg>
      </pc:sldChg>
      <pc:sldChg chg="addSp delSp modSp mod modNotesTx">
        <pc:chgData name="Arjan van der Meer" userId="008f28a2-684e-4523-b3ca-dcb37d9c3e5d" providerId="ADAL" clId="{C3C0D317-475B-426A-8FE4-7C706DFBFC41}" dt="2021-10-25T07:36:20.562" v="2398" actId="207"/>
        <pc:sldMkLst>
          <pc:docMk/>
          <pc:sldMk cId="2419103688" sldId="1068"/>
        </pc:sldMkLst>
        <pc:spChg chg="mod">
          <ac:chgData name="Arjan van der Meer" userId="008f28a2-684e-4523-b3ca-dcb37d9c3e5d" providerId="ADAL" clId="{C3C0D317-475B-426A-8FE4-7C706DFBFC41}" dt="2021-10-20T09:25:05.015" v="759" actId="20577"/>
          <ac:spMkLst>
            <pc:docMk/>
            <pc:sldMk cId="2419103688" sldId="1068"/>
            <ac:spMk id="2" creationId="{37EE78F1-1B90-4346-9F63-78B79F732992}"/>
          </ac:spMkLst>
        </pc:spChg>
        <pc:spChg chg="mod">
          <ac:chgData name="Arjan van der Meer" userId="008f28a2-684e-4523-b3ca-dcb37d9c3e5d" providerId="ADAL" clId="{C3C0D317-475B-426A-8FE4-7C706DFBFC41}" dt="2021-10-20T07:49:25.551" v="339"/>
          <ac:spMkLst>
            <pc:docMk/>
            <pc:sldMk cId="2419103688" sldId="1068"/>
            <ac:spMk id="3" creationId="{8CE28BC5-385A-439E-BF9E-FE7C61C54BC1}"/>
          </ac:spMkLst>
        </pc:spChg>
        <pc:spChg chg="mod">
          <ac:chgData name="Arjan van der Meer" userId="008f28a2-684e-4523-b3ca-dcb37d9c3e5d" providerId="ADAL" clId="{C3C0D317-475B-426A-8FE4-7C706DFBFC41}" dt="2021-10-20T07:49:25.551" v="339"/>
          <ac:spMkLst>
            <pc:docMk/>
            <pc:sldMk cId="2419103688" sldId="1068"/>
            <ac:spMk id="4" creationId="{530216C7-5226-4747-9F90-856EBF5E3AC8}"/>
          </ac:spMkLst>
        </pc:spChg>
        <pc:spChg chg="mod">
          <ac:chgData name="Arjan van der Meer" userId="008f28a2-684e-4523-b3ca-dcb37d9c3e5d" providerId="ADAL" clId="{C3C0D317-475B-426A-8FE4-7C706DFBFC41}" dt="2021-10-20T07:49:25.551" v="339"/>
          <ac:spMkLst>
            <pc:docMk/>
            <pc:sldMk cId="2419103688" sldId="1068"/>
            <ac:spMk id="5" creationId="{9E723DBA-10DE-4E16-8734-B8A286F84B67}"/>
          </ac:spMkLst>
        </pc:spChg>
        <pc:spChg chg="del mod">
          <ac:chgData name="Arjan van der Meer" userId="008f28a2-684e-4523-b3ca-dcb37d9c3e5d" providerId="ADAL" clId="{C3C0D317-475B-426A-8FE4-7C706DFBFC41}" dt="2021-10-20T09:28:06.497" v="761"/>
          <ac:spMkLst>
            <pc:docMk/>
            <pc:sldMk cId="2419103688" sldId="1068"/>
            <ac:spMk id="6" creationId="{558E6CA6-D1AB-449C-B311-A578907A378C}"/>
          </ac:spMkLst>
        </pc:spChg>
        <pc:spChg chg="add mod">
          <ac:chgData name="Arjan van der Meer" userId="008f28a2-684e-4523-b3ca-dcb37d9c3e5d" providerId="ADAL" clId="{C3C0D317-475B-426A-8FE4-7C706DFBFC41}" dt="2021-10-25T07:36:20.562" v="2398" actId="207"/>
          <ac:spMkLst>
            <pc:docMk/>
            <pc:sldMk cId="2419103688" sldId="1068"/>
            <ac:spMk id="8" creationId="{78A476BF-FFED-45B6-BA60-C3C6B9EDF904}"/>
          </ac:spMkLst>
        </pc:spChg>
        <pc:graphicFrameChg chg="add mod modGraphic">
          <ac:chgData name="Arjan van der Meer" userId="008f28a2-684e-4523-b3ca-dcb37d9c3e5d" providerId="ADAL" clId="{C3C0D317-475B-426A-8FE4-7C706DFBFC41}" dt="2021-10-25T07:35:07.714" v="2352" actId="1076"/>
          <ac:graphicFrameMkLst>
            <pc:docMk/>
            <pc:sldMk cId="2419103688" sldId="1068"/>
            <ac:graphicFrameMk id="7" creationId="{27710DC7-F584-4A57-B73E-CC081E8FEF51}"/>
          </ac:graphicFrameMkLst>
        </pc:graphicFrameChg>
      </pc:sldChg>
      <pc:sldChg chg="modSp del">
        <pc:chgData name="Arjan van der Meer" userId="008f28a2-684e-4523-b3ca-dcb37d9c3e5d" providerId="ADAL" clId="{C3C0D317-475B-426A-8FE4-7C706DFBFC41}" dt="2021-10-22T14:09:24.475" v="1190" actId="47"/>
        <pc:sldMkLst>
          <pc:docMk/>
          <pc:sldMk cId="1164450194" sldId="1069"/>
        </pc:sldMkLst>
        <pc:spChg chg="mod">
          <ac:chgData name="Arjan van der Meer" userId="008f28a2-684e-4523-b3ca-dcb37d9c3e5d" providerId="ADAL" clId="{C3C0D317-475B-426A-8FE4-7C706DFBFC41}" dt="2021-10-20T07:49:25.551" v="339"/>
          <ac:spMkLst>
            <pc:docMk/>
            <pc:sldMk cId="1164450194" sldId="1069"/>
            <ac:spMk id="2" creationId="{22EE50F9-2846-43F5-9DA7-9DCD054CEA00}"/>
          </ac:spMkLst>
        </pc:spChg>
        <pc:spChg chg="mod">
          <ac:chgData name="Arjan van der Meer" userId="008f28a2-684e-4523-b3ca-dcb37d9c3e5d" providerId="ADAL" clId="{C3C0D317-475B-426A-8FE4-7C706DFBFC41}" dt="2021-10-20T07:49:25.551" v="339"/>
          <ac:spMkLst>
            <pc:docMk/>
            <pc:sldMk cId="1164450194" sldId="1069"/>
            <ac:spMk id="3" creationId="{27D70264-164F-48D9-B93E-3E1FFD1FC7BB}"/>
          </ac:spMkLst>
        </pc:spChg>
        <pc:spChg chg="mod">
          <ac:chgData name="Arjan van der Meer" userId="008f28a2-684e-4523-b3ca-dcb37d9c3e5d" providerId="ADAL" clId="{C3C0D317-475B-426A-8FE4-7C706DFBFC41}" dt="2021-10-20T07:49:25.551" v="339"/>
          <ac:spMkLst>
            <pc:docMk/>
            <pc:sldMk cId="1164450194" sldId="1069"/>
            <ac:spMk id="4" creationId="{2D72DE12-308E-41B0-98C1-89E59F20B274}"/>
          </ac:spMkLst>
        </pc:spChg>
        <pc:spChg chg="mod">
          <ac:chgData name="Arjan van der Meer" userId="008f28a2-684e-4523-b3ca-dcb37d9c3e5d" providerId="ADAL" clId="{C3C0D317-475B-426A-8FE4-7C706DFBFC41}" dt="2021-10-20T07:49:25.551" v="339"/>
          <ac:spMkLst>
            <pc:docMk/>
            <pc:sldMk cId="1164450194" sldId="1069"/>
            <ac:spMk id="5" creationId="{7C4EF17F-CCC8-4B23-B209-7998D3EDF656}"/>
          </ac:spMkLst>
        </pc:spChg>
      </pc:sldChg>
      <pc:sldChg chg="modSp del mod modNotesTx">
        <pc:chgData name="Arjan van der Meer" userId="008f28a2-684e-4523-b3ca-dcb37d9c3e5d" providerId="ADAL" clId="{C3C0D317-475B-426A-8FE4-7C706DFBFC41}" dt="2021-10-25T12:45:03.268" v="3773" actId="2696"/>
        <pc:sldMkLst>
          <pc:docMk/>
          <pc:sldMk cId="390837408" sldId="1070"/>
        </pc:sldMkLst>
        <pc:spChg chg="mod">
          <ac:chgData name="Arjan van der Meer" userId="008f28a2-684e-4523-b3ca-dcb37d9c3e5d" providerId="ADAL" clId="{C3C0D317-475B-426A-8FE4-7C706DFBFC41}" dt="2021-10-20T08:16:15.159" v="397" actId="20577"/>
          <ac:spMkLst>
            <pc:docMk/>
            <pc:sldMk cId="390837408" sldId="1070"/>
            <ac:spMk id="2" creationId="{6D819374-7C79-4F0D-9321-D9CB6CF2017A}"/>
          </ac:spMkLst>
        </pc:spChg>
        <pc:spChg chg="mod">
          <ac:chgData name="Arjan van der Meer" userId="008f28a2-684e-4523-b3ca-dcb37d9c3e5d" providerId="ADAL" clId="{C3C0D317-475B-426A-8FE4-7C706DFBFC41}" dt="2021-10-25T11:42:11.188" v="3208" actId="20577"/>
          <ac:spMkLst>
            <pc:docMk/>
            <pc:sldMk cId="390837408" sldId="1070"/>
            <ac:spMk id="6" creationId="{25AE9185-6FBC-4A22-BF97-355682DEC9DE}"/>
          </ac:spMkLst>
        </pc:spChg>
      </pc:sldChg>
      <pc:sldChg chg="modSp del">
        <pc:chgData name="Arjan van der Meer" userId="008f28a2-684e-4523-b3ca-dcb37d9c3e5d" providerId="ADAL" clId="{C3C0D317-475B-426A-8FE4-7C706DFBFC41}" dt="2021-10-20T08:15:51.479" v="391" actId="2696"/>
        <pc:sldMkLst>
          <pc:docMk/>
          <pc:sldMk cId="929512785" sldId="1070"/>
        </pc:sldMkLst>
        <pc:spChg chg="mod">
          <ac:chgData name="Arjan van der Meer" userId="008f28a2-684e-4523-b3ca-dcb37d9c3e5d" providerId="ADAL" clId="{C3C0D317-475B-426A-8FE4-7C706DFBFC41}" dt="2021-10-20T07:49:25.551" v="339"/>
          <ac:spMkLst>
            <pc:docMk/>
            <pc:sldMk cId="929512785" sldId="1070"/>
            <ac:spMk id="2" creationId="{6D819374-7C79-4F0D-9321-D9CB6CF2017A}"/>
          </ac:spMkLst>
        </pc:spChg>
        <pc:spChg chg="mod">
          <ac:chgData name="Arjan van der Meer" userId="008f28a2-684e-4523-b3ca-dcb37d9c3e5d" providerId="ADAL" clId="{C3C0D317-475B-426A-8FE4-7C706DFBFC41}" dt="2021-10-20T07:49:25.551" v="339"/>
          <ac:spMkLst>
            <pc:docMk/>
            <pc:sldMk cId="929512785" sldId="1070"/>
            <ac:spMk id="3" creationId="{B98C9F2F-1990-444C-B6E8-C17BA28063E8}"/>
          </ac:spMkLst>
        </pc:spChg>
        <pc:spChg chg="mod">
          <ac:chgData name="Arjan van der Meer" userId="008f28a2-684e-4523-b3ca-dcb37d9c3e5d" providerId="ADAL" clId="{C3C0D317-475B-426A-8FE4-7C706DFBFC41}" dt="2021-10-20T07:49:25.551" v="339"/>
          <ac:spMkLst>
            <pc:docMk/>
            <pc:sldMk cId="929512785" sldId="1070"/>
            <ac:spMk id="4" creationId="{20392CBE-3E0F-473F-9B92-0575CF9553DE}"/>
          </ac:spMkLst>
        </pc:spChg>
        <pc:spChg chg="mod">
          <ac:chgData name="Arjan van der Meer" userId="008f28a2-684e-4523-b3ca-dcb37d9c3e5d" providerId="ADAL" clId="{C3C0D317-475B-426A-8FE4-7C706DFBFC41}" dt="2021-10-20T07:49:25.551" v="339"/>
          <ac:spMkLst>
            <pc:docMk/>
            <pc:sldMk cId="929512785" sldId="1070"/>
            <ac:spMk id="5" creationId="{C7CBD0BC-C1BA-4AFD-947F-6AED747BDA48}"/>
          </ac:spMkLst>
        </pc:spChg>
        <pc:spChg chg="mod">
          <ac:chgData name="Arjan van der Meer" userId="008f28a2-684e-4523-b3ca-dcb37d9c3e5d" providerId="ADAL" clId="{C3C0D317-475B-426A-8FE4-7C706DFBFC41}" dt="2021-10-20T07:49:25.551" v="339"/>
          <ac:spMkLst>
            <pc:docMk/>
            <pc:sldMk cId="929512785" sldId="1070"/>
            <ac:spMk id="6" creationId="{25AE9185-6FBC-4A22-BF97-355682DEC9DE}"/>
          </ac:spMkLst>
        </pc:spChg>
      </pc:sldChg>
      <pc:sldChg chg="modSp mod">
        <pc:chgData name="Arjan van der Meer" userId="008f28a2-684e-4523-b3ca-dcb37d9c3e5d" providerId="ADAL" clId="{C3C0D317-475B-426A-8FE4-7C706DFBFC41}" dt="2021-10-25T12:45:24.216" v="3775" actId="20577"/>
        <pc:sldMkLst>
          <pc:docMk/>
          <pc:sldMk cId="2202544704" sldId="1070"/>
        </pc:sldMkLst>
        <pc:spChg chg="mod">
          <ac:chgData name="Arjan van der Meer" userId="008f28a2-684e-4523-b3ca-dcb37d9c3e5d" providerId="ADAL" clId="{C3C0D317-475B-426A-8FE4-7C706DFBFC41}" dt="2021-10-25T12:45:24.216" v="3775" actId="20577"/>
          <ac:spMkLst>
            <pc:docMk/>
            <pc:sldMk cId="2202544704" sldId="1070"/>
            <ac:spMk id="2" creationId="{6D819374-7C79-4F0D-9321-D9CB6CF2017A}"/>
          </ac:spMkLst>
        </pc:spChg>
      </pc:sldChg>
      <pc:sldChg chg="modSp mod">
        <pc:chgData name="Arjan van der Meer" userId="008f28a2-684e-4523-b3ca-dcb37d9c3e5d" providerId="ADAL" clId="{C3C0D317-475B-426A-8FE4-7C706DFBFC41}" dt="2021-10-25T12:49:01.102" v="3847" actId="20577"/>
        <pc:sldMkLst>
          <pc:docMk/>
          <pc:sldMk cId="4241184338" sldId="1071"/>
        </pc:sldMkLst>
        <pc:spChg chg="mod">
          <ac:chgData name="Arjan van der Meer" userId="008f28a2-684e-4523-b3ca-dcb37d9c3e5d" providerId="ADAL" clId="{C3C0D317-475B-426A-8FE4-7C706DFBFC41}" dt="2021-10-25T12:49:01.102" v="3847" actId="20577"/>
          <ac:spMkLst>
            <pc:docMk/>
            <pc:sldMk cId="4241184338" sldId="1071"/>
            <ac:spMk id="2" creationId="{0921E4BA-B5D3-43BB-B70B-ACCC1C35AFB0}"/>
          </ac:spMkLst>
        </pc:spChg>
        <pc:spChg chg="mod">
          <ac:chgData name="Arjan van der Meer" userId="008f28a2-684e-4523-b3ca-dcb37d9c3e5d" providerId="ADAL" clId="{C3C0D317-475B-426A-8FE4-7C706DFBFC41}" dt="2021-10-20T07:49:25.551" v="339"/>
          <ac:spMkLst>
            <pc:docMk/>
            <pc:sldMk cId="4241184338" sldId="1071"/>
            <ac:spMk id="3" creationId="{00426B26-3965-4852-AAA6-19145620E250}"/>
          </ac:spMkLst>
        </pc:spChg>
        <pc:spChg chg="mod">
          <ac:chgData name="Arjan van der Meer" userId="008f28a2-684e-4523-b3ca-dcb37d9c3e5d" providerId="ADAL" clId="{C3C0D317-475B-426A-8FE4-7C706DFBFC41}" dt="2021-10-20T07:49:25.551" v="339"/>
          <ac:spMkLst>
            <pc:docMk/>
            <pc:sldMk cId="4241184338" sldId="1071"/>
            <ac:spMk id="4" creationId="{AA6DEFD1-1407-470D-9FB5-124C9BA3B856}"/>
          </ac:spMkLst>
        </pc:spChg>
        <pc:spChg chg="mod">
          <ac:chgData name="Arjan van der Meer" userId="008f28a2-684e-4523-b3ca-dcb37d9c3e5d" providerId="ADAL" clId="{C3C0D317-475B-426A-8FE4-7C706DFBFC41}" dt="2021-10-20T07:49:25.551" v="339"/>
          <ac:spMkLst>
            <pc:docMk/>
            <pc:sldMk cId="4241184338" sldId="1071"/>
            <ac:spMk id="5" creationId="{1D81EE01-E15A-41BA-B6B1-3786DD8E5688}"/>
          </ac:spMkLst>
        </pc:spChg>
        <pc:spChg chg="mod">
          <ac:chgData name="Arjan van der Meer" userId="008f28a2-684e-4523-b3ca-dcb37d9c3e5d" providerId="ADAL" clId="{C3C0D317-475B-426A-8FE4-7C706DFBFC41}" dt="2021-10-20T07:49:25.551" v="339"/>
          <ac:spMkLst>
            <pc:docMk/>
            <pc:sldMk cId="4241184338" sldId="1071"/>
            <ac:spMk id="6" creationId="{7AFA5E49-5C9E-436D-B9E5-E00F7822EB87}"/>
          </ac:spMkLst>
        </pc:spChg>
      </pc:sldChg>
      <pc:sldChg chg="modSp mod">
        <pc:chgData name="Arjan van der Meer" userId="008f28a2-684e-4523-b3ca-dcb37d9c3e5d" providerId="ADAL" clId="{C3C0D317-475B-426A-8FE4-7C706DFBFC41}" dt="2021-10-25T12:48:56.332" v="3845" actId="20577"/>
        <pc:sldMkLst>
          <pc:docMk/>
          <pc:sldMk cId="1658168544" sldId="1072"/>
        </pc:sldMkLst>
        <pc:spChg chg="mod">
          <ac:chgData name="Arjan van der Meer" userId="008f28a2-684e-4523-b3ca-dcb37d9c3e5d" providerId="ADAL" clId="{C3C0D317-475B-426A-8FE4-7C706DFBFC41}" dt="2021-10-25T12:48:56.332" v="3845" actId="20577"/>
          <ac:spMkLst>
            <pc:docMk/>
            <pc:sldMk cId="1658168544" sldId="1072"/>
            <ac:spMk id="2" creationId="{24CCB04A-78F0-44EC-AD7A-9502BEC58A09}"/>
          </ac:spMkLst>
        </pc:spChg>
        <pc:spChg chg="mod">
          <ac:chgData name="Arjan van der Meer" userId="008f28a2-684e-4523-b3ca-dcb37d9c3e5d" providerId="ADAL" clId="{C3C0D317-475B-426A-8FE4-7C706DFBFC41}" dt="2021-10-20T07:49:25.551" v="339"/>
          <ac:spMkLst>
            <pc:docMk/>
            <pc:sldMk cId="1658168544" sldId="1072"/>
            <ac:spMk id="3" creationId="{BB4BDE70-9AFA-4A05-A9EE-9FA69F704735}"/>
          </ac:spMkLst>
        </pc:spChg>
        <pc:spChg chg="mod">
          <ac:chgData name="Arjan van der Meer" userId="008f28a2-684e-4523-b3ca-dcb37d9c3e5d" providerId="ADAL" clId="{C3C0D317-475B-426A-8FE4-7C706DFBFC41}" dt="2021-10-20T07:49:25.551" v="339"/>
          <ac:spMkLst>
            <pc:docMk/>
            <pc:sldMk cId="1658168544" sldId="1072"/>
            <ac:spMk id="4" creationId="{901D273D-9F69-4B2B-982D-FA19CD5F48C0}"/>
          </ac:spMkLst>
        </pc:spChg>
        <pc:spChg chg="mod">
          <ac:chgData name="Arjan van der Meer" userId="008f28a2-684e-4523-b3ca-dcb37d9c3e5d" providerId="ADAL" clId="{C3C0D317-475B-426A-8FE4-7C706DFBFC41}" dt="2021-10-20T07:49:25.551" v="339"/>
          <ac:spMkLst>
            <pc:docMk/>
            <pc:sldMk cId="1658168544" sldId="1072"/>
            <ac:spMk id="5" creationId="{618081FE-CC9B-4810-A14C-702EAF77D3DA}"/>
          </ac:spMkLst>
        </pc:spChg>
        <pc:spChg chg="mod">
          <ac:chgData name="Arjan van der Meer" userId="008f28a2-684e-4523-b3ca-dcb37d9c3e5d" providerId="ADAL" clId="{C3C0D317-475B-426A-8FE4-7C706DFBFC41}" dt="2021-10-20T07:49:25.551" v="339"/>
          <ac:spMkLst>
            <pc:docMk/>
            <pc:sldMk cId="1658168544" sldId="1072"/>
            <ac:spMk id="6" creationId="{55442F5A-75DE-482B-B1D7-D00AE079567E}"/>
          </ac:spMkLst>
        </pc:spChg>
      </pc:sldChg>
      <pc:sldChg chg="modSp del modTransition">
        <pc:chgData name="Arjan van der Meer" userId="008f28a2-684e-4523-b3ca-dcb37d9c3e5d" providerId="ADAL" clId="{C3C0D317-475B-426A-8FE4-7C706DFBFC41}" dt="2021-10-22T14:13:47.393" v="1192" actId="2696"/>
        <pc:sldMkLst>
          <pc:docMk/>
          <pc:sldMk cId="2772804181" sldId="1073"/>
        </pc:sldMkLst>
        <pc:spChg chg="mod">
          <ac:chgData name="Arjan van der Meer" userId="008f28a2-684e-4523-b3ca-dcb37d9c3e5d" providerId="ADAL" clId="{C3C0D317-475B-426A-8FE4-7C706DFBFC41}" dt="2021-10-20T07:49:25.551" v="339"/>
          <ac:spMkLst>
            <pc:docMk/>
            <pc:sldMk cId="2772804181" sldId="1073"/>
            <ac:spMk id="2" creationId="{0A911719-F6EE-4039-A3F1-59A51A2D41B1}"/>
          </ac:spMkLst>
        </pc:spChg>
        <pc:spChg chg="mod">
          <ac:chgData name="Arjan van der Meer" userId="008f28a2-684e-4523-b3ca-dcb37d9c3e5d" providerId="ADAL" clId="{C3C0D317-475B-426A-8FE4-7C706DFBFC41}" dt="2021-10-20T07:49:25.551" v="339"/>
          <ac:spMkLst>
            <pc:docMk/>
            <pc:sldMk cId="2772804181" sldId="1073"/>
            <ac:spMk id="3" creationId="{E0E217D9-82ED-422F-8E53-FD47393C8E88}"/>
          </ac:spMkLst>
        </pc:spChg>
        <pc:spChg chg="mod">
          <ac:chgData name="Arjan van der Meer" userId="008f28a2-684e-4523-b3ca-dcb37d9c3e5d" providerId="ADAL" clId="{C3C0D317-475B-426A-8FE4-7C706DFBFC41}" dt="2021-10-20T07:49:25.551" v="339"/>
          <ac:spMkLst>
            <pc:docMk/>
            <pc:sldMk cId="2772804181" sldId="1073"/>
            <ac:spMk id="4" creationId="{70229322-5048-4087-BACE-7442AE95F443}"/>
          </ac:spMkLst>
        </pc:spChg>
        <pc:spChg chg="mod">
          <ac:chgData name="Arjan van der Meer" userId="008f28a2-684e-4523-b3ca-dcb37d9c3e5d" providerId="ADAL" clId="{C3C0D317-475B-426A-8FE4-7C706DFBFC41}" dt="2021-10-20T07:49:25.551" v="339"/>
          <ac:spMkLst>
            <pc:docMk/>
            <pc:sldMk cId="2772804181" sldId="1073"/>
            <ac:spMk id="5" creationId="{2DCD3033-093D-4E13-964A-11D69719E91D}"/>
          </ac:spMkLst>
        </pc:spChg>
        <pc:spChg chg="mod">
          <ac:chgData name="Arjan van der Meer" userId="008f28a2-684e-4523-b3ca-dcb37d9c3e5d" providerId="ADAL" clId="{C3C0D317-475B-426A-8FE4-7C706DFBFC41}" dt="2021-10-20T07:49:25.551" v="339"/>
          <ac:spMkLst>
            <pc:docMk/>
            <pc:sldMk cId="2772804181" sldId="1073"/>
            <ac:spMk id="6" creationId="{8443B594-403E-4E93-8654-0D2C30416435}"/>
          </ac:spMkLst>
        </pc:spChg>
      </pc:sldChg>
      <pc:sldChg chg="modSp modNotesTx">
        <pc:chgData name="Arjan van der Meer" userId="008f28a2-684e-4523-b3ca-dcb37d9c3e5d" providerId="ADAL" clId="{C3C0D317-475B-426A-8FE4-7C706DFBFC41}" dt="2021-10-25T08:41:50.703" v="2585"/>
        <pc:sldMkLst>
          <pc:docMk/>
          <pc:sldMk cId="1002399906" sldId="1075"/>
        </pc:sldMkLst>
        <pc:spChg chg="mod">
          <ac:chgData name="Arjan van der Meer" userId="008f28a2-684e-4523-b3ca-dcb37d9c3e5d" providerId="ADAL" clId="{C3C0D317-475B-426A-8FE4-7C706DFBFC41}" dt="2021-10-25T08:41:50.703" v="2585"/>
          <ac:spMkLst>
            <pc:docMk/>
            <pc:sldMk cId="1002399906" sldId="1075"/>
            <ac:spMk id="2" creationId="{B957BCA6-102A-429D-A232-854B87C24FF3}"/>
          </ac:spMkLst>
        </pc:spChg>
        <pc:spChg chg="mod">
          <ac:chgData name="Arjan van der Meer" userId="008f28a2-684e-4523-b3ca-dcb37d9c3e5d" providerId="ADAL" clId="{C3C0D317-475B-426A-8FE4-7C706DFBFC41}" dt="2021-10-20T07:49:25.551" v="339"/>
          <ac:spMkLst>
            <pc:docMk/>
            <pc:sldMk cId="1002399906" sldId="1075"/>
            <ac:spMk id="3" creationId="{5A2DAA75-5287-41CA-A915-A9126CD14C3A}"/>
          </ac:spMkLst>
        </pc:spChg>
        <pc:spChg chg="mod">
          <ac:chgData name="Arjan van der Meer" userId="008f28a2-684e-4523-b3ca-dcb37d9c3e5d" providerId="ADAL" clId="{C3C0D317-475B-426A-8FE4-7C706DFBFC41}" dt="2021-10-20T07:49:25.551" v="339"/>
          <ac:spMkLst>
            <pc:docMk/>
            <pc:sldMk cId="1002399906" sldId="1075"/>
            <ac:spMk id="4" creationId="{0E1A3782-74AB-451E-BA38-0330431DD1CA}"/>
          </ac:spMkLst>
        </pc:spChg>
      </pc:sldChg>
      <pc:sldChg chg="addSp delSp modSp mod modNotesTx">
        <pc:chgData name="Arjan van der Meer" userId="008f28a2-684e-4523-b3ca-dcb37d9c3e5d" providerId="ADAL" clId="{C3C0D317-475B-426A-8FE4-7C706DFBFC41}" dt="2021-10-25T11:00:51.357" v="2856" actId="114"/>
        <pc:sldMkLst>
          <pc:docMk/>
          <pc:sldMk cId="254963194" sldId="1086"/>
        </pc:sldMkLst>
        <pc:spChg chg="mod">
          <ac:chgData name="Arjan van der Meer" userId="008f28a2-684e-4523-b3ca-dcb37d9c3e5d" providerId="ADAL" clId="{C3C0D317-475B-426A-8FE4-7C706DFBFC41}" dt="2021-10-25T08:41:50.703" v="2585"/>
          <ac:spMkLst>
            <pc:docMk/>
            <pc:sldMk cId="254963194" sldId="1086"/>
            <ac:spMk id="2" creationId="{6B4F03B3-FDB5-4883-9907-BC1B4C27AF5F}"/>
          </ac:spMkLst>
        </pc:spChg>
        <pc:spChg chg="mod">
          <ac:chgData name="Arjan van der Meer" userId="008f28a2-684e-4523-b3ca-dcb37d9c3e5d" providerId="ADAL" clId="{C3C0D317-475B-426A-8FE4-7C706DFBFC41}" dt="2021-10-20T07:49:25.551" v="339"/>
          <ac:spMkLst>
            <pc:docMk/>
            <pc:sldMk cId="254963194" sldId="1086"/>
            <ac:spMk id="3" creationId="{129434D4-A711-499F-9C07-3BE3D4965CB6}"/>
          </ac:spMkLst>
        </pc:spChg>
        <pc:spChg chg="mod">
          <ac:chgData name="Arjan van der Meer" userId="008f28a2-684e-4523-b3ca-dcb37d9c3e5d" providerId="ADAL" clId="{C3C0D317-475B-426A-8FE4-7C706DFBFC41}" dt="2021-10-20T07:49:25.551" v="339"/>
          <ac:spMkLst>
            <pc:docMk/>
            <pc:sldMk cId="254963194" sldId="1086"/>
            <ac:spMk id="4" creationId="{7D9AD044-1220-44C5-B13D-1FD68D751977}"/>
          </ac:spMkLst>
        </pc:spChg>
        <pc:spChg chg="add mod">
          <ac:chgData name="Arjan van der Meer" userId="008f28a2-684e-4523-b3ca-dcb37d9c3e5d" providerId="ADAL" clId="{C3C0D317-475B-426A-8FE4-7C706DFBFC41}" dt="2021-10-25T10:57:32.796" v="2807" actId="14100"/>
          <ac:spMkLst>
            <pc:docMk/>
            <pc:sldMk cId="254963194" sldId="1086"/>
            <ac:spMk id="5" creationId="{0F261FE0-184C-4983-8B46-33AF7B6C8105}"/>
          </ac:spMkLst>
        </pc:spChg>
        <pc:spChg chg="add mod">
          <ac:chgData name="Arjan van der Meer" userId="008f28a2-684e-4523-b3ca-dcb37d9c3e5d" providerId="ADAL" clId="{C3C0D317-475B-426A-8FE4-7C706DFBFC41}" dt="2021-10-25T10:57:27.969" v="2806" actId="14100"/>
          <ac:spMkLst>
            <pc:docMk/>
            <pc:sldMk cId="254963194" sldId="1086"/>
            <ac:spMk id="8" creationId="{7680997F-BF54-49B7-8141-67E7B88BE51D}"/>
          </ac:spMkLst>
        </pc:spChg>
        <pc:spChg chg="add mod">
          <ac:chgData name="Arjan van der Meer" userId="008f28a2-684e-4523-b3ca-dcb37d9c3e5d" providerId="ADAL" clId="{C3C0D317-475B-426A-8FE4-7C706DFBFC41}" dt="2021-10-25T10:55:59.486" v="2799" actId="208"/>
          <ac:spMkLst>
            <pc:docMk/>
            <pc:sldMk cId="254963194" sldId="1086"/>
            <ac:spMk id="12" creationId="{596332ED-6E58-4283-B20E-E34778B20B0E}"/>
          </ac:spMkLst>
        </pc:spChg>
        <pc:spChg chg="del mod">
          <ac:chgData name="Arjan van der Meer" userId="008f28a2-684e-4523-b3ca-dcb37d9c3e5d" providerId="ADAL" clId="{C3C0D317-475B-426A-8FE4-7C706DFBFC41}" dt="2021-10-20T06:16:17.045" v="31"/>
          <ac:spMkLst>
            <pc:docMk/>
            <pc:sldMk cId="254963194" sldId="1086"/>
            <ac:spMk id="12" creationId="{E52E5E15-EC04-4078-B394-647ADF8F27E3}"/>
          </ac:spMkLst>
        </pc:spChg>
        <pc:spChg chg="del">
          <ac:chgData name="Arjan van der Meer" userId="008f28a2-684e-4523-b3ca-dcb37d9c3e5d" providerId="ADAL" clId="{C3C0D317-475B-426A-8FE4-7C706DFBFC41}" dt="2021-10-20T06:16:17.043" v="29" actId="478"/>
          <ac:spMkLst>
            <pc:docMk/>
            <pc:sldMk cId="254963194" sldId="1086"/>
            <ac:spMk id="13" creationId="{0EAC1FAA-5346-4EEC-9FB6-B75AE8C557B9}"/>
          </ac:spMkLst>
        </pc:spChg>
        <pc:spChg chg="add mod">
          <ac:chgData name="Arjan van der Meer" userId="008f28a2-684e-4523-b3ca-dcb37d9c3e5d" providerId="ADAL" clId="{C3C0D317-475B-426A-8FE4-7C706DFBFC41}" dt="2021-10-25T10:56:22.416" v="2802" actId="208"/>
          <ac:spMkLst>
            <pc:docMk/>
            <pc:sldMk cId="254963194" sldId="1086"/>
            <ac:spMk id="13" creationId="{8A440996-7D82-4796-9A31-A846748623E6}"/>
          </ac:spMkLst>
        </pc:spChg>
        <pc:spChg chg="add mod">
          <ac:chgData name="Arjan van der Meer" userId="008f28a2-684e-4523-b3ca-dcb37d9c3e5d" providerId="ADAL" clId="{C3C0D317-475B-426A-8FE4-7C706DFBFC41}" dt="2021-10-25T10:57:22.581" v="2805" actId="208"/>
          <ac:spMkLst>
            <pc:docMk/>
            <pc:sldMk cId="254963194" sldId="1086"/>
            <ac:spMk id="14" creationId="{E4D2EE06-969A-4D7C-8423-7F0F36FA0540}"/>
          </ac:spMkLst>
        </pc:spChg>
        <pc:spChg chg="add mod">
          <ac:chgData name="Arjan van der Meer" userId="008f28a2-684e-4523-b3ca-dcb37d9c3e5d" providerId="ADAL" clId="{C3C0D317-475B-426A-8FE4-7C706DFBFC41}" dt="2021-10-25T10:58:55.288" v="2855" actId="113"/>
          <ac:spMkLst>
            <pc:docMk/>
            <pc:sldMk cId="254963194" sldId="1086"/>
            <ac:spMk id="15" creationId="{263D2FE3-5319-4030-A89C-08A155BB6391}"/>
          </ac:spMkLst>
        </pc:spChg>
      </pc:sldChg>
      <pc:sldChg chg="modSp">
        <pc:chgData name="Arjan van der Meer" userId="008f28a2-684e-4523-b3ca-dcb37d9c3e5d" providerId="ADAL" clId="{C3C0D317-475B-426A-8FE4-7C706DFBFC41}" dt="2021-10-25T08:41:50.703" v="2585"/>
        <pc:sldMkLst>
          <pc:docMk/>
          <pc:sldMk cId="2073591893" sldId="1088"/>
        </pc:sldMkLst>
        <pc:spChg chg="mod">
          <ac:chgData name="Arjan van der Meer" userId="008f28a2-684e-4523-b3ca-dcb37d9c3e5d" providerId="ADAL" clId="{C3C0D317-475B-426A-8FE4-7C706DFBFC41}" dt="2021-10-25T08:41:50.703" v="2585"/>
          <ac:spMkLst>
            <pc:docMk/>
            <pc:sldMk cId="2073591893" sldId="1088"/>
            <ac:spMk id="2" creationId="{0CCCE8F1-B5C9-463E-AAD7-D446C7FAB026}"/>
          </ac:spMkLst>
        </pc:spChg>
        <pc:spChg chg="mod">
          <ac:chgData name="Arjan van der Meer" userId="008f28a2-684e-4523-b3ca-dcb37d9c3e5d" providerId="ADAL" clId="{C3C0D317-475B-426A-8FE4-7C706DFBFC41}" dt="2021-10-20T07:49:25.551" v="339"/>
          <ac:spMkLst>
            <pc:docMk/>
            <pc:sldMk cId="2073591893" sldId="1088"/>
            <ac:spMk id="3" creationId="{144DDE2B-249D-4816-8A3B-15A2ACFAAF9F}"/>
          </ac:spMkLst>
        </pc:spChg>
        <pc:spChg chg="mod">
          <ac:chgData name="Arjan van der Meer" userId="008f28a2-684e-4523-b3ca-dcb37d9c3e5d" providerId="ADAL" clId="{C3C0D317-475B-426A-8FE4-7C706DFBFC41}" dt="2021-10-20T07:49:25.551" v="339"/>
          <ac:spMkLst>
            <pc:docMk/>
            <pc:sldMk cId="2073591893" sldId="1088"/>
            <ac:spMk id="4" creationId="{BAEAD3FB-8BFA-4DF6-98BF-A7D44AEA39ED}"/>
          </ac:spMkLst>
        </pc:spChg>
      </pc:sldChg>
      <pc:sldChg chg="modSp mod ord modNotesTx">
        <pc:chgData name="Arjan van der Meer" userId="008f28a2-684e-4523-b3ca-dcb37d9c3e5d" providerId="ADAL" clId="{C3C0D317-475B-426A-8FE4-7C706DFBFC41}" dt="2021-10-25T12:40:19.937" v="3769"/>
        <pc:sldMkLst>
          <pc:docMk/>
          <pc:sldMk cId="2712997306" sldId="1094"/>
        </pc:sldMkLst>
        <pc:spChg chg="mod">
          <ac:chgData name="Arjan van der Meer" userId="008f28a2-684e-4523-b3ca-dcb37d9c3e5d" providerId="ADAL" clId="{C3C0D317-475B-426A-8FE4-7C706DFBFC41}" dt="2021-10-20T08:07:20.596" v="389" actId="20577"/>
          <ac:spMkLst>
            <pc:docMk/>
            <pc:sldMk cId="2712997306" sldId="1094"/>
            <ac:spMk id="2" creationId="{F284C008-9758-4938-BCD7-5645AFD9A1F1}"/>
          </ac:spMkLst>
        </pc:spChg>
        <pc:spChg chg="mod">
          <ac:chgData name="Arjan van der Meer" userId="008f28a2-684e-4523-b3ca-dcb37d9c3e5d" providerId="ADAL" clId="{C3C0D317-475B-426A-8FE4-7C706DFBFC41}" dt="2021-10-20T07:49:25.551" v="339"/>
          <ac:spMkLst>
            <pc:docMk/>
            <pc:sldMk cId="2712997306" sldId="1094"/>
            <ac:spMk id="3" creationId="{5E37A448-D99F-4287-B7A5-C350C49415A6}"/>
          </ac:spMkLst>
        </pc:spChg>
        <pc:spChg chg="mod">
          <ac:chgData name="Arjan van der Meer" userId="008f28a2-684e-4523-b3ca-dcb37d9c3e5d" providerId="ADAL" clId="{C3C0D317-475B-426A-8FE4-7C706DFBFC41}" dt="2021-10-20T07:49:25.551" v="339"/>
          <ac:spMkLst>
            <pc:docMk/>
            <pc:sldMk cId="2712997306" sldId="1094"/>
            <ac:spMk id="4" creationId="{22B8BBDA-A9A8-4598-BD78-1DA267D2A452}"/>
          </ac:spMkLst>
        </pc:spChg>
        <pc:spChg chg="mod">
          <ac:chgData name="Arjan van der Meer" userId="008f28a2-684e-4523-b3ca-dcb37d9c3e5d" providerId="ADAL" clId="{C3C0D317-475B-426A-8FE4-7C706DFBFC41}" dt="2021-10-20T07:49:25.551" v="339"/>
          <ac:spMkLst>
            <pc:docMk/>
            <pc:sldMk cId="2712997306" sldId="1094"/>
            <ac:spMk id="5" creationId="{B2E2BC4A-FC5C-432C-8B0C-E88A87552ED2}"/>
          </ac:spMkLst>
        </pc:spChg>
        <pc:spChg chg="mod">
          <ac:chgData name="Arjan van der Meer" userId="008f28a2-684e-4523-b3ca-dcb37d9c3e5d" providerId="ADAL" clId="{C3C0D317-475B-426A-8FE4-7C706DFBFC41}" dt="2021-10-20T07:49:25.551" v="339"/>
          <ac:spMkLst>
            <pc:docMk/>
            <pc:sldMk cId="2712997306" sldId="1094"/>
            <ac:spMk id="6" creationId="{A7EBF8B7-7F7C-4160-8732-AA20DEF5DC4A}"/>
          </ac:spMkLst>
        </pc:spChg>
      </pc:sldChg>
      <pc:sldChg chg="modSp">
        <pc:chgData name="Arjan van der Meer" userId="008f28a2-684e-4523-b3ca-dcb37d9c3e5d" providerId="ADAL" clId="{C3C0D317-475B-426A-8FE4-7C706DFBFC41}" dt="2021-10-25T08:41:50.703" v="2585"/>
        <pc:sldMkLst>
          <pc:docMk/>
          <pc:sldMk cId="3780689544" sldId="1095"/>
        </pc:sldMkLst>
        <pc:spChg chg="mod">
          <ac:chgData name="Arjan van der Meer" userId="008f28a2-684e-4523-b3ca-dcb37d9c3e5d" providerId="ADAL" clId="{C3C0D317-475B-426A-8FE4-7C706DFBFC41}" dt="2021-10-25T08:41:50.703" v="2585"/>
          <ac:spMkLst>
            <pc:docMk/>
            <pc:sldMk cId="3780689544" sldId="1095"/>
            <ac:spMk id="2" creationId="{B27424E2-51A4-4A6C-B8CC-4319625A3C6D}"/>
          </ac:spMkLst>
        </pc:spChg>
        <pc:spChg chg="mod">
          <ac:chgData name="Arjan van der Meer" userId="008f28a2-684e-4523-b3ca-dcb37d9c3e5d" providerId="ADAL" clId="{C3C0D317-475B-426A-8FE4-7C706DFBFC41}" dt="2021-10-20T07:49:25.551" v="339"/>
          <ac:spMkLst>
            <pc:docMk/>
            <pc:sldMk cId="3780689544" sldId="1095"/>
            <ac:spMk id="3" creationId="{A29FE8BD-B0EE-43C2-97E8-C2E229CEF760}"/>
          </ac:spMkLst>
        </pc:spChg>
        <pc:spChg chg="mod">
          <ac:chgData name="Arjan van der Meer" userId="008f28a2-684e-4523-b3ca-dcb37d9c3e5d" providerId="ADAL" clId="{C3C0D317-475B-426A-8FE4-7C706DFBFC41}" dt="2021-10-20T07:49:25.551" v="339"/>
          <ac:spMkLst>
            <pc:docMk/>
            <pc:sldMk cId="3780689544" sldId="1095"/>
            <ac:spMk id="4" creationId="{3C61325F-01E0-47EA-993A-78604782502F}"/>
          </ac:spMkLst>
        </pc:spChg>
        <pc:spChg chg="mod">
          <ac:chgData name="Arjan van der Meer" userId="008f28a2-684e-4523-b3ca-dcb37d9c3e5d" providerId="ADAL" clId="{C3C0D317-475B-426A-8FE4-7C706DFBFC41}" dt="2021-10-20T07:49:25.551" v="339"/>
          <ac:spMkLst>
            <pc:docMk/>
            <pc:sldMk cId="3780689544" sldId="1095"/>
            <ac:spMk id="5" creationId="{DA0D28F2-9129-4DDC-A23E-2F1DE82CCFFF}"/>
          </ac:spMkLst>
        </pc:spChg>
      </pc:sldChg>
      <pc:sldChg chg="modSp modNotesTx">
        <pc:chgData name="Arjan van der Meer" userId="008f28a2-684e-4523-b3ca-dcb37d9c3e5d" providerId="ADAL" clId="{C3C0D317-475B-426A-8FE4-7C706DFBFC41}" dt="2021-10-25T08:41:50.703" v="2585"/>
        <pc:sldMkLst>
          <pc:docMk/>
          <pc:sldMk cId="1867670977" sldId="1096"/>
        </pc:sldMkLst>
        <pc:spChg chg="mod">
          <ac:chgData name="Arjan van der Meer" userId="008f28a2-684e-4523-b3ca-dcb37d9c3e5d" providerId="ADAL" clId="{C3C0D317-475B-426A-8FE4-7C706DFBFC41}" dt="2021-10-25T08:41:50.703" v="2585"/>
          <ac:spMkLst>
            <pc:docMk/>
            <pc:sldMk cId="1867670977" sldId="1096"/>
            <ac:spMk id="2" creationId="{6009ED39-490C-49ED-940E-630C001C306B}"/>
          </ac:spMkLst>
        </pc:spChg>
        <pc:spChg chg="mod">
          <ac:chgData name="Arjan van der Meer" userId="008f28a2-684e-4523-b3ca-dcb37d9c3e5d" providerId="ADAL" clId="{C3C0D317-475B-426A-8FE4-7C706DFBFC41}" dt="2021-10-20T07:49:25.551" v="339"/>
          <ac:spMkLst>
            <pc:docMk/>
            <pc:sldMk cId="1867670977" sldId="1096"/>
            <ac:spMk id="3" creationId="{E67D9E32-BD11-4006-9FD7-5D515F44D05D}"/>
          </ac:spMkLst>
        </pc:spChg>
        <pc:spChg chg="mod">
          <ac:chgData name="Arjan van der Meer" userId="008f28a2-684e-4523-b3ca-dcb37d9c3e5d" providerId="ADAL" clId="{C3C0D317-475B-426A-8FE4-7C706DFBFC41}" dt="2021-10-20T07:49:25.551" v="339"/>
          <ac:spMkLst>
            <pc:docMk/>
            <pc:sldMk cId="1867670977" sldId="1096"/>
            <ac:spMk id="4" creationId="{0D13E8EA-0AA1-4045-A6C7-67DEDADEC8ED}"/>
          </ac:spMkLst>
        </pc:spChg>
      </pc:sldChg>
      <pc:sldChg chg="modSp del modNotesTx">
        <pc:chgData name="Arjan van der Meer" userId="008f28a2-684e-4523-b3ca-dcb37d9c3e5d" providerId="ADAL" clId="{C3C0D317-475B-426A-8FE4-7C706DFBFC41}" dt="2021-10-25T12:29:20.930" v="3652" actId="2696"/>
        <pc:sldMkLst>
          <pc:docMk/>
          <pc:sldMk cId="317070876" sldId="1097"/>
        </pc:sldMkLst>
        <pc:spChg chg="mod">
          <ac:chgData name="Arjan van der Meer" userId="008f28a2-684e-4523-b3ca-dcb37d9c3e5d" providerId="ADAL" clId="{C3C0D317-475B-426A-8FE4-7C706DFBFC41}" dt="2021-10-20T07:49:25.551" v="339"/>
          <ac:spMkLst>
            <pc:docMk/>
            <pc:sldMk cId="317070876" sldId="1097"/>
            <ac:spMk id="2" creationId="{22EE50F9-2846-43F5-9DA7-9DCD054CEA00}"/>
          </ac:spMkLst>
        </pc:spChg>
        <pc:spChg chg="mod">
          <ac:chgData name="Arjan van der Meer" userId="008f28a2-684e-4523-b3ca-dcb37d9c3e5d" providerId="ADAL" clId="{C3C0D317-475B-426A-8FE4-7C706DFBFC41}" dt="2021-10-20T07:49:25.551" v="339"/>
          <ac:spMkLst>
            <pc:docMk/>
            <pc:sldMk cId="317070876" sldId="1097"/>
            <ac:spMk id="3" creationId="{27D70264-164F-48D9-B93E-3E1FFD1FC7BB}"/>
          </ac:spMkLst>
        </pc:spChg>
        <pc:spChg chg="mod">
          <ac:chgData name="Arjan van der Meer" userId="008f28a2-684e-4523-b3ca-dcb37d9c3e5d" providerId="ADAL" clId="{C3C0D317-475B-426A-8FE4-7C706DFBFC41}" dt="2021-10-20T07:49:25.551" v="339"/>
          <ac:spMkLst>
            <pc:docMk/>
            <pc:sldMk cId="317070876" sldId="1097"/>
            <ac:spMk id="4" creationId="{2D72DE12-308E-41B0-98C1-89E59F20B274}"/>
          </ac:spMkLst>
        </pc:spChg>
        <pc:spChg chg="mod">
          <ac:chgData name="Arjan van der Meer" userId="008f28a2-684e-4523-b3ca-dcb37d9c3e5d" providerId="ADAL" clId="{C3C0D317-475B-426A-8FE4-7C706DFBFC41}" dt="2021-10-20T07:49:25.551" v="339"/>
          <ac:spMkLst>
            <pc:docMk/>
            <pc:sldMk cId="317070876" sldId="1097"/>
            <ac:spMk id="5" creationId="{7C4EF17F-CCC8-4B23-B209-7998D3EDF656}"/>
          </ac:spMkLst>
        </pc:spChg>
      </pc:sldChg>
      <pc:sldChg chg="del">
        <pc:chgData name="Arjan van der Meer" userId="008f28a2-684e-4523-b3ca-dcb37d9c3e5d" providerId="ADAL" clId="{C3C0D317-475B-426A-8FE4-7C706DFBFC41}" dt="2021-10-25T12:39:11.349" v="3742" actId="47"/>
        <pc:sldMkLst>
          <pc:docMk/>
          <pc:sldMk cId="1208677803" sldId="1097"/>
        </pc:sldMkLst>
      </pc:sldChg>
      <pc:sldChg chg="addSp delSp modSp mod modNotesTx">
        <pc:chgData name="Arjan van der Meer" userId="008f28a2-684e-4523-b3ca-dcb37d9c3e5d" providerId="ADAL" clId="{C3C0D317-475B-426A-8FE4-7C706DFBFC41}" dt="2021-10-25T12:49:06.177" v="3849" actId="20577"/>
        <pc:sldMkLst>
          <pc:docMk/>
          <pc:sldMk cId="2435104620" sldId="1098"/>
        </pc:sldMkLst>
        <pc:spChg chg="mod">
          <ac:chgData name="Arjan van der Meer" userId="008f28a2-684e-4523-b3ca-dcb37d9c3e5d" providerId="ADAL" clId="{C3C0D317-475B-426A-8FE4-7C706DFBFC41}" dt="2021-10-25T12:49:06.177" v="3849" actId="20577"/>
          <ac:spMkLst>
            <pc:docMk/>
            <pc:sldMk cId="2435104620" sldId="1098"/>
            <ac:spMk id="2" creationId="{53CB77FA-CF1B-4B0E-A304-10CE6620EE56}"/>
          </ac:spMkLst>
        </pc:spChg>
        <pc:spChg chg="mod">
          <ac:chgData name="Arjan van der Meer" userId="008f28a2-684e-4523-b3ca-dcb37d9c3e5d" providerId="ADAL" clId="{C3C0D317-475B-426A-8FE4-7C706DFBFC41}" dt="2021-10-20T07:49:25.551" v="339"/>
          <ac:spMkLst>
            <pc:docMk/>
            <pc:sldMk cId="2435104620" sldId="1098"/>
            <ac:spMk id="3" creationId="{4C95D5B2-08E4-446C-9BDA-A34FB03C3650}"/>
          </ac:spMkLst>
        </pc:spChg>
        <pc:spChg chg="mod">
          <ac:chgData name="Arjan van der Meer" userId="008f28a2-684e-4523-b3ca-dcb37d9c3e5d" providerId="ADAL" clId="{C3C0D317-475B-426A-8FE4-7C706DFBFC41}" dt="2021-10-20T07:49:25.551" v="339"/>
          <ac:spMkLst>
            <pc:docMk/>
            <pc:sldMk cId="2435104620" sldId="1098"/>
            <ac:spMk id="4" creationId="{35CB6A7A-9ED0-45D9-BEE5-2A29FF6AF5E1}"/>
          </ac:spMkLst>
        </pc:spChg>
        <pc:spChg chg="mod">
          <ac:chgData name="Arjan van der Meer" userId="008f28a2-684e-4523-b3ca-dcb37d9c3e5d" providerId="ADAL" clId="{C3C0D317-475B-426A-8FE4-7C706DFBFC41}" dt="2021-10-20T07:49:25.551" v="339"/>
          <ac:spMkLst>
            <pc:docMk/>
            <pc:sldMk cId="2435104620" sldId="1098"/>
            <ac:spMk id="5" creationId="{18EF1DD4-3393-4BF5-9274-FA66DD0256AC}"/>
          </ac:spMkLst>
        </pc:spChg>
        <pc:spChg chg="mod">
          <ac:chgData name="Arjan van der Meer" userId="008f28a2-684e-4523-b3ca-dcb37d9c3e5d" providerId="ADAL" clId="{C3C0D317-475B-426A-8FE4-7C706DFBFC41}" dt="2021-10-20T08:48:18.911" v="630" actId="20577"/>
          <ac:spMkLst>
            <pc:docMk/>
            <pc:sldMk cId="2435104620" sldId="1098"/>
            <ac:spMk id="17" creationId="{6B8B1B31-0262-4A85-AF84-B56C12108DB4}"/>
          </ac:spMkLst>
        </pc:spChg>
        <pc:spChg chg="add mod">
          <ac:chgData name="Arjan van der Meer" userId="008f28a2-684e-4523-b3ca-dcb37d9c3e5d" providerId="ADAL" clId="{C3C0D317-475B-426A-8FE4-7C706DFBFC41}" dt="2021-10-20T08:37:59.432" v="574" actId="1076"/>
          <ac:spMkLst>
            <pc:docMk/>
            <pc:sldMk cId="2435104620" sldId="1098"/>
            <ac:spMk id="23" creationId="{FA77D003-95A2-48AD-99C2-5FE786EEE659}"/>
          </ac:spMkLst>
        </pc:spChg>
        <pc:spChg chg="add mod">
          <ac:chgData name="Arjan van der Meer" userId="008f28a2-684e-4523-b3ca-dcb37d9c3e5d" providerId="ADAL" clId="{C3C0D317-475B-426A-8FE4-7C706DFBFC41}" dt="2021-10-20T08:37:59.432" v="574" actId="1076"/>
          <ac:spMkLst>
            <pc:docMk/>
            <pc:sldMk cId="2435104620" sldId="1098"/>
            <ac:spMk id="24" creationId="{00D578AC-BF39-4472-B899-A0377C0D76D1}"/>
          </ac:spMkLst>
        </pc:spChg>
        <pc:spChg chg="add del mod">
          <ac:chgData name="Arjan van der Meer" userId="008f28a2-684e-4523-b3ca-dcb37d9c3e5d" providerId="ADAL" clId="{C3C0D317-475B-426A-8FE4-7C706DFBFC41}" dt="2021-10-20T08:36:38.442" v="563" actId="478"/>
          <ac:spMkLst>
            <pc:docMk/>
            <pc:sldMk cId="2435104620" sldId="1098"/>
            <ac:spMk id="25" creationId="{5BFD6550-D4E3-4998-BAE6-AA278CA4D115}"/>
          </ac:spMkLst>
        </pc:spChg>
        <pc:spChg chg="add mod">
          <ac:chgData name="Arjan van der Meer" userId="008f28a2-684e-4523-b3ca-dcb37d9c3e5d" providerId="ADAL" clId="{C3C0D317-475B-426A-8FE4-7C706DFBFC41}" dt="2021-10-20T08:37:59.432" v="574" actId="1076"/>
          <ac:spMkLst>
            <pc:docMk/>
            <pc:sldMk cId="2435104620" sldId="1098"/>
            <ac:spMk id="30" creationId="{D47B9CD5-C7B1-462B-A98E-EE54B5432721}"/>
          </ac:spMkLst>
        </pc:spChg>
        <pc:spChg chg="add mod">
          <ac:chgData name="Arjan van der Meer" userId="008f28a2-684e-4523-b3ca-dcb37d9c3e5d" providerId="ADAL" clId="{C3C0D317-475B-426A-8FE4-7C706DFBFC41}" dt="2021-10-20T08:37:59.432" v="574" actId="1076"/>
          <ac:spMkLst>
            <pc:docMk/>
            <pc:sldMk cId="2435104620" sldId="1098"/>
            <ac:spMk id="31" creationId="{3C6296A4-98DD-432B-BE2A-D627FE092B3C}"/>
          </ac:spMkLst>
        </pc:spChg>
        <pc:spChg chg="add mod">
          <ac:chgData name="Arjan van der Meer" userId="008f28a2-684e-4523-b3ca-dcb37d9c3e5d" providerId="ADAL" clId="{C3C0D317-475B-426A-8FE4-7C706DFBFC41}" dt="2021-10-20T08:37:59.432" v="574" actId="1076"/>
          <ac:spMkLst>
            <pc:docMk/>
            <pc:sldMk cId="2435104620" sldId="1098"/>
            <ac:spMk id="32" creationId="{FF42B23C-AB83-4104-809D-55CC0E262925}"/>
          </ac:spMkLst>
        </pc:spChg>
        <pc:spChg chg="add mod">
          <ac:chgData name="Arjan van der Meer" userId="008f28a2-684e-4523-b3ca-dcb37d9c3e5d" providerId="ADAL" clId="{C3C0D317-475B-426A-8FE4-7C706DFBFC41}" dt="2021-10-25T11:52:00.638" v="3317"/>
          <ac:spMkLst>
            <pc:docMk/>
            <pc:sldMk cId="2435104620" sldId="1098"/>
            <ac:spMk id="34" creationId="{117E0BFB-BB64-4D28-9C43-4D33C273D094}"/>
          </ac:spMkLst>
        </pc:spChg>
        <pc:spChg chg="add mod">
          <ac:chgData name="Arjan van der Meer" userId="008f28a2-684e-4523-b3ca-dcb37d9c3e5d" providerId="ADAL" clId="{C3C0D317-475B-426A-8FE4-7C706DFBFC41}" dt="2021-10-25T11:52:00.638" v="3317"/>
          <ac:spMkLst>
            <pc:docMk/>
            <pc:sldMk cId="2435104620" sldId="1098"/>
            <ac:spMk id="35" creationId="{56E51AEB-B732-47BB-ACE4-1881C2B20B24}"/>
          </ac:spMkLst>
        </pc:spChg>
        <pc:spChg chg="add mod">
          <ac:chgData name="Arjan van der Meer" userId="008f28a2-684e-4523-b3ca-dcb37d9c3e5d" providerId="ADAL" clId="{C3C0D317-475B-426A-8FE4-7C706DFBFC41}" dt="2021-10-25T11:52:00.638" v="3317"/>
          <ac:spMkLst>
            <pc:docMk/>
            <pc:sldMk cId="2435104620" sldId="1098"/>
            <ac:spMk id="36" creationId="{9630286E-8103-45A4-AE8E-6CF17D4BC519}"/>
          </ac:spMkLst>
        </pc:spChg>
        <pc:spChg chg="add mod">
          <ac:chgData name="Arjan van der Meer" userId="008f28a2-684e-4523-b3ca-dcb37d9c3e5d" providerId="ADAL" clId="{C3C0D317-475B-426A-8FE4-7C706DFBFC41}" dt="2021-10-25T11:59:24.318" v="3337" actId="12789"/>
          <ac:spMkLst>
            <pc:docMk/>
            <pc:sldMk cId="2435104620" sldId="1098"/>
            <ac:spMk id="37" creationId="{E934A417-6B93-47E1-AA0F-7D8A28947D1C}"/>
          </ac:spMkLst>
        </pc:spChg>
        <pc:spChg chg="add mod">
          <ac:chgData name="Arjan van der Meer" userId="008f28a2-684e-4523-b3ca-dcb37d9c3e5d" providerId="ADAL" clId="{C3C0D317-475B-426A-8FE4-7C706DFBFC41}" dt="2021-10-25T11:59:24.318" v="3337" actId="12789"/>
          <ac:spMkLst>
            <pc:docMk/>
            <pc:sldMk cId="2435104620" sldId="1098"/>
            <ac:spMk id="38" creationId="{599E70A1-AC0B-436E-A846-7ABB7BC03F12}"/>
          </ac:spMkLst>
        </pc:spChg>
        <pc:spChg chg="add mod">
          <ac:chgData name="Arjan van der Meer" userId="008f28a2-684e-4523-b3ca-dcb37d9c3e5d" providerId="ADAL" clId="{C3C0D317-475B-426A-8FE4-7C706DFBFC41}" dt="2021-10-20T08:37:59.432" v="574" actId="1076"/>
          <ac:spMkLst>
            <pc:docMk/>
            <pc:sldMk cId="2435104620" sldId="1098"/>
            <ac:spMk id="39" creationId="{4B2A2958-2C1B-4AB5-A23D-412E938FF92A}"/>
          </ac:spMkLst>
        </pc:spChg>
        <pc:spChg chg="add mod">
          <ac:chgData name="Arjan van der Meer" userId="008f28a2-684e-4523-b3ca-dcb37d9c3e5d" providerId="ADAL" clId="{C3C0D317-475B-426A-8FE4-7C706DFBFC41}" dt="2021-10-25T11:59:24.318" v="3337" actId="12789"/>
          <ac:spMkLst>
            <pc:docMk/>
            <pc:sldMk cId="2435104620" sldId="1098"/>
            <ac:spMk id="40" creationId="{3DDBA1D4-CB15-420E-9849-AF99575A93A6}"/>
          </ac:spMkLst>
        </pc:spChg>
        <pc:spChg chg="add mod">
          <ac:chgData name="Arjan van der Meer" userId="008f28a2-684e-4523-b3ca-dcb37d9c3e5d" providerId="ADAL" clId="{C3C0D317-475B-426A-8FE4-7C706DFBFC41}" dt="2021-10-25T11:59:32.770" v="3338" actId="12789"/>
          <ac:spMkLst>
            <pc:docMk/>
            <pc:sldMk cId="2435104620" sldId="1098"/>
            <ac:spMk id="41" creationId="{17119FE2-CE63-4666-A58A-4FCB5D8A1D41}"/>
          </ac:spMkLst>
        </pc:spChg>
        <pc:spChg chg="add mod">
          <ac:chgData name="Arjan van der Meer" userId="008f28a2-684e-4523-b3ca-dcb37d9c3e5d" providerId="ADAL" clId="{C3C0D317-475B-426A-8FE4-7C706DFBFC41}" dt="2021-10-25T11:59:32.770" v="3338" actId="12789"/>
          <ac:spMkLst>
            <pc:docMk/>
            <pc:sldMk cId="2435104620" sldId="1098"/>
            <ac:spMk id="42" creationId="{E5E5E916-2D0B-4B61-9B69-FC344DA33391}"/>
          </ac:spMkLst>
        </pc:spChg>
        <pc:spChg chg="add del mod">
          <ac:chgData name="Arjan van der Meer" userId="008f28a2-684e-4523-b3ca-dcb37d9c3e5d" providerId="ADAL" clId="{C3C0D317-475B-426A-8FE4-7C706DFBFC41}" dt="2021-10-25T11:52:07.687" v="3318" actId="478"/>
          <ac:spMkLst>
            <pc:docMk/>
            <pc:sldMk cId="2435104620" sldId="1098"/>
            <ac:spMk id="43" creationId="{14DFC5B7-AF6C-43F0-AA19-AFB752C6BD9E}"/>
          </ac:spMkLst>
        </pc:spChg>
        <pc:spChg chg="add del mod">
          <ac:chgData name="Arjan van der Meer" userId="008f28a2-684e-4523-b3ca-dcb37d9c3e5d" providerId="ADAL" clId="{C3C0D317-475B-426A-8FE4-7C706DFBFC41}" dt="2021-10-25T11:52:07.687" v="3318" actId="478"/>
          <ac:spMkLst>
            <pc:docMk/>
            <pc:sldMk cId="2435104620" sldId="1098"/>
            <ac:spMk id="45" creationId="{FBEB1D26-C222-4B5D-8A0B-2BB3BF00BCBB}"/>
          </ac:spMkLst>
        </pc:spChg>
        <pc:spChg chg="add del mod">
          <ac:chgData name="Arjan van der Meer" userId="008f28a2-684e-4523-b3ca-dcb37d9c3e5d" providerId="ADAL" clId="{C3C0D317-475B-426A-8FE4-7C706DFBFC41}" dt="2021-10-25T11:52:07.687" v="3318" actId="478"/>
          <ac:spMkLst>
            <pc:docMk/>
            <pc:sldMk cId="2435104620" sldId="1098"/>
            <ac:spMk id="46" creationId="{E6B1646A-870A-4DC4-8138-A1B52FA0F285}"/>
          </ac:spMkLst>
        </pc:spChg>
        <pc:spChg chg="del">
          <ac:chgData name="Arjan van der Meer" userId="008f28a2-684e-4523-b3ca-dcb37d9c3e5d" providerId="ADAL" clId="{C3C0D317-475B-426A-8FE4-7C706DFBFC41}" dt="2021-10-25T11:51:59.535" v="3316" actId="478"/>
          <ac:spMkLst>
            <pc:docMk/>
            <pc:sldMk cId="2435104620" sldId="1098"/>
            <ac:spMk id="48" creationId="{0A5A1562-6B26-4D25-AD5C-5EECE04F29C4}"/>
          </ac:spMkLst>
        </pc:spChg>
        <pc:spChg chg="del">
          <ac:chgData name="Arjan van der Meer" userId="008f28a2-684e-4523-b3ca-dcb37d9c3e5d" providerId="ADAL" clId="{C3C0D317-475B-426A-8FE4-7C706DFBFC41}" dt="2021-10-25T11:51:59.535" v="3316" actId="478"/>
          <ac:spMkLst>
            <pc:docMk/>
            <pc:sldMk cId="2435104620" sldId="1098"/>
            <ac:spMk id="49" creationId="{13CE74E9-EF83-4FA6-9D22-5CE5AE28988B}"/>
          </ac:spMkLst>
        </pc:spChg>
        <pc:spChg chg="del">
          <ac:chgData name="Arjan van der Meer" userId="008f28a2-684e-4523-b3ca-dcb37d9c3e5d" providerId="ADAL" clId="{C3C0D317-475B-426A-8FE4-7C706DFBFC41}" dt="2021-10-25T11:51:59.535" v="3316" actId="478"/>
          <ac:spMkLst>
            <pc:docMk/>
            <pc:sldMk cId="2435104620" sldId="1098"/>
            <ac:spMk id="50" creationId="{8BA9D30A-F8CC-47B7-AE80-28737E620E02}"/>
          </ac:spMkLst>
        </pc:spChg>
        <pc:spChg chg="del">
          <ac:chgData name="Arjan van der Meer" userId="008f28a2-684e-4523-b3ca-dcb37d9c3e5d" providerId="ADAL" clId="{C3C0D317-475B-426A-8FE4-7C706DFBFC41}" dt="2021-10-25T11:51:59.535" v="3316" actId="478"/>
          <ac:spMkLst>
            <pc:docMk/>
            <pc:sldMk cId="2435104620" sldId="1098"/>
            <ac:spMk id="51" creationId="{C9E23312-A095-4625-9563-A221E3A7F38D}"/>
          </ac:spMkLst>
        </pc:spChg>
        <pc:spChg chg="del">
          <ac:chgData name="Arjan van der Meer" userId="008f28a2-684e-4523-b3ca-dcb37d9c3e5d" providerId="ADAL" clId="{C3C0D317-475B-426A-8FE4-7C706DFBFC41}" dt="2021-10-25T11:51:59.535" v="3316" actId="478"/>
          <ac:spMkLst>
            <pc:docMk/>
            <pc:sldMk cId="2435104620" sldId="1098"/>
            <ac:spMk id="52" creationId="{4E0FBEF9-9C87-49D3-9B58-64B48B92F5C9}"/>
          </ac:spMkLst>
        </pc:spChg>
        <pc:spChg chg="del">
          <ac:chgData name="Arjan van der Meer" userId="008f28a2-684e-4523-b3ca-dcb37d9c3e5d" providerId="ADAL" clId="{C3C0D317-475B-426A-8FE4-7C706DFBFC41}" dt="2021-10-25T11:51:59.535" v="3316" actId="478"/>
          <ac:spMkLst>
            <pc:docMk/>
            <pc:sldMk cId="2435104620" sldId="1098"/>
            <ac:spMk id="53" creationId="{AA243AA7-F70E-4CEF-A4FB-D2C455BB7B1A}"/>
          </ac:spMkLst>
        </pc:spChg>
        <pc:spChg chg="del">
          <ac:chgData name="Arjan van der Meer" userId="008f28a2-684e-4523-b3ca-dcb37d9c3e5d" providerId="ADAL" clId="{C3C0D317-475B-426A-8FE4-7C706DFBFC41}" dt="2021-10-25T11:51:59.535" v="3316" actId="478"/>
          <ac:spMkLst>
            <pc:docMk/>
            <pc:sldMk cId="2435104620" sldId="1098"/>
            <ac:spMk id="55" creationId="{30EFDA3C-2A8C-404C-9FC8-C8F70AA3E181}"/>
          </ac:spMkLst>
        </pc:spChg>
        <pc:spChg chg="del">
          <ac:chgData name="Arjan van der Meer" userId="008f28a2-684e-4523-b3ca-dcb37d9c3e5d" providerId="ADAL" clId="{C3C0D317-475B-426A-8FE4-7C706DFBFC41}" dt="2021-10-25T11:51:59.535" v="3316" actId="478"/>
          <ac:spMkLst>
            <pc:docMk/>
            <pc:sldMk cId="2435104620" sldId="1098"/>
            <ac:spMk id="56" creationId="{35D7597D-8037-40C1-BF47-6B3D10EE0BF9}"/>
          </ac:spMkLst>
        </pc:spChg>
        <pc:spChg chg="del">
          <ac:chgData name="Arjan van der Meer" userId="008f28a2-684e-4523-b3ca-dcb37d9c3e5d" providerId="ADAL" clId="{C3C0D317-475B-426A-8FE4-7C706DFBFC41}" dt="2021-10-25T11:51:59.535" v="3316" actId="478"/>
          <ac:spMkLst>
            <pc:docMk/>
            <pc:sldMk cId="2435104620" sldId="1098"/>
            <ac:spMk id="57" creationId="{197D498D-D5D6-4759-93E2-42EA9A37CB45}"/>
          </ac:spMkLst>
        </pc:spChg>
        <pc:spChg chg="del">
          <ac:chgData name="Arjan van der Meer" userId="008f28a2-684e-4523-b3ca-dcb37d9c3e5d" providerId="ADAL" clId="{C3C0D317-475B-426A-8FE4-7C706DFBFC41}" dt="2021-10-25T11:51:59.535" v="3316" actId="478"/>
          <ac:spMkLst>
            <pc:docMk/>
            <pc:sldMk cId="2435104620" sldId="1098"/>
            <ac:spMk id="58" creationId="{3BF1DB98-FFD3-4E64-9D9D-47D72DD44EEB}"/>
          </ac:spMkLst>
        </pc:spChg>
        <pc:spChg chg="del">
          <ac:chgData name="Arjan van der Meer" userId="008f28a2-684e-4523-b3ca-dcb37d9c3e5d" providerId="ADAL" clId="{C3C0D317-475B-426A-8FE4-7C706DFBFC41}" dt="2021-10-25T11:51:59.535" v="3316" actId="478"/>
          <ac:spMkLst>
            <pc:docMk/>
            <pc:sldMk cId="2435104620" sldId="1098"/>
            <ac:spMk id="59" creationId="{A65FD5AC-8538-41AE-AF15-5A7D6618BEFB}"/>
          </ac:spMkLst>
        </pc:spChg>
        <pc:spChg chg="add mod">
          <ac:chgData name="Arjan van der Meer" userId="008f28a2-684e-4523-b3ca-dcb37d9c3e5d" providerId="ADAL" clId="{C3C0D317-475B-426A-8FE4-7C706DFBFC41}" dt="2021-10-25T11:52:00.638" v="3317"/>
          <ac:spMkLst>
            <pc:docMk/>
            <pc:sldMk cId="2435104620" sldId="1098"/>
            <ac:spMk id="64" creationId="{47B01373-8E84-4AE7-A5DA-5944C1CF4853}"/>
          </ac:spMkLst>
        </pc:spChg>
        <pc:spChg chg="add del mod">
          <ac:chgData name="Arjan van der Meer" userId="008f28a2-684e-4523-b3ca-dcb37d9c3e5d" providerId="ADAL" clId="{C3C0D317-475B-426A-8FE4-7C706DFBFC41}" dt="2021-10-25T11:52:07.687" v="3318" actId="478"/>
          <ac:spMkLst>
            <pc:docMk/>
            <pc:sldMk cId="2435104620" sldId="1098"/>
            <ac:spMk id="65" creationId="{A674C108-CB79-4ED6-B7F2-471F5873B371}"/>
          </ac:spMkLst>
        </pc:spChg>
        <pc:spChg chg="add del mod">
          <ac:chgData name="Arjan van der Meer" userId="008f28a2-684e-4523-b3ca-dcb37d9c3e5d" providerId="ADAL" clId="{C3C0D317-475B-426A-8FE4-7C706DFBFC41}" dt="2021-10-25T11:52:07.687" v="3318" actId="478"/>
          <ac:spMkLst>
            <pc:docMk/>
            <pc:sldMk cId="2435104620" sldId="1098"/>
            <ac:spMk id="66" creationId="{6851DA98-B938-4CD3-9E0F-FEEDAB41D45E}"/>
          </ac:spMkLst>
        </pc:spChg>
        <pc:spChg chg="add del mod">
          <ac:chgData name="Arjan van der Meer" userId="008f28a2-684e-4523-b3ca-dcb37d9c3e5d" providerId="ADAL" clId="{C3C0D317-475B-426A-8FE4-7C706DFBFC41}" dt="2021-10-25T11:52:07.687" v="3318" actId="478"/>
          <ac:spMkLst>
            <pc:docMk/>
            <pc:sldMk cId="2435104620" sldId="1098"/>
            <ac:spMk id="67" creationId="{DEDFF23C-D6FC-472E-87CF-BE74E597D543}"/>
          </ac:spMkLst>
        </pc:spChg>
        <pc:spChg chg="add mod">
          <ac:chgData name="Arjan van der Meer" userId="008f28a2-684e-4523-b3ca-dcb37d9c3e5d" providerId="ADAL" clId="{C3C0D317-475B-426A-8FE4-7C706DFBFC41}" dt="2021-10-25T11:52:00.638" v="3317"/>
          <ac:spMkLst>
            <pc:docMk/>
            <pc:sldMk cId="2435104620" sldId="1098"/>
            <ac:spMk id="68" creationId="{FCFD719B-4F5B-49EF-BDC7-63BE8E6E9FD4}"/>
          </ac:spMkLst>
        </pc:spChg>
        <pc:spChg chg="add mod">
          <ac:chgData name="Arjan van der Meer" userId="008f28a2-684e-4523-b3ca-dcb37d9c3e5d" providerId="ADAL" clId="{C3C0D317-475B-426A-8FE4-7C706DFBFC41}" dt="2021-10-25T11:52:00.638" v="3317"/>
          <ac:spMkLst>
            <pc:docMk/>
            <pc:sldMk cId="2435104620" sldId="1098"/>
            <ac:spMk id="70" creationId="{790C5EA0-E608-4438-A5F3-EEB5DFE7D962}"/>
          </ac:spMkLst>
        </pc:spChg>
        <pc:spChg chg="add mod">
          <ac:chgData name="Arjan van der Meer" userId="008f28a2-684e-4523-b3ca-dcb37d9c3e5d" providerId="ADAL" clId="{C3C0D317-475B-426A-8FE4-7C706DFBFC41}" dt="2021-10-25T11:59:32.770" v="3338" actId="12789"/>
          <ac:spMkLst>
            <pc:docMk/>
            <pc:sldMk cId="2435104620" sldId="1098"/>
            <ac:spMk id="71" creationId="{4E517789-F745-4CBD-86AC-8EB9D1688E11}"/>
          </ac:spMkLst>
        </pc:spChg>
        <pc:cxnChg chg="add mod">
          <ac:chgData name="Arjan van der Meer" userId="008f28a2-684e-4523-b3ca-dcb37d9c3e5d" providerId="ADAL" clId="{C3C0D317-475B-426A-8FE4-7C706DFBFC41}" dt="2021-10-20T08:37:59.432" v="574" actId="1076"/>
          <ac:cxnSpMkLst>
            <pc:docMk/>
            <pc:sldMk cId="2435104620" sldId="1098"/>
            <ac:cxnSpMk id="7" creationId="{A675CD82-C5FC-44D1-9160-9E25BD549257}"/>
          </ac:cxnSpMkLst>
        </pc:cxnChg>
        <pc:cxnChg chg="add mod">
          <ac:chgData name="Arjan van der Meer" userId="008f28a2-684e-4523-b3ca-dcb37d9c3e5d" providerId="ADAL" clId="{C3C0D317-475B-426A-8FE4-7C706DFBFC41}" dt="2021-10-25T11:52:36.542" v="3323" actId="208"/>
          <ac:cxnSpMkLst>
            <pc:docMk/>
            <pc:sldMk cId="2435104620" sldId="1098"/>
            <ac:cxnSpMk id="8" creationId="{E0E4D673-8BDA-4105-B3A1-C9140ACBD3EA}"/>
          </ac:cxnSpMkLst>
        </pc:cxnChg>
        <pc:cxnChg chg="del mod">
          <ac:chgData name="Arjan van der Meer" userId="008f28a2-684e-4523-b3ca-dcb37d9c3e5d" providerId="ADAL" clId="{C3C0D317-475B-426A-8FE4-7C706DFBFC41}" dt="2021-10-25T11:51:59.535" v="3316" actId="478"/>
          <ac:cxnSpMkLst>
            <pc:docMk/>
            <pc:sldMk cId="2435104620" sldId="1098"/>
            <ac:cxnSpMk id="9" creationId="{95E3B3AC-1966-4964-98A1-6E393BD46141}"/>
          </ac:cxnSpMkLst>
        </pc:cxnChg>
        <pc:cxnChg chg="add mod">
          <ac:chgData name="Arjan van der Meer" userId="008f28a2-684e-4523-b3ca-dcb37d9c3e5d" providerId="ADAL" clId="{C3C0D317-475B-426A-8FE4-7C706DFBFC41}" dt="2021-10-20T08:37:59.432" v="574" actId="1076"/>
          <ac:cxnSpMkLst>
            <pc:docMk/>
            <pc:sldMk cId="2435104620" sldId="1098"/>
            <ac:cxnSpMk id="10" creationId="{0C271C6B-C46A-441D-A89E-D0A12D1A5C0C}"/>
          </ac:cxnSpMkLst>
        </pc:cxnChg>
        <pc:cxnChg chg="add mod">
          <ac:chgData name="Arjan van der Meer" userId="008f28a2-684e-4523-b3ca-dcb37d9c3e5d" providerId="ADAL" clId="{C3C0D317-475B-426A-8FE4-7C706DFBFC41}" dt="2021-10-20T08:37:59.432" v="574" actId="1076"/>
          <ac:cxnSpMkLst>
            <pc:docMk/>
            <pc:sldMk cId="2435104620" sldId="1098"/>
            <ac:cxnSpMk id="12" creationId="{4F74F636-D3CF-4BC0-B76F-3A338F3FAE82}"/>
          </ac:cxnSpMkLst>
        </pc:cxnChg>
        <pc:cxnChg chg="add mod">
          <ac:chgData name="Arjan van der Meer" userId="008f28a2-684e-4523-b3ca-dcb37d9c3e5d" providerId="ADAL" clId="{C3C0D317-475B-426A-8FE4-7C706DFBFC41}" dt="2021-10-25T11:59:24.318" v="3337" actId="12789"/>
          <ac:cxnSpMkLst>
            <pc:docMk/>
            <pc:sldMk cId="2435104620" sldId="1098"/>
            <ac:cxnSpMk id="13" creationId="{37604F7F-3AA9-477B-A01F-270FE215FCB9}"/>
          </ac:cxnSpMkLst>
        </pc:cxnChg>
        <pc:cxnChg chg="del mod">
          <ac:chgData name="Arjan van der Meer" userId="008f28a2-684e-4523-b3ca-dcb37d9c3e5d" providerId="ADAL" clId="{C3C0D317-475B-426A-8FE4-7C706DFBFC41}" dt="2021-10-25T11:51:59.535" v="3316" actId="478"/>
          <ac:cxnSpMkLst>
            <pc:docMk/>
            <pc:sldMk cId="2435104620" sldId="1098"/>
            <ac:cxnSpMk id="15" creationId="{D787F4EF-73AD-4748-9606-15EC401833CD}"/>
          </ac:cxnSpMkLst>
        </pc:cxnChg>
        <pc:cxnChg chg="add mod">
          <ac:chgData name="Arjan van der Meer" userId="008f28a2-684e-4523-b3ca-dcb37d9c3e5d" providerId="ADAL" clId="{C3C0D317-475B-426A-8FE4-7C706DFBFC41}" dt="2021-10-20T08:37:59.432" v="574" actId="1076"/>
          <ac:cxnSpMkLst>
            <pc:docMk/>
            <pc:sldMk cId="2435104620" sldId="1098"/>
            <ac:cxnSpMk id="26" creationId="{D29063AE-E3CA-438F-A868-69EFFBA4852B}"/>
          </ac:cxnSpMkLst>
        </pc:cxnChg>
        <pc:cxnChg chg="add del mod">
          <ac:chgData name="Arjan van der Meer" userId="008f28a2-684e-4523-b3ca-dcb37d9c3e5d" providerId="ADAL" clId="{C3C0D317-475B-426A-8FE4-7C706DFBFC41}" dt="2021-10-20T08:36:53.629" v="565" actId="478"/>
          <ac:cxnSpMkLst>
            <pc:docMk/>
            <pc:sldMk cId="2435104620" sldId="1098"/>
            <ac:cxnSpMk id="27" creationId="{53E7C9D9-28DA-4563-B180-B48476EA3E77}"/>
          </ac:cxnSpMkLst>
        </pc:cxnChg>
        <pc:cxnChg chg="add del mod">
          <ac:chgData name="Arjan van der Meer" userId="008f28a2-684e-4523-b3ca-dcb37d9c3e5d" providerId="ADAL" clId="{C3C0D317-475B-426A-8FE4-7C706DFBFC41}" dt="2021-10-20T08:36:47.166" v="564" actId="478"/>
          <ac:cxnSpMkLst>
            <pc:docMk/>
            <pc:sldMk cId="2435104620" sldId="1098"/>
            <ac:cxnSpMk id="28" creationId="{38DEE4FA-7987-45C7-A598-E248C98CF5F5}"/>
          </ac:cxnSpMkLst>
        </pc:cxnChg>
        <pc:cxnChg chg="add mod">
          <ac:chgData name="Arjan van der Meer" userId="008f28a2-684e-4523-b3ca-dcb37d9c3e5d" providerId="ADAL" clId="{C3C0D317-475B-426A-8FE4-7C706DFBFC41}" dt="2021-10-20T08:37:59.432" v="574" actId="1076"/>
          <ac:cxnSpMkLst>
            <pc:docMk/>
            <pc:sldMk cId="2435104620" sldId="1098"/>
            <ac:cxnSpMk id="29" creationId="{07507B5B-E975-495D-9719-78194FEB477E}"/>
          </ac:cxnSpMkLst>
        </pc:cxnChg>
        <pc:cxnChg chg="add del mod">
          <ac:chgData name="Arjan van der Meer" userId="008f28a2-684e-4523-b3ca-dcb37d9c3e5d" providerId="ADAL" clId="{C3C0D317-475B-426A-8FE4-7C706DFBFC41}" dt="2021-10-25T11:52:10.702" v="3320" actId="478"/>
          <ac:cxnSpMkLst>
            <pc:docMk/>
            <pc:sldMk cId="2435104620" sldId="1098"/>
            <ac:cxnSpMk id="44" creationId="{0C948594-96D1-4ABD-945F-B5E7A62D6D3B}"/>
          </ac:cxnSpMkLst>
        </pc:cxnChg>
        <pc:cxnChg chg="add del mod">
          <ac:chgData name="Arjan van der Meer" userId="008f28a2-684e-4523-b3ca-dcb37d9c3e5d" providerId="ADAL" clId="{C3C0D317-475B-426A-8FE4-7C706DFBFC41}" dt="2021-10-25T11:52:07.687" v="3318" actId="478"/>
          <ac:cxnSpMkLst>
            <pc:docMk/>
            <pc:sldMk cId="2435104620" sldId="1098"/>
            <ac:cxnSpMk id="47" creationId="{8FB8CC6C-C549-4885-BA46-C2D96C384145}"/>
          </ac:cxnSpMkLst>
        </pc:cxnChg>
        <pc:cxnChg chg="add del mod">
          <ac:chgData name="Arjan van der Meer" userId="008f28a2-684e-4523-b3ca-dcb37d9c3e5d" providerId="ADAL" clId="{C3C0D317-475B-426A-8FE4-7C706DFBFC41}" dt="2021-10-25T11:52:09.456" v="3319" actId="478"/>
          <ac:cxnSpMkLst>
            <pc:docMk/>
            <pc:sldMk cId="2435104620" sldId="1098"/>
            <ac:cxnSpMk id="54" creationId="{06FBB23F-B671-4465-9795-BDA177D48961}"/>
          </ac:cxnSpMkLst>
        </pc:cxnChg>
        <pc:cxnChg chg="add mod">
          <ac:chgData name="Arjan van der Meer" userId="008f28a2-684e-4523-b3ca-dcb37d9c3e5d" providerId="ADAL" clId="{C3C0D317-475B-426A-8FE4-7C706DFBFC41}" dt="2021-10-25T11:59:24.318" v="3337" actId="12789"/>
          <ac:cxnSpMkLst>
            <pc:docMk/>
            <pc:sldMk cId="2435104620" sldId="1098"/>
            <ac:cxnSpMk id="60" creationId="{2C131530-8DC5-487C-B066-0F2BE6ED2C45}"/>
          </ac:cxnSpMkLst>
        </pc:cxnChg>
        <pc:cxnChg chg="add mod">
          <ac:chgData name="Arjan van der Meer" userId="008f28a2-684e-4523-b3ca-dcb37d9c3e5d" providerId="ADAL" clId="{C3C0D317-475B-426A-8FE4-7C706DFBFC41}" dt="2021-10-25T11:59:32.770" v="3338" actId="12789"/>
          <ac:cxnSpMkLst>
            <pc:docMk/>
            <pc:sldMk cId="2435104620" sldId="1098"/>
            <ac:cxnSpMk id="61" creationId="{EF2EE6FD-83CC-4DA9-AE62-BB17FB5A108D}"/>
          </ac:cxnSpMkLst>
        </pc:cxnChg>
        <pc:cxnChg chg="del mod">
          <ac:chgData name="Arjan van der Meer" userId="008f28a2-684e-4523-b3ca-dcb37d9c3e5d" providerId="ADAL" clId="{C3C0D317-475B-426A-8FE4-7C706DFBFC41}" dt="2021-10-25T11:51:59.535" v="3316" actId="478"/>
          <ac:cxnSpMkLst>
            <pc:docMk/>
            <pc:sldMk cId="2435104620" sldId="1098"/>
            <ac:cxnSpMk id="62" creationId="{2743069D-41C5-438A-B778-69834FC631B1}"/>
          </ac:cxnSpMkLst>
        </pc:cxnChg>
        <pc:cxnChg chg="add mod">
          <ac:chgData name="Arjan van der Meer" userId="008f28a2-684e-4523-b3ca-dcb37d9c3e5d" providerId="ADAL" clId="{C3C0D317-475B-426A-8FE4-7C706DFBFC41}" dt="2021-10-25T11:59:32.770" v="3338" actId="12789"/>
          <ac:cxnSpMkLst>
            <pc:docMk/>
            <pc:sldMk cId="2435104620" sldId="1098"/>
            <ac:cxnSpMk id="63" creationId="{3E89D847-9DC9-4090-9364-DBC3D4A5410E}"/>
          </ac:cxnSpMkLst>
        </pc:cxnChg>
        <pc:cxnChg chg="del mod">
          <ac:chgData name="Arjan van der Meer" userId="008f28a2-684e-4523-b3ca-dcb37d9c3e5d" providerId="ADAL" clId="{C3C0D317-475B-426A-8FE4-7C706DFBFC41}" dt="2021-10-25T11:51:59.535" v="3316" actId="478"/>
          <ac:cxnSpMkLst>
            <pc:docMk/>
            <pc:sldMk cId="2435104620" sldId="1098"/>
            <ac:cxnSpMk id="69" creationId="{17EBEE15-022B-4D89-9FCB-10DFE680F5DD}"/>
          </ac:cxnSpMkLst>
        </pc:cxnChg>
        <pc:cxnChg chg="del mod">
          <ac:chgData name="Arjan van der Meer" userId="008f28a2-684e-4523-b3ca-dcb37d9c3e5d" providerId="ADAL" clId="{C3C0D317-475B-426A-8FE4-7C706DFBFC41}" dt="2021-10-25T11:51:59.535" v="3316" actId="478"/>
          <ac:cxnSpMkLst>
            <pc:docMk/>
            <pc:sldMk cId="2435104620" sldId="1098"/>
            <ac:cxnSpMk id="76" creationId="{6220F7DC-8B76-4F79-9EB9-7868E9B08E05}"/>
          </ac:cxnSpMkLst>
        </pc:cxnChg>
      </pc:sldChg>
      <pc:sldChg chg="modSp del">
        <pc:chgData name="Arjan van der Meer" userId="008f28a2-684e-4523-b3ca-dcb37d9c3e5d" providerId="ADAL" clId="{C3C0D317-475B-426A-8FE4-7C706DFBFC41}" dt="2021-10-22T14:13:34.053" v="1191" actId="2696"/>
        <pc:sldMkLst>
          <pc:docMk/>
          <pc:sldMk cId="1418581943" sldId="1099"/>
        </pc:sldMkLst>
        <pc:spChg chg="mod">
          <ac:chgData name="Arjan van der Meer" userId="008f28a2-684e-4523-b3ca-dcb37d9c3e5d" providerId="ADAL" clId="{C3C0D317-475B-426A-8FE4-7C706DFBFC41}" dt="2021-10-20T07:49:25.551" v="339"/>
          <ac:spMkLst>
            <pc:docMk/>
            <pc:sldMk cId="1418581943" sldId="1099"/>
            <ac:spMk id="2" creationId="{136D4EF7-1629-42C0-BB43-C8AC24B75F45}"/>
          </ac:spMkLst>
        </pc:spChg>
        <pc:spChg chg="mod">
          <ac:chgData name="Arjan van der Meer" userId="008f28a2-684e-4523-b3ca-dcb37d9c3e5d" providerId="ADAL" clId="{C3C0D317-475B-426A-8FE4-7C706DFBFC41}" dt="2021-10-20T07:49:25.551" v="339"/>
          <ac:spMkLst>
            <pc:docMk/>
            <pc:sldMk cId="1418581943" sldId="1099"/>
            <ac:spMk id="3" creationId="{1CE4FA42-4065-4302-84F1-4C174010E8A6}"/>
          </ac:spMkLst>
        </pc:spChg>
        <pc:spChg chg="mod">
          <ac:chgData name="Arjan van der Meer" userId="008f28a2-684e-4523-b3ca-dcb37d9c3e5d" providerId="ADAL" clId="{C3C0D317-475B-426A-8FE4-7C706DFBFC41}" dt="2021-10-20T07:49:25.551" v="339"/>
          <ac:spMkLst>
            <pc:docMk/>
            <pc:sldMk cId="1418581943" sldId="1099"/>
            <ac:spMk id="4" creationId="{0C6DDE3A-1928-47C1-879D-3A20AE7F8780}"/>
          </ac:spMkLst>
        </pc:spChg>
        <pc:spChg chg="mod">
          <ac:chgData name="Arjan van der Meer" userId="008f28a2-684e-4523-b3ca-dcb37d9c3e5d" providerId="ADAL" clId="{C3C0D317-475B-426A-8FE4-7C706DFBFC41}" dt="2021-10-20T07:49:25.551" v="339"/>
          <ac:spMkLst>
            <pc:docMk/>
            <pc:sldMk cId="1418581943" sldId="1099"/>
            <ac:spMk id="5" creationId="{85912893-3535-45A9-A8FE-9533B2347C60}"/>
          </ac:spMkLst>
        </pc:spChg>
        <pc:spChg chg="mod">
          <ac:chgData name="Arjan van der Meer" userId="008f28a2-684e-4523-b3ca-dcb37d9c3e5d" providerId="ADAL" clId="{C3C0D317-475B-426A-8FE4-7C706DFBFC41}" dt="2021-10-20T07:49:25.551" v="339"/>
          <ac:spMkLst>
            <pc:docMk/>
            <pc:sldMk cId="1418581943" sldId="1099"/>
            <ac:spMk id="6" creationId="{4956D275-0820-4B7F-BC3B-BEB199382246}"/>
          </ac:spMkLst>
        </pc:spChg>
      </pc:sldChg>
      <pc:sldChg chg="modSp">
        <pc:chgData name="Arjan van der Meer" userId="008f28a2-684e-4523-b3ca-dcb37d9c3e5d" providerId="ADAL" clId="{C3C0D317-475B-426A-8FE4-7C706DFBFC41}" dt="2021-10-25T08:41:50.703" v="2585"/>
        <pc:sldMkLst>
          <pc:docMk/>
          <pc:sldMk cId="580675787" sldId="1100"/>
        </pc:sldMkLst>
        <pc:spChg chg="mod">
          <ac:chgData name="Arjan van der Meer" userId="008f28a2-684e-4523-b3ca-dcb37d9c3e5d" providerId="ADAL" clId="{C3C0D317-475B-426A-8FE4-7C706DFBFC41}" dt="2021-10-25T08:41:50.703" v="2585"/>
          <ac:spMkLst>
            <pc:docMk/>
            <pc:sldMk cId="580675787" sldId="1100"/>
            <ac:spMk id="2" creationId="{AF512068-92BA-451B-B103-83D2B7DDC578}"/>
          </ac:spMkLst>
        </pc:spChg>
        <pc:spChg chg="mod">
          <ac:chgData name="Arjan van der Meer" userId="008f28a2-684e-4523-b3ca-dcb37d9c3e5d" providerId="ADAL" clId="{C3C0D317-475B-426A-8FE4-7C706DFBFC41}" dt="2021-10-20T07:49:25.551" v="339"/>
          <ac:spMkLst>
            <pc:docMk/>
            <pc:sldMk cId="580675787" sldId="1100"/>
            <ac:spMk id="3" creationId="{DD839007-8FAF-4BE6-B90B-C58D1EBC141B}"/>
          </ac:spMkLst>
        </pc:spChg>
        <pc:spChg chg="mod">
          <ac:chgData name="Arjan van der Meer" userId="008f28a2-684e-4523-b3ca-dcb37d9c3e5d" providerId="ADAL" clId="{C3C0D317-475B-426A-8FE4-7C706DFBFC41}" dt="2021-10-20T07:49:25.551" v="339"/>
          <ac:spMkLst>
            <pc:docMk/>
            <pc:sldMk cId="580675787" sldId="1100"/>
            <ac:spMk id="4" creationId="{3666C206-DC2D-4F51-BB45-89BB4A6A56B3}"/>
          </ac:spMkLst>
        </pc:spChg>
        <pc:spChg chg="mod">
          <ac:chgData name="Arjan van der Meer" userId="008f28a2-684e-4523-b3ca-dcb37d9c3e5d" providerId="ADAL" clId="{C3C0D317-475B-426A-8FE4-7C706DFBFC41}" dt="2021-10-20T07:49:25.551" v="339"/>
          <ac:spMkLst>
            <pc:docMk/>
            <pc:sldMk cId="580675787" sldId="1100"/>
            <ac:spMk id="5" creationId="{BDB2F28B-D6FF-44F1-84DA-64CC11DC1E40}"/>
          </ac:spMkLst>
        </pc:spChg>
        <pc:spChg chg="mod">
          <ac:chgData name="Arjan van der Meer" userId="008f28a2-684e-4523-b3ca-dcb37d9c3e5d" providerId="ADAL" clId="{C3C0D317-475B-426A-8FE4-7C706DFBFC41}" dt="2021-10-20T07:49:25.551" v="339"/>
          <ac:spMkLst>
            <pc:docMk/>
            <pc:sldMk cId="580675787" sldId="1100"/>
            <ac:spMk id="6" creationId="{E4F6F090-8BE4-4D7B-8188-4363AE6423F4}"/>
          </ac:spMkLst>
        </pc:spChg>
      </pc:sldChg>
      <pc:sldChg chg="modSp">
        <pc:chgData name="Arjan van der Meer" userId="008f28a2-684e-4523-b3ca-dcb37d9c3e5d" providerId="ADAL" clId="{C3C0D317-475B-426A-8FE4-7C706DFBFC41}" dt="2021-10-25T08:41:50.703" v="2585"/>
        <pc:sldMkLst>
          <pc:docMk/>
          <pc:sldMk cId="3565405970" sldId="1101"/>
        </pc:sldMkLst>
        <pc:spChg chg="mod">
          <ac:chgData name="Arjan van der Meer" userId="008f28a2-684e-4523-b3ca-dcb37d9c3e5d" providerId="ADAL" clId="{C3C0D317-475B-426A-8FE4-7C706DFBFC41}" dt="2021-10-25T08:41:50.703" v="2585"/>
          <ac:spMkLst>
            <pc:docMk/>
            <pc:sldMk cId="3565405970" sldId="1101"/>
            <ac:spMk id="2" creationId="{19EE7058-CE8C-48B8-8BD2-D074DED6F38C}"/>
          </ac:spMkLst>
        </pc:spChg>
        <pc:spChg chg="mod">
          <ac:chgData name="Arjan van der Meer" userId="008f28a2-684e-4523-b3ca-dcb37d9c3e5d" providerId="ADAL" clId="{C3C0D317-475B-426A-8FE4-7C706DFBFC41}" dt="2021-10-20T07:49:25.551" v="339"/>
          <ac:spMkLst>
            <pc:docMk/>
            <pc:sldMk cId="3565405970" sldId="1101"/>
            <ac:spMk id="3" creationId="{DCF90FB9-746D-4CB5-A761-7E7E0CE4F170}"/>
          </ac:spMkLst>
        </pc:spChg>
        <pc:spChg chg="mod">
          <ac:chgData name="Arjan van der Meer" userId="008f28a2-684e-4523-b3ca-dcb37d9c3e5d" providerId="ADAL" clId="{C3C0D317-475B-426A-8FE4-7C706DFBFC41}" dt="2021-10-20T07:49:25.551" v="339"/>
          <ac:spMkLst>
            <pc:docMk/>
            <pc:sldMk cId="3565405970" sldId="1101"/>
            <ac:spMk id="4" creationId="{52E20440-65E6-48B9-8148-A398321DAE14}"/>
          </ac:spMkLst>
        </pc:spChg>
        <pc:spChg chg="mod">
          <ac:chgData name="Arjan van der Meer" userId="008f28a2-684e-4523-b3ca-dcb37d9c3e5d" providerId="ADAL" clId="{C3C0D317-475B-426A-8FE4-7C706DFBFC41}" dt="2021-10-20T07:49:25.551" v="339"/>
          <ac:spMkLst>
            <pc:docMk/>
            <pc:sldMk cId="3565405970" sldId="1101"/>
            <ac:spMk id="5" creationId="{5D42BB7B-6901-4A01-B47F-E6163DC68706}"/>
          </ac:spMkLst>
        </pc:spChg>
        <pc:spChg chg="mod">
          <ac:chgData name="Arjan van der Meer" userId="008f28a2-684e-4523-b3ca-dcb37d9c3e5d" providerId="ADAL" clId="{C3C0D317-475B-426A-8FE4-7C706DFBFC41}" dt="2021-10-20T07:49:25.551" v="339"/>
          <ac:spMkLst>
            <pc:docMk/>
            <pc:sldMk cId="3565405970" sldId="1101"/>
            <ac:spMk id="6" creationId="{899B2AEB-A013-4C37-BF8B-4FBD6DDC4A4C}"/>
          </ac:spMkLst>
        </pc:spChg>
      </pc:sldChg>
      <pc:sldChg chg="modSp mod">
        <pc:chgData name="Arjan van der Meer" userId="008f28a2-684e-4523-b3ca-dcb37d9c3e5d" providerId="ADAL" clId="{C3C0D317-475B-426A-8FE4-7C706DFBFC41}" dt="2021-10-25T08:41:50.703" v="2585"/>
        <pc:sldMkLst>
          <pc:docMk/>
          <pc:sldMk cId="2481146114" sldId="1103"/>
        </pc:sldMkLst>
        <pc:spChg chg="mod">
          <ac:chgData name="Arjan van der Meer" userId="008f28a2-684e-4523-b3ca-dcb37d9c3e5d" providerId="ADAL" clId="{C3C0D317-475B-426A-8FE4-7C706DFBFC41}" dt="2021-10-25T08:41:50.703" v="2585"/>
          <ac:spMkLst>
            <pc:docMk/>
            <pc:sldMk cId="2481146114" sldId="1103"/>
            <ac:spMk id="2" creationId="{087709EC-072B-4D78-9B0A-6B8629A01236}"/>
          </ac:spMkLst>
        </pc:spChg>
        <pc:spChg chg="mod">
          <ac:chgData name="Arjan van der Meer" userId="008f28a2-684e-4523-b3ca-dcb37d9c3e5d" providerId="ADAL" clId="{C3C0D317-475B-426A-8FE4-7C706DFBFC41}" dt="2021-10-20T07:49:25.551" v="339"/>
          <ac:spMkLst>
            <pc:docMk/>
            <pc:sldMk cId="2481146114" sldId="1103"/>
            <ac:spMk id="3" creationId="{785CF699-F133-4FD2-9F7E-54AEB5AF9026}"/>
          </ac:spMkLst>
        </pc:spChg>
        <pc:spChg chg="mod">
          <ac:chgData name="Arjan van der Meer" userId="008f28a2-684e-4523-b3ca-dcb37d9c3e5d" providerId="ADAL" clId="{C3C0D317-475B-426A-8FE4-7C706DFBFC41}" dt="2021-10-20T07:49:25.551" v="339"/>
          <ac:spMkLst>
            <pc:docMk/>
            <pc:sldMk cId="2481146114" sldId="1103"/>
            <ac:spMk id="4" creationId="{DAF3FFB9-E4AE-4D6F-B72B-27A89497B22A}"/>
          </ac:spMkLst>
        </pc:spChg>
        <pc:spChg chg="mod">
          <ac:chgData name="Arjan van der Meer" userId="008f28a2-684e-4523-b3ca-dcb37d9c3e5d" providerId="ADAL" clId="{C3C0D317-475B-426A-8FE4-7C706DFBFC41}" dt="2021-10-20T07:49:25.551" v="339"/>
          <ac:spMkLst>
            <pc:docMk/>
            <pc:sldMk cId="2481146114" sldId="1103"/>
            <ac:spMk id="5" creationId="{73BDFF40-5896-473F-AA4C-1BAFD423817B}"/>
          </ac:spMkLst>
        </pc:spChg>
        <pc:spChg chg="mod">
          <ac:chgData name="Arjan van der Meer" userId="008f28a2-684e-4523-b3ca-dcb37d9c3e5d" providerId="ADAL" clId="{C3C0D317-475B-426A-8FE4-7C706DFBFC41}" dt="2021-10-20T10:25:21.089" v="866" actId="20577"/>
          <ac:spMkLst>
            <pc:docMk/>
            <pc:sldMk cId="2481146114" sldId="1103"/>
            <ac:spMk id="6" creationId="{2853F1CC-A771-4A03-9299-057C088EF20C}"/>
          </ac:spMkLst>
        </pc:spChg>
      </pc:sldChg>
      <pc:sldChg chg="del">
        <pc:chgData name="Arjan van der Meer" userId="008f28a2-684e-4523-b3ca-dcb37d9c3e5d" providerId="ADAL" clId="{C3C0D317-475B-426A-8FE4-7C706DFBFC41}" dt="2021-10-20T06:16:02.590" v="27" actId="47"/>
        <pc:sldMkLst>
          <pc:docMk/>
          <pc:sldMk cId="1917681622" sldId="1104"/>
        </pc:sldMkLst>
      </pc:sldChg>
      <pc:sldChg chg="modSp del">
        <pc:chgData name="Arjan van der Meer" userId="008f28a2-684e-4523-b3ca-dcb37d9c3e5d" providerId="ADAL" clId="{C3C0D317-475B-426A-8FE4-7C706DFBFC41}" dt="2021-10-20T10:16:59.482" v="842" actId="47"/>
        <pc:sldMkLst>
          <pc:docMk/>
          <pc:sldMk cId="937745333" sldId="1105"/>
        </pc:sldMkLst>
        <pc:spChg chg="mod">
          <ac:chgData name="Arjan van der Meer" userId="008f28a2-684e-4523-b3ca-dcb37d9c3e5d" providerId="ADAL" clId="{C3C0D317-475B-426A-8FE4-7C706DFBFC41}" dt="2021-10-20T07:49:25.551" v="339"/>
          <ac:spMkLst>
            <pc:docMk/>
            <pc:sldMk cId="937745333" sldId="1105"/>
            <ac:spMk id="2" creationId="{504FBAFA-310C-4303-972A-C7F8681FF391}"/>
          </ac:spMkLst>
        </pc:spChg>
        <pc:spChg chg="mod">
          <ac:chgData name="Arjan van der Meer" userId="008f28a2-684e-4523-b3ca-dcb37d9c3e5d" providerId="ADAL" clId="{C3C0D317-475B-426A-8FE4-7C706DFBFC41}" dt="2021-10-20T07:49:25.551" v="339"/>
          <ac:spMkLst>
            <pc:docMk/>
            <pc:sldMk cId="937745333" sldId="1105"/>
            <ac:spMk id="3" creationId="{35EA5423-8F20-47A9-8273-F4E4F91198B5}"/>
          </ac:spMkLst>
        </pc:spChg>
        <pc:spChg chg="mod">
          <ac:chgData name="Arjan van der Meer" userId="008f28a2-684e-4523-b3ca-dcb37d9c3e5d" providerId="ADAL" clId="{C3C0D317-475B-426A-8FE4-7C706DFBFC41}" dt="2021-10-20T07:49:25.551" v="339"/>
          <ac:spMkLst>
            <pc:docMk/>
            <pc:sldMk cId="937745333" sldId="1105"/>
            <ac:spMk id="4" creationId="{FF112658-550D-46C4-9052-5780065C7C0B}"/>
          </ac:spMkLst>
        </pc:spChg>
        <pc:spChg chg="mod">
          <ac:chgData name="Arjan van der Meer" userId="008f28a2-684e-4523-b3ca-dcb37d9c3e5d" providerId="ADAL" clId="{C3C0D317-475B-426A-8FE4-7C706DFBFC41}" dt="2021-10-20T07:49:25.551" v="339"/>
          <ac:spMkLst>
            <pc:docMk/>
            <pc:sldMk cId="937745333" sldId="1105"/>
            <ac:spMk id="5" creationId="{E74492F3-60A1-4002-A276-EFDCCDD7C3FE}"/>
          </ac:spMkLst>
        </pc:spChg>
        <pc:spChg chg="mod">
          <ac:chgData name="Arjan van der Meer" userId="008f28a2-684e-4523-b3ca-dcb37d9c3e5d" providerId="ADAL" clId="{C3C0D317-475B-426A-8FE4-7C706DFBFC41}" dt="2021-10-20T07:49:25.551" v="339"/>
          <ac:spMkLst>
            <pc:docMk/>
            <pc:sldMk cId="937745333" sldId="1105"/>
            <ac:spMk id="6" creationId="{09C2B63F-576C-411F-BF43-2878615FB308}"/>
          </ac:spMkLst>
        </pc:spChg>
      </pc:sldChg>
      <pc:sldChg chg="modSp modTransition">
        <pc:chgData name="Arjan van der Meer" userId="008f28a2-684e-4523-b3ca-dcb37d9c3e5d" providerId="ADAL" clId="{C3C0D317-475B-426A-8FE4-7C706DFBFC41}" dt="2021-10-20T09:33:40.635" v="841"/>
        <pc:sldMkLst>
          <pc:docMk/>
          <pc:sldMk cId="2152731525" sldId="1106"/>
        </pc:sldMkLst>
        <pc:spChg chg="mod">
          <ac:chgData name="Arjan van der Meer" userId="008f28a2-684e-4523-b3ca-dcb37d9c3e5d" providerId="ADAL" clId="{C3C0D317-475B-426A-8FE4-7C706DFBFC41}" dt="2021-10-20T07:49:25.551" v="339"/>
          <ac:spMkLst>
            <pc:docMk/>
            <pc:sldMk cId="2152731525" sldId="1106"/>
            <ac:spMk id="2" creationId="{CD00F457-8AAC-4FF6-A458-6D389E5C7339}"/>
          </ac:spMkLst>
        </pc:spChg>
        <pc:spChg chg="mod">
          <ac:chgData name="Arjan van der Meer" userId="008f28a2-684e-4523-b3ca-dcb37d9c3e5d" providerId="ADAL" clId="{C3C0D317-475B-426A-8FE4-7C706DFBFC41}" dt="2021-10-20T07:49:25.551" v="339"/>
          <ac:spMkLst>
            <pc:docMk/>
            <pc:sldMk cId="2152731525" sldId="1106"/>
            <ac:spMk id="3" creationId="{CE156981-F90F-4659-879E-BFE93A2F43D6}"/>
          </ac:spMkLst>
        </pc:spChg>
        <pc:spChg chg="mod">
          <ac:chgData name="Arjan van der Meer" userId="008f28a2-684e-4523-b3ca-dcb37d9c3e5d" providerId="ADAL" clId="{C3C0D317-475B-426A-8FE4-7C706DFBFC41}" dt="2021-10-20T07:49:25.551" v="339"/>
          <ac:spMkLst>
            <pc:docMk/>
            <pc:sldMk cId="2152731525" sldId="1106"/>
            <ac:spMk id="4" creationId="{08B157D0-BA69-4EFD-AA5E-538E2EDB455B}"/>
          </ac:spMkLst>
        </pc:spChg>
        <pc:spChg chg="mod">
          <ac:chgData name="Arjan van der Meer" userId="008f28a2-684e-4523-b3ca-dcb37d9c3e5d" providerId="ADAL" clId="{C3C0D317-475B-426A-8FE4-7C706DFBFC41}" dt="2021-10-20T07:49:25.551" v="339"/>
          <ac:spMkLst>
            <pc:docMk/>
            <pc:sldMk cId="2152731525" sldId="1106"/>
            <ac:spMk id="5" creationId="{D148BDDD-16CA-4751-AC0A-16FB7DA445FE}"/>
          </ac:spMkLst>
        </pc:spChg>
        <pc:spChg chg="mod">
          <ac:chgData name="Arjan van der Meer" userId="008f28a2-684e-4523-b3ca-dcb37d9c3e5d" providerId="ADAL" clId="{C3C0D317-475B-426A-8FE4-7C706DFBFC41}" dt="2021-10-20T07:49:25.551" v="339"/>
          <ac:spMkLst>
            <pc:docMk/>
            <pc:sldMk cId="2152731525" sldId="1106"/>
            <ac:spMk id="6" creationId="{7AED61C4-E426-484B-8526-2AD3A52CD15B}"/>
          </ac:spMkLst>
        </pc:spChg>
      </pc:sldChg>
      <pc:sldChg chg="modSp">
        <pc:chgData name="Arjan van der Meer" userId="008f28a2-684e-4523-b3ca-dcb37d9c3e5d" providerId="ADAL" clId="{C3C0D317-475B-426A-8FE4-7C706DFBFC41}" dt="2021-10-25T08:41:50.703" v="2585"/>
        <pc:sldMkLst>
          <pc:docMk/>
          <pc:sldMk cId="579590064" sldId="1107"/>
        </pc:sldMkLst>
        <pc:spChg chg="mod">
          <ac:chgData name="Arjan van der Meer" userId="008f28a2-684e-4523-b3ca-dcb37d9c3e5d" providerId="ADAL" clId="{C3C0D317-475B-426A-8FE4-7C706DFBFC41}" dt="2021-10-25T08:41:50.703" v="2585"/>
          <ac:spMkLst>
            <pc:docMk/>
            <pc:sldMk cId="579590064" sldId="1107"/>
            <ac:spMk id="2" creationId="{6E152B49-A927-4745-9D7A-444DD308408F}"/>
          </ac:spMkLst>
        </pc:spChg>
        <pc:spChg chg="mod">
          <ac:chgData name="Arjan van der Meer" userId="008f28a2-684e-4523-b3ca-dcb37d9c3e5d" providerId="ADAL" clId="{C3C0D317-475B-426A-8FE4-7C706DFBFC41}" dt="2021-10-20T07:49:25.551" v="339"/>
          <ac:spMkLst>
            <pc:docMk/>
            <pc:sldMk cId="579590064" sldId="1107"/>
            <ac:spMk id="3" creationId="{44A1147C-BE21-402D-ACF6-C93F50B3371B}"/>
          </ac:spMkLst>
        </pc:spChg>
        <pc:spChg chg="mod">
          <ac:chgData name="Arjan van der Meer" userId="008f28a2-684e-4523-b3ca-dcb37d9c3e5d" providerId="ADAL" clId="{C3C0D317-475B-426A-8FE4-7C706DFBFC41}" dt="2021-10-20T07:49:25.551" v="339"/>
          <ac:spMkLst>
            <pc:docMk/>
            <pc:sldMk cId="579590064" sldId="1107"/>
            <ac:spMk id="4" creationId="{14C69661-E882-454C-9E39-6656D82B7E5B}"/>
          </ac:spMkLst>
        </pc:spChg>
      </pc:sldChg>
      <pc:sldChg chg="addSp delSp modSp mod modNotesTx">
        <pc:chgData name="Arjan van der Meer" userId="008f28a2-684e-4523-b3ca-dcb37d9c3e5d" providerId="ADAL" clId="{C3C0D317-475B-426A-8FE4-7C706DFBFC41}" dt="2021-10-25T12:49:03.453" v="3848" actId="20577"/>
        <pc:sldMkLst>
          <pc:docMk/>
          <pc:sldMk cId="1607942654" sldId="1108"/>
        </pc:sldMkLst>
        <pc:spChg chg="mod">
          <ac:chgData name="Arjan van der Meer" userId="008f28a2-684e-4523-b3ca-dcb37d9c3e5d" providerId="ADAL" clId="{C3C0D317-475B-426A-8FE4-7C706DFBFC41}" dt="2021-10-25T12:49:03.453" v="3848" actId="20577"/>
          <ac:spMkLst>
            <pc:docMk/>
            <pc:sldMk cId="1607942654" sldId="1108"/>
            <ac:spMk id="2" creationId="{53CB77FA-CF1B-4B0E-A304-10CE6620EE56}"/>
          </ac:spMkLst>
        </pc:spChg>
        <pc:spChg chg="mod">
          <ac:chgData name="Arjan van der Meer" userId="008f28a2-684e-4523-b3ca-dcb37d9c3e5d" providerId="ADAL" clId="{C3C0D317-475B-426A-8FE4-7C706DFBFC41}" dt="2021-10-20T07:49:25.551" v="339"/>
          <ac:spMkLst>
            <pc:docMk/>
            <pc:sldMk cId="1607942654" sldId="1108"/>
            <ac:spMk id="3" creationId="{4C95D5B2-08E4-446C-9BDA-A34FB03C3650}"/>
          </ac:spMkLst>
        </pc:spChg>
        <pc:spChg chg="mod">
          <ac:chgData name="Arjan van der Meer" userId="008f28a2-684e-4523-b3ca-dcb37d9c3e5d" providerId="ADAL" clId="{C3C0D317-475B-426A-8FE4-7C706DFBFC41}" dt="2021-10-20T07:49:25.551" v="339"/>
          <ac:spMkLst>
            <pc:docMk/>
            <pc:sldMk cId="1607942654" sldId="1108"/>
            <ac:spMk id="4" creationId="{35CB6A7A-9ED0-45D9-BEE5-2A29FF6AF5E1}"/>
          </ac:spMkLst>
        </pc:spChg>
        <pc:spChg chg="mod">
          <ac:chgData name="Arjan van der Meer" userId="008f28a2-684e-4523-b3ca-dcb37d9c3e5d" providerId="ADAL" clId="{C3C0D317-475B-426A-8FE4-7C706DFBFC41}" dt="2021-10-20T07:49:25.551" v="339"/>
          <ac:spMkLst>
            <pc:docMk/>
            <pc:sldMk cId="1607942654" sldId="1108"/>
            <ac:spMk id="5" creationId="{18EF1DD4-3393-4BF5-9274-FA66DD0256AC}"/>
          </ac:spMkLst>
        </pc:spChg>
        <pc:spChg chg="mod">
          <ac:chgData name="Arjan van der Meer" userId="008f28a2-684e-4523-b3ca-dcb37d9c3e5d" providerId="ADAL" clId="{C3C0D317-475B-426A-8FE4-7C706DFBFC41}" dt="2021-10-25T07:12:55.558" v="1743" actId="1076"/>
          <ac:spMkLst>
            <pc:docMk/>
            <pc:sldMk cId="1607942654" sldId="1108"/>
            <ac:spMk id="17" creationId="{6B8B1B31-0262-4A85-AF84-B56C12108DB4}"/>
          </ac:spMkLst>
        </pc:spChg>
        <pc:spChg chg="add mod">
          <ac:chgData name="Arjan van der Meer" userId="008f28a2-684e-4523-b3ca-dcb37d9c3e5d" providerId="ADAL" clId="{C3C0D317-475B-426A-8FE4-7C706DFBFC41}" dt="2021-10-20T08:39:21.868" v="575"/>
          <ac:spMkLst>
            <pc:docMk/>
            <pc:sldMk cId="1607942654" sldId="1108"/>
            <ac:spMk id="23" creationId="{7B928710-CFEA-4C93-8E4E-B0BA78976132}"/>
          </ac:spMkLst>
        </pc:spChg>
        <pc:spChg chg="add mod">
          <ac:chgData name="Arjan van der Meer" userId="008f28a2-684e-4523-b3ca-dcb37d9c3e5d" providerId="ADAL" clId="{C3C0D317-475B-426A-8FE4-7C706DFBFC41}" dt="2021-10-20T08:39:21.868" v="575"/>
          <ac:spMkLst>
            <pc:docMk/>
            <pc:sldMk cId="1607942654" sldId="1108"/>
            <ac:spMk id="24" creationId="{48D9ABD7-7264-4594-B970-644D9D2572F6}"/>
          </ac:spMkLst>
        </pc:spChg>
        <pc:spChg chg="add mod">
          <ac:chgData name="Arjan van der Meer" userId="008f28a2-684e-4523-b3ca-dcb37d9c3e5d" providerId="ADAL" clId="{C3C0D317-475B-426A-8FE4-7C706DFBFC41}" dt="2021-10-20T08:39:21.868" v="575"/>
          <ac:spMkLst>
            <pc:docMk/>
            <pc:sldMk cId="1607942654" sldId="1108"/>
            <ac:spMk id="25" creationId="{E556E4FF-D9FD-4837-9246-0BDD414DD379}"/>
          </ac:spMkLst>
        </pc:spChg>
        <pc:spChg chg="add mod">
          <ac:chgData name="Arjan van der Meer" userId="008f28a2-684e-4523-b3ca-dcb37d9c3e5d" providerId="ADAL" clId="{C3C0D317-475B-426A-8FE4-7C706DFBFC41}" dt="2021-10-20T08:39:21.868" v="575"/>
          <ac:spMkLst>
            <pc:docMk/>
            <pc:sldMk cId="1607942654" sldId="1108"/>
            <ac:spMk id="32" creationId="{183B576E-6D3C-4673-8864-2412E2B8F42A}"/>
          </ac:spMkLst>
        </pc:spChg>
        <pc:spChg chg="add mod">
          <ac:chgData name="Arjan van der Meer" userId="008f28a2-684e-4523-b3ca-dcb37d9c3e5d" providerId="ADAL" clId="{C3C0D317-475B-426A-8FE4-7C706DFBFC41}" dt="2021-10-20T08:39:21.868" v="575"/>
          <ac:spMkLst>
            <pc:docMk/>
            <pc:sldMk cId="1607942654" sldId="1108"/>
            <ac:spMk id="33" creationId="{75A0DDD0-B1DF-4D7C-824B-10BB3FF1BDD1}"/>
          </ac:spMkLst>
        </pc:spChg>
        <pc:spChg chg="add mod">
          <ac:chgData name="Arjan van der Meer" userId="008f28a2-684e-4523-b3ca-dcb37d9c3e5d" providerId="ADAL" clId="{C3C0D317-475B-426A-8FE4-7C706DFBFC41}" dt="2021-10-20T08:39:21.868" v="575"/>
          <ac:spMkLst>
            <pc:docMk/>
            <pc:sldMk cId="1607942654" sldId="1108"/>
            <ac:spMk id="34" creationId="{AFC2E2A5-43EA-4191-B04A-A25BD219A8BD}"/>
          </ac:spMkLst>
        </pc:spChg>
        <pc:spChg chg="add del mod">
          <ac:chgData name="Arjan van der Meer" userId="008f28a2-684e-4523-b3ca-dcb37d9c3e5d" providerId="ADAL" clId="{C3C0D317-475B-426A-8FE4-7C706DFBFC41}" dt="2021-10-25T11:55:38.830" v="3324" actId="478"/>
          <ac:spMkLst>
            <pc:docMk/>
            <pc:sldMk cId="1607942654" sldId="1108"/>
            <ac:spMk id="35" creationId="{C6D194BD-AADA-4AB2-8D6B-5A9AE2FB12B8}"/>
          </ac:spMkLst>
        </pc:spChg>
        <pc:spChg chg="add del mod">
          <ac:chgData name="Arjan van der Meer" userId="008f28a2-684e-4523-b3ca-dcb37d9c3e5d" providerId="ADAL" clId="{C3C0D317-475B-426A-8FE4-7C706DFBFC41}" dt="2021-10-25T11:55:38.830" v="3324" actId="478"/>
          <ac:spMkLst>
            <pc:docMk/>
            <pc:sldMk cId="1607942654" sldId="1108"/>
            <ac:spMk id="37" creationId="{704C43FF-1970-4B5F-9A57-E55864D168E4}"/>
          </ac:spMkLst>
        </pc:spChg>
        <pc:spChg chg="add del mod">
          <ac:chgData name="Arjan van der Meer" userId="008f28a2-684e-4523-b3ca-dcb37d9c3e5d" providerId="ADAL" clId="{C3C0D317-475B-426A-8FE4-7C706DFBFC41}" dt="2021-10-25T11:55:38.830" v="3324" actId="478"/>
          <ac:spMkLst>
            <pc:docMk/>
            <pc:sldMk cId="1607942654" sldId="1108"/>
            <ac:spMk id="38" creationId="{41B1AFA4-D3AA-4B7C-8784-87E7339CAF76}"/>
          </ac:spMkLst>
        </pc:spChg>
        <pc:spChg chg="add del mod">
          <ac:chgData name="Arjan van der Meer" userId="008f28a2-684e-4523-b3ca-dcb37d9c3e5d" providerId="ADAL" clId="{C3C0D317-475B-426A-8FE4-7C706DFBFC41}" dt="2021-10-25T11:55:38.830" v="3324" actId="478"/>
          <ac:spMkLst>
            <pc:docMk/>
            <pc:sldMk cId="1607942654" sldId="1108"/>
            <ac:spMk id="41" creationId="{7A15AC9F-E426-4F94-8514-70081E3E3564}"/>
          </ac:spMkLst>
        </pc:spChg>
        <pc:spChg chg="add del mod">
          <ac:chgData name="Arjan van der Meer" userId="008f28a2-684e-4523-b3ca-dcb37d9c3e5d" providerId="ADAL" clId="{C3C0D317-475B-426A-8FE4-7C706DFBFC41}" dt="2021-10-25T11:55:38.830" v="3324" actId="478"/>
          <ac:spMkLst>
            <pc:docMk/>
            <pc:sldMk cId="1607942654" sldId="1108"/>
            <ac:spMk id="42" creationId="{95DBD485-88DA-441D-95EE-224F62411869}"/>
          </ac:spMkLst>
        </pc:spChg>
        <pc:spChg chg="add del mod">
          <ac:chgData name="Arjan van der Meer" userId="008f28a2-684e-4523-b3ca-dcb37d9c3e5d" providerId="ADAL" clId="{C3C0D317-475B-426A-8FE4-7C706DFBFC41}" dt="2021-10-25T11:55:38.830" v="3324" actId="478"/>
          <ac:spMkLst>
            <pc:docMk/>
            <pc:sldMk cId="1607942654" sldId="1108"/>
            <ac:spMk id="43" creationId="{065622C1-12AC-4E52-A335-28AAD0D057F3}"/>
          </ac:spMkLst>
        </pc:spChg>
        <pc:spChg chg="add mod">
          <ac:chgData name="Arjan van der Meer" userId="008f28a2-684e-4523-b3ca-dcb37d9c3e5d" providerId="ADAL" clId="{C3C0D317-475B-426A-8FE4-7C706DFBFC41}" dt="2021-10-25T11:55:40.151" v="3325"/>
          <ac:spMkLst>
            <pc:docMk/>
            <pc:sldMk cId="1607942654" sldId="1108"/>
            <ac:spMk id="44" creationId="{E5069FFA-849E-4BA4-9473-7F1CE922EF2F}"/>
          </ac:spMkLst>
        </pc:spChg>
        <pc:spChg chg="add mod">
          <ac:chgData name="Arjan van der Meer" userId="008f28a2-684e-4523-b3ca-dcb37d9c3e5d" providerId="ADAL" clId="{C3C0D317-475B-426A-8FE4-7C706DFBFC41}" dt="2021-10-25T11:55:40.151" v="3325"/>
          <ac:spMkLst>
            <pc:docMk/>
            <pc:sldMk cId="1607942654" sldId="1108"/>
            <ac:spMk id="45" creationId="{EEE96D66-0D38-47E6-9E79-47E159DAAF1A}"/>
          </ac:spMkLst>
        </pc:spChg>
        <pc:spChg chg="add mod">
          <ac:chgData name="Arjan van der Meer" userId="008f28a2-684e-4523-b3ca-dcb37d9c3e5d" providerId="ADAL" clId="{C3C0D317-475B-426A-8FE4-7C706DFBFC41}" dt="2021-10-25T11:55:40.151" v="3325"/>
          <ac:spMkLst>
            <pc:docMk/>
            <pc:sldMk cId="1607942654" sldId="1108"/>
            <ac:spMk id="46" creationId="{816C7730-AB87-4611-AAF6-2DB6A7B7CC88}"/>
          </ac:spMkLst>
        </pc:spChg>
        <pc:spChg chg="add mod">
          <ac:chgData name="Arjan van der Meer" userId="008f28a2-684e-4523-b3ca-dcb37d9c3e5d" providerId="ADAL" clId="{C3C0D317-475B-426A-8FE4-7C706DFBFC41}" dt="2021-10-25T11:57:50.539" v="3330" actId="12789"/>
          <ac:spMkLst>
            <pc:docMk/>
            <pc:sldMk cId="1607942654" sldId="1108"/>
            <ac:spMk id="47" creationId="{4CA176E9-1CB4-4217-A72F-FB73A0959F9F}"/>
          </ac:spMkLst>
        </pc:spChg>
        <pc:spChg chg="del">
          <ac:chgData name="Arjan van der Meer" userId="008f28a2-684e-4523-b3ca-dcb37d9c3e5d" providerId="ADAL" clId="{C3C0D317-475B-426A-8FE4-7C706DFBFC41}" dt="2021-10-25T11:55:38.830" v="3324" actId="478"/>
          <ac:spMkLst>
            <pc:docMk/>
            <pc:sldMk cId="1607942654" sldId="1108"/>
            <ac:spMk id="48" creationId="{0A5A1562-6B26-4D25-AD5C-5EECE04F29C4}"/>
          </ac:spMkLst>
        </pc:spChg>
        <pc:spChg chg="del">
          <ac:chgData name="Arjan van der Meer" userId="008f28a2-684e-4523-b3ca-dcb37d9c3e5d" providerId="ADAL" clId="{C3C0D317-475B-426A-8FE4-7C706DFBFC41}" dt="2021-10-25T11:55:38.830" v="3324" actId="478"/>
          <ac:spMkLst>
            <pc:docMk/>
            <pc:sldMk cId="1607942654" sldId="1108"/>
            <ac:spMk id="49" creationId="{13CE74E9-EF83-4FA6-9D22-5CE5AE28988B}"/>
          </ac:spMkLst>
        </pc:spChg>
        <pc:spChg chg="del">
          <ac:chgData name="Arjan van der Meer" userId="008f28a2-684e-4523-b3ca-dcb37d9c3e5d" providerId="ADAL" clId="{C3C0D317-475B-426A-8FE4-7C706DFBFC41}" dt="2021-10-25T11:55:38.830" v="3324" actId="478"/>
          <ac:spMkLst>
            <pc:docMk/>
            <pc:sldMk cId="1607942654" sldId="1108"/>
            <ac:spMk id="50" creationId="{8BA9D30A-F8CC-47B7-AE80-28737E620E02}"/>
          </ac:spMkLst>
        </pc:spChg>
        <pc:spChg chg="del">
          <ac:chgData name="Arjan van der Meer" userId="008f28a2-684e-4523-b3ca-dcb37d9c3e5d" providerId="ADAL" clId="{C3C0D317-475B-426A-8FE4-7C706DFBFC41}" dt="2021-10-25T11:55:38.830" v="3324" actId="478"/>
          <ac:spMkLst>
            <pc:docMk/>
            <pc:sldMk cId="1607942654" sldId="1108"/>
            <ac:spMk id="51" creationId="{C9E23312-A095-4625-9563-A221E3A7F38D}"/>
          </ac:spMkLst>
        </pc:spChg>
        <pc:spChg chg="del">
          <ac:chgData name="Arjan van der Meer" userId="008f28a2-684e-4523-b3ca-dcb37d9c3e5d" providerId="ADAL" clId="{C3C0D317-475B-426A-8FE4-7C706DFBFC41}" dt="2021-10-25T11:55:38.830" v="3324" actId="478"/>
          <ac:spMkLst>
            <pc:docMk/>
            <pc:sldMk cId="1607942654" sldId="1108"/>
            <ac:spMk id="52" creationId="{4E0FBEF9-9C87-49D3-9B58-64B48B92F5C9}"/>
          </ac:spMkLst>
        </pc:spChg>
        <pc:spChg chg="del">
          <ac:chgData name="Arjan van der Meer" userId="008f28a2-684e-4523-b3ca-dcb37d9c3e5d" providerId="ADAL" clId="{C3C0D317-475B-426A-8FE4-7C706DFBFC41}" dt="2021-10-25T11:55:38.830" v="3324" actId="478"/>
          <ac:spMkLst>
            <pc:docMk/>
            <pc:sldMk cId="1607942654" sldId="1108"/>
            <ac:spMk id="53" creationId="{AA243AA7-F70E-4CEF-A4FB-D2C455BB7B1A}"/>
          </ac:spMkLst>
        </pc:spChg>
        <pc:spChg chg="add mod">
          <ac:chgData name="Arjan van der Meer" userId="008f28a2-684e-4523-b3ca-dcb37d9c3e5d" providerId="ADAL" clId="{C3C0D317-475B-426A-8FE4-7C706DFBFC41}" dt="2021-10-25T11:57:50.539" v="3330" actId="12789"/>
          <ac:spMkLst>
            <pc:docMk/>
            <pc:sldMk cId="1607942654" sldId="1108"/>
            <ac:spMk id="54" creationId="{1CBCF7D9-7F19-4D92-8E16-4A7E4A26F631}"/>
          </ac:spMkLst>
        </pc:spChg>
        <pc:spChg chg="del">
          <ac:chgData name="Arjan van der Meer" userId="008f28a2-684e-4523-b3ca-dcb37d9c3e5d" providerId="ADAL" clId="{C3C0D317-475B-426A-8FE4-7C706DFBFC41}" dt="2021-10-25T11:55:38.830" v="3324" actId="478"/>
          <ac:spMkLst>
            <pc:docMk/>
            <pc:sldMk cId="1607942654" sldId="1108"/>
            <ac:spMk id="55" creationId="{30EFDA3C-2A8C-404C-9FC8-C8F70AA3E181}"/>
          </ac:spMkLst>
        </pc:spChg>
        <pc:spChg chg="del">
          <ac:chgData name="Arjan van der Meer" userId="008f28a2-684e-4523-b3ca-dcb37d9c3e5d" providerId="ADAL" clId="{C3C0D317-475B-426A-8FE4-7C706DFBFC41}" dt="2021-10-25T11:55:38.830" v="3324" actId="478"/>
          <ac:spMkLst>
            <pc:docMk/>
            <pc:sldMk cId="1607942654" sldId="1108"/>
            <ac:spMk id="56" creationId="{35D7597D-8037-40C1-BF47-6B3D10EE0BF9}"/>
          </ac:spMkLst>
        </pc:spChg>
        <pc:spChg chg="del">
          <ac:chgData name="Arjan van der Meer" userId="008f28a2-684e-4523-b3ca-dcb37d9c3e5d" providerId="ADAL" clId="{C3C0D317-475B-426A-8FE4-7C706DFBFC41}" dt="2021-10-25T11:55:38.830" v="3324" actId="478"/>
          <ac:spMkLst>
            <pc:docMk/>
            <pc:sldMk cId="1607942654" sldId="1108"/>
            <ac:spMk id="57" creationId="{197D498D-D5D6-4759-93E2-42EA9A37CB45}"/>
          </ac:spMkLst>
        </pc:spChg>
        <pc:spChg chg="del">
          <ac:chgData name="Arjan van der Meer" userId="008f28a2-684e-4523-b3ca-dcb37d9c3e5d" providerId="ADAL" clId="{C3C0D317-475B-426A-8FE4-7C706DFBFC41}" dt="2021-10-25T11:55:38.830" v="3324" actId="478"/>
          <ac:spMkLst>
            <pc:docMk/>
            <pc:sldMk cId="1607942654" sldId="1108"/>
            <ac:spMk id="58" creationId="{3BF1DB98-FFD3-4E64-9D9D-47D72DD44EEB}"/>
          </ac:spMkLst>
        </pc:spChg>
        <pc:spChg chg="del">
          <ac:chgData name="Arjan van der Meer" userId="008f28a2-684e-4523-b3ca-dcb37d9c3e5d" providerId="ADAL" clId="{C3C0D317-475B-426A-8FE4-7C706DFBFC41}" dt="2021-10-25T11:55:38.830" v="3324" actId="478"/>
          <ac:spMkLst>
            <pc:docMk/>
            <pc:sldMk cId="1607942654" sldId="1108"/>
            <ac:spMk id="59" creationId="{A65FD5AC-8538-41AE-AF15-5A7D6618BEFB}"/>
          </ac:spMkLst>
        </pc:spChg>
        <pc:spChg chg="add mod">
          <ac:chgData name="Arjan van der Meer" userId="008f28a2-684e-4523-b3ca-dcb37d9c3e5d" providerId="ADAL" clId="{C3C0D317-475B-426A-8FE4-7C706DFBFC41}" dt="2021-10-25T11:57:50.539" v="3330" actId="12789"/>
          <ac:spMkLst>
            <pc:docMk/>
            <pc:sldMk cId="1607942654" sldId="1108"/>
            <ac:spMk id="60" creationId="{7E6CDC38-72DB-41AC-B19A-8753615EA670}"/>
          </ac:spMkLst>
        </pc:spChg>
        <pc:spChg chg="add mod">
          <ac:chgData name="Arjan van der Meer" userId="008f28a2-684e-4523-b3ca-dcb37d9c3e5d" providerId="ADAL" clId="{C3C0D317-475B-426A-8FE4-7C706DFBFC41}" dt="2021-10-25T11:57:57.259" v="3331" actId="12789"/>
          <ac:spMkLst>
            <pc:docMk/>
            <pc:sldMk cId="1607942654" sldId="1108"/>
            <ac:spMk id="61" creationId="{B6D9D146-44B6-4C3D-8792-0E236F709A4F}"/>
          </ac:spMkLst>
        </pc:spChg>
        <pc:spChg chg="add mod">
          <ac:chgData name="Arjan van der Meer" userId="008f28a2-684e-4523-b3ca-dcb37d9c3e5d" providerId="ADAL" clId="{C3C0D317-475B-426A-8FE4-7C706DFBFC41}" dt="2021-10-25T11:57:57.259" v="3331" actId="12789"/>
          <ac:spMkLst>
            <pc:docMk/>
            <pc:sldMk cId="1607942654" sldId="1108"/>
            <ac:spMk id="63" creationId="{29840CFB-7BAF-46F5-9F7E-A7BB349F2C97}"/>
          </ac:spMkLst>
        </pc:spChg>
        <pc:spChg chg="add mod">
          <ac:chgData name="Arjan van der Meer" userId="008f28a2-684e-4523-b3ca-dcb37d9c3e5d" providerId="ADAL" clId="{C3C0D317-475B-426A-8FE4-7C706DFBFC41}" dt="2021-10-25T11:57:21.241" v="3327" actId="207"/>
          <ac:spMkLst>
            <pc:docMk/>
            <pc:sldMk cId="1607942654" sldId="1108"/>
            <ac:spMk id="64" creationId="{213DC8BF-D902-4576-AA95-EA3BA35FC62D}"/>
          </ac:spMkLst>
        </pc:spChg>
        <pc:spChg chg="add mod">
          <ac:chgData name="Arjan van der Meer" userId="008f28a2-684e-4523-b3ca-dcb37d9c3e5d" providerId="ADAL" clId="{C3C0D317-475B-426A-8FE4-7C706DFBFC41}" dt="2021-10-25T11:57:21.241" v="3327" actId="207"/>
          <ac:spMkLst>
            <pc:docMk/>
            <pc:sldMk cId="1607942654" sldId="1108"/>
            <ac:spMk id="66" creationId="{822E3748-69C1-4EF9-995D-D3710AD58186}"/>
          </ac:spMkLst>
        </pc:spChg>
        <pc:spChg chg="add mod">
          <ac:chgData name="Arjan van der Meer" userId="008f28a2-684e-4523-b3ca-dcb37d9c3e5d" providerId="ADAL" clId="{C3C0D317-475B-426A-8FE4-7C706DFBFC41}" dt="2021-10-25T11:57:21.241" v="3327" actId="207"/>
          <ac:spMkLst>
            <pc:docMk/>
            <pc:sldMk cId="1607942654" sldId="1108"/>
            <ac:spMk id="67" creationId="{1EA5AF2F-C784-4F93-951D-F67CF68D92BD}"/>
          </ac:spMkLst>
        </pc:spChg>
        <pc:spChg chg="add mod">
          <ac:chgData name="Arjan van der Meer" userId="008f28a2-684e-4523-b3ca-dcb37d9c3e5d" providerId="ADAL" clId="{C3C0D317-475B-426A-8FE4-7C706DFBFC41}" dt="2021-10-25T11:55:40.151" v="3325"/>
          <ac:spMkLst>
            <pc:docMk/>
            <pc:sldMk cId="1607942654" sldId="1108"/>
            <ac:spMk id="74" creationId="{C30FABC8-CF24-4815-81A1-B2749DC2AC9D}"/>
          </ac:spMkLst>
        </pc:spChg>
        <pc:spChg chg="add mod">
          <ac:chgData name="Arjan van der Meer" userId="008f28a2-684e-4523-b3ca-dcb37d9c3e5d" providerId="ADAL" clId="{C3C0D317-475B-426A-8FE4-7C706DFBFC41}" dt="2021-10-25T11:55:40.151" v="3325"/>
          <ac:spMkLst>
            <pc:docMk/>
            <pc:sldMk cId="1607942654" sldId="1108"/>
            <ac:spMk id="75" creationId="{C4AF4A85-76B2-44FA-8997-75D9A97DD02E}"/>
          </ac:spMkLst>
        </pc:spChg>
        <pc:spChg chg="add mod">
          <ac:chgData name="Arjan van der Meer" userId="008f28a2-684e-4523-b3ca-dcb37d9c3e5d" providerId="ADAL" clId="{C3C0D317-475B-426A-8FE4-7C706DFBFC41}" dt="2021-10-25T11:55:40.151" v="3325"/>
          <ac:spMkLst>
            <pc:docMk/>
            <pc:sldMk cId="1607942654" sldId="1108"/>
            <ac:spMk id="77" creationId="{7C4F74EE-997B-46BB-8246-E3D6514A9FD0}"/>
          </ac:spMkLst>
        </pc:spChg>
        <pc:spChg chg="add mod">
          <ac:chgData name="Arjan van der Meer" userId="008f28a2-684e-4523-b3ca-dcb37d9c3e5d" providerId="ADAL" clId="{C3C0D317-475B-426A-8FE4-7C706DFBFC41}" dt="2021-10-25T11:55:40.151" v="3325"/>
          <ac:spMkLst>
            <pc:docMk/>
            <pc:sldMk cId="1607942654" sldId="1108"/>
            <ac:spMk id="78" creationId="{A71A20B9-8CEB-4960-A821-440D3D16371C}"/>
          </ac:spMkLst>
        </pc:spChg>
        <pc:spChg chg="add mod">
          <ac:chgData name="Arjan van der Meer" userId="008f28a2-684e-4523-b3ca-dcb37d9c3e5d" providerId="ADAL" clId="{C3C0D317-475B-426A-8FE4-7C706DFBFC41}" dt="2021-10-25T11:55:40.151" v="3325"/>
          <ac:spMkLst>
            <pc:docMk/>
            <pc:sldMk cId="1607942654" sldId="1108"/>
            <ac:spMk id="79" creationId="{6654B4D5-88FE-4D08-B38D-D7880E23C5A9}"/>
          </ac:spMkLst>
        </pc:spChg>
        <pc:spChg chg="add mod">
          <ac:chgData name="Arjan van der Meer" userId="008f28a2-684e-4523-b3ca-dcb37d9c3e5d" providerId="ADAL" clId="{C3C0D317-475B-426A-8FE4-7C706DFBFC41}" dt="2021-10-25T11:55:40.151" v="3325"/>
          <ac:spMkLst>
            <pc:docMk/>
            <pc:sldMk cId="1607942654" sldId="1108"/>
            <ac:spMk id="80" creationId="{A8F249F8-5D76-499D-B189-E48418992F61}"/>
          </ac:spMkLst>
        </pc:spChg>
        <pc:spChg chg="add mod">
          <ac:chgData name="Arjan van der Meer" userId="008f28a2-684e-4523-b3ca-dcb37d9c3e5d" providerId="ADAL" clId="{C3C0D317-475B-426A-8FE4-7C706DFBFC41}" dt="2021-10-25T11:57:57.259" v="3331" actId="12789"/>
          <ac:spMkLst>
            <pc:docMk/>
            <pc:sldMk cId="1607942654" sldId="1108"/>
            <ac:spMk id="81" creationId="{FCA63C88-F6AF-4A3F-9DAF-05EFF0212178}"/>
          </ac:spMkLst>
        </pc:spChg>
        <pc:cxnChg chg="add del">
          <ac:chgData name="Arjan van der Meer" userId="008f28a2-684e-4523-b3ca-dcb37d9c3e5d" providerId="ADAL" clId="{C3C0D317-475B-426A-8FE4-7C706DFBFC41}" dt="2021-10-25T11:57:39.004" v="3329" actId="11529"/>
          <ac:cxnSpMkLst>
            <pc:docMk/>
            <pc:sldMk cId="1607942654" sldId="1108"/>
            <ac:cxnSpMk id="7" creationId="{4FB1DAC8-16A9-461D-A615-0CBF7B4B778A}"/>
          </ac:cxnSpMkLst>
        </pc:cxnChg>
        <pc:cxnChg chg="add mod">
          <ac:chgData name="Arjan van der Meer" userId="008f28a2-684e-4523-b3ca-dcb37d9c3e5d" providerId="ADAL" clId="{C3C0D317-475B-426A-8FE4-7C706DFBFC41}" dt="2021-10-25T11:58:47.807" v="3336" actId="692"/>
          <ac:cxnSpMkLst>
            <pc:docMk/>
            <pc:sldMk cId="1607942654" sldId="1108"/>
            <ac:cxnSpMk id="9" creationId="{4CF306CB-070B-480E-9974-E4B10A6B72EC}"/>
          </ac:cxnSpMkLst>
        </pc:cxnChg>
        <pc:cxnChg chg="add mod">
          <ac:chgData name="Arjan van der Meer" userId="008f28a2-684e-4523-b3ca-dcb37d9c3e5d" providerId="ADAL" clId="{C3C0D317-475B-426A-8FE4-7C706DFBFC41}" dt="2021-10-25T11:58:47.807" v="3336" actId="692"/>
          <ac:cxnSpMkLst>
            <pc:docMk/>
            <pc:sldMk cId="1607942654" sldId="1108"/>
            <ac:cxnSpMk id="11" creationId="{F6BA81DD-0E63-4D2E-82EE-AE35C2EDB8E5}"/>
          </ac:cxnSpMkLst>
        </pc:cxnChg>
        <pc:cxnChg chg="del mod">
          <ac:chgData name="Arjan van der Meer" userId="008f28a2-684e-4523-b3ca-dcb37d9c3e5d" providerId="ADAL" clId="{C3C0D317-475B-426A-8FE4-7C706DFBFC41}" dt="2021-10-25T11:55:38.830" v="3324" actId="478"/>
          <ac:cxnSpMkLst>
            <pc:docMk/>
            <pc:sldMk cId="1607942654" sldId="1108"/>
            <ac:cxnSpMk id="26" creationId="{306E47FD-0849-40C3-8112-AAB5E6CB57B7}"/>
          </ac:cxnSpMkLst>
        </pc:cxnChg>
        <pc:cxnChg chg="add mod">
          <ac:chgData name="Arjan van der Meer" userId="008f28a2-684e-4523-b3ca-dcb37d9c3e5d" providerId="ADAL" clId="{C3C0D317-475B-426A-8FE4-7C706DFBFC41}" dt="2021-10-20T08:39:21.868" v="575"/>
          <ac:cxnSpMkLst>
            <pc:docMk/>
            <pc:sldMk cId="1607942654" sldId="1108"/>
            <ac:cxnSpMk id="27" creationId="{CE7A14BE-996D-4CF0-8686-0DCA4E83B931}"/>
          </ac:cxnSpMkLst>
        </pc:cxnChg>
        <pc:cxnChg chg="del mod">
          <ac:chgData name="Arjan van der Meer" userId="008f28a2-684e-4523-b3ca-dcb37d9c3e5d" providerId="ADAL" clId="{C3C0D317-475B-426A-8FE4-7C706DFBFC41}" dt="2021-10-25T11:55:38.830" v="3324" actId="478"/>
          <ac:cxnSpMkLst>
            <pc:docMk/>
            <pc:sldMk cId="1607942654" sldId="1108"/>
            <ac:cxnSpMk id="28" creationId="{68A4FF23-0DA3-43BB-847D-85C70B68951B}"/>
          </ac:cxnSpMkLst>
        </pc:cxnChg>
        <pc:cxnChg chg="add mod">
          <ac:chgData name="Arjan van der Meer" userId="008f28a2-684e-4523-b3ca-dcb37d9c3e5d" providerId="ADAL" clId="{C3C0D317-475B-426A-8FE4-7C706DFBFC41}" dt="2021-10-20T08:39:21.868" v="575"/>
          <ac:cxnSpMkLst>
            <pc:docMk/>
            <pc:sldMk cId="1607942654" sldId="1108"/>
            <ac:cxnSpMk id="29" creationId="{37D08D09-832E-4053-8A7C-E43CDBAB492F}"/>
          </ac:cxnSpMkLst>
        </pc:cxnChg>
        <pc:cxnChg chg="add mod">
          <ac:chgData name="Arjan van der Meer" userId="008f28a2-684e-4523-b3ca-dcb37d9c3e5d" providerId="ADAL" clId="{C3C0D317-475B-426A-8FE4-7C706DFBFC41}" dt="2021-10-20T08:39:21.868" v="575"/>
          <ac:cxnSpMkLst>
            <pc:docMk/>
            <pc:sldMk cId="1607942654" sldId="1108"/>
            <ac:cxnSpMk id="30" creationId="{62407B0A-973B-41DF-A3BD-14A3A8E6950E}"/>
          </ac:cxnSpMkLst>
        </pc:cxnChg>
        <pc:cxnChg chg="add mod">
          <ac:chgData name="Arjan van der Meer" userId="008f28a2-684e-4523-b3ca-dcb37d9c3e5d" providerId="ADAL" clId="{C3C0D317-475B-426A-8FE4-7C706DFBFC41}" dt="2021-10-20T08:39:21.868" v="575"/>
          <ac:cxnSpMkLst>
            <pc:docMk/>
            <pc:sldMk cId="1607942654" sldId="1108"/>
            <ac:cxnSpMk id="31" creationId="{53800698-7D7E-4280-879F-1AFE554B56EA}"/>
          </ac:cxnSpMkLst>
        </pc:cxnChg>
        <pc:cxnChg chg="add del mod">
          <ac:chgData name="Arjan van der Meer" userId="008f28a2-684e-4523-b3ca-dcb37d9c3e5d" providerId="ADAL" clId="{C3C0D317-475B-426A-8FE4-7C706DFBFC41}" dt="2021-10-25T11:55:38.830" v="3324" actId="478"/>
          <ac:cxnSpMkLst>
            <pc:docMk/>
            <pc:sldMk cId="1607942654" sldId="1108"/>
            <ac:cxnSpMk id="36" creationId="{0346C224-54FF-445E-B104-5BA83C773CD4}"/>
          </ac:cxnSpMkLst>
        </pc:cxnChg>
        <pc:cxnChg chg="add del mod">
          <ac:chgData name="Arjan van der Meer" userId="008f28a2-684e-4523-b3ca-dcb37d9c3e5d" providerId="ADAL" clId="{C3C0D317-475B-426A-8FE4-7C706DFBFC41}" dt="2021-10-25T11:55:38.830" v="3324" actId="478"/>
          <ac:cxnSpMkLst>
            <pc:docMk/>
            <pc:sldMk cId="1607942654" sldId="1108"/>
            <ac:cxnSpMk id="39" creationId="{3E4EBAEB-BB54-4902-A910-75A125553C66}"/>
          </ac:cxnSpMkLst>
        </pc:cxnChg>
        <pc:cxnChg chg="add del mod">
          <ac:chgData name="Arjan van der Meer" userId="008f28a2-684e-4523-b3ca-dcb37d9c3e5d" providerId="ADAL" clId="{C3C0D317-475B-426A-8FE4-7C706DFBFC41}" dt="2021-10-25T11:55:38.830" v="3324" actId="478"/>
          <ac:cxnSpMkLst>
            <pc:docMk/>
            <pc:sldMk cId="1607942654" sldId="1108"/>
            <ac:cxnSpMk id="40" creationId="{2CC3E461-88CB-47AE-BB66-289D22D69B85}"/>
          </ac:cxnSpMkLst>
        </pc:cxnChg>
        <pc:cxnChg chg="del mod">
          <ac:chgData name="Arjan van der Meer" userId="008f28a2-684e-4523-b3ca-dcb37d9c3e5d" providerId="ADAL" clId="{C3C0D317-475B-426A-8FE4-7C706DFBFC41}" dt="2021-10-25T11:55:38.830" v="3324" actId="478"/>
          <ac:cxnSpMkLst>
            <pc:docMk/>
            <pc:sldMk cId="1607942654" sldId="1108"/>
            <ac:cxnSpMk id="62" creationId="{2743069D-41C5-438A-B778-69834FC631B1}"/>
          </ac:cxnSpMkLst>
        </pc:cxnChg>
        <pc:cxnChg chg="add mod">
          <ac:chgData name="Arjan van der Meer" userId="008f28a2-684e-4523-b3ca-dcb37d9c3e5d" providerId="ADAL" clId="{C3C0D317-475B-426A-8FE4-7C706DFBFC41}" dt="2021-10-25T11:57:57.259" v="3331" actId="12789"/>
          <ac:cxnSpMkLst>
            <pc:docMk/>
            <pc:sldMk cId="1607942654" sldId="1108"/>
            <ac:cxnSpMk id="65" creationId="{440C266A-EE67-4640-9FFF-3DC7EA31CF1E}"/>
          </ac:cxnSpMkLst>
        </pc:cxnChg>
        <pc:cxnChg chg="add mod">
          <ac:chgData name="Arjan van der Meer" userId="008f28a2-684e-4523-b3ca-dcb37d9c3e5d" providerId="ADAL" clId="{C3C0D317-475B-426A-8FE4-7C706DFBFC41}" dt="2021-10-25T11:57:50.539" v="3330" actId="12789"/>
          <ac:cxnSpMkLst>
            <pc:docMk/>
            <pc:sldMk cId="1607942654" sldId="1108"/>
            <ac:cxnSpMk id="68" creationId="{35195038-BE4D-49D1-AD3E-7370D0DC45CB}"/>
          </ac:cxnSpMkLst>
        </pc:cxnChg>
        <pc:cxnChg chg="del mod">
          <ac:chgData name="Arjan van der Meer" userId="008f28a2-684e-4523-b3ca-dcb37d9c3e5d" providerId="ADAL" clId="{C3C0D317-475B-426A-8FE4-7C706DFBFC41}" dt="2021-10-25T11:55:38.830" v="3324" actId="478"/>
          <ac:cxnSpMkLst>
            <pc:docMk/>
            <pc:sldMk cId="1607942654" sldId="1108"/>
            <ac:cxnSpMk id="69" creationId="{17EBEE15-022B-4D89-9FCB-10DFE680F5DD}"/>
          </ac:cxnSpMkLst>
        </pc:cxnChg>
        <pc:cxnChg chg="add mod">
          <ac:chgData name="Arjan van der Meer" userId="008f28a2-684e-4523-b3ca-dcb37d9c3e5d" providerId="ADAL" clId="{C3C0D317-475B-426A-8FE4-7C706DFBFC41}" dt="2021-10-25T11:57:50.539" v="3330" actId="12789"/>
          <ac:cxnSpMkLst>
            <pc:docMk/>
            <pc:sldMk cId="1607942654" sldId="1108"/>
            <ac:cxnSpMk id="70" creationId="{E7AEC630-BED6-4D5B-987D-9F430BBD884B}"/>
          </ac:cxnSpMkLst>
        </pc:cxnChg>
        <pc:cxnChg chg="add mod">
          <ac:chgData name="Arjan van der Meer" userId="008f28a2-684e-4523-b3ca-dcb37d9c3e5d" providerId="ADAL" clId="{C3C0D317-475B-426A-8FE4-7C706DFBFC41}" dt="2021-10-25T11:57:50.539" v="3330" actId="12789"/>
          <ac:cxnSpMkLst>
            <pc:docMk/>
            <pc:sldMk cId="1607942654" sldId="1108"/>
            <ac:cxnSpMk id="71" creationId="{550A011D-5A95-4B7C-8699-A3BF00C224A5}"/>
          </ac:cxnSpMkLst>
        </pc:cxnChg>
        <pc:cxnChg chg="add mod">
          <ac:chgData name="Arjan van der Meer" userId="008f28a2-684e-4523-b3ca-dcb37d9c3e5d" providerId="ADAL" clId="{C3C0D317-475B-426A-8FE4-7C706DFBFC41}" dt="2021-10-25T11:57:57.259" v="3331" actId="12789"/>
          <ac:cxnSpMkLst>
            <pc:docMk/>
            <pc:sldMk cId="1607942654" sldId="1108"/>
            <ac:cxnSpMk id="72" creationId="{79D84D01-1E0D-4633-A15D-B33DF333C1DE}"/>
          </ac:cxnSpMkLst>
        </pc:cxnChg>
        <pc:cxnChg chg="add mod">
          <ac:chgData name="Arjan van der Meer" userId="008f28a2-684e-4523-b3ca-dcb37d9c3e5d" providerId="ADAL" clId="{C3C0D317-475B-426A-8FE4-7C706DFBFC41}" dt="2021-10-25T11:57:57.259" v="3331" actId="12789"/>
          <ac:cxnSpMkLst>
            <pc:docMk/>
            <pc:sldMk cId="1607942654" sldId="1108"/>
            <ac:cxnSpMk id="73" creationId="{888376A2-2E75-4D81-9E46-D787EB1946CF}"/>
          </ac:cxnSpMkLst>
        </pc:cxnChg>
        <pc:cxnChg chg="del mod">
          <ac:chgData name="Arjan van der Meer" userId="008f28a2-684e-4523-b3ca-dcb37d9c3e5d" providerId="ADAL" clId="{C3C0D317-475B-426A-8FE4-7C706DFBFC41}" dt="2021-10-25T11:55:38.830" v="3324" actId="478"/>
          <ac:cxnSpMkLst>
            <pc:docMk/>
            <pc:sldMk cId="1607942654" sldId="1108"/>
            <ac:cxnSpMk id="76" creationId="{6220F7DC-8B76-4F79-9EB9-7868E9B08E05}"/>
          </ac:cxnSpMkLst>
        </pc:cxnChg>
      </pc:sldChg>
      <pc:sldChg chg="addSp delSp modSp new del mod">
        <pc:chgData name="Arjan van der Meer" userId="008f28a2-684e-4523-b3ca-dcb37d9c3e5d" providerId="ADAL" clId="{C3C0D317-475B-426A-8FE4-7C706DFBFC41}" dt="2021-10-20T07:35:12.504" v="204" actId="2696"/>
        <pc:sldMkLst>
          <pc:docMk/>
          <pc:sldMk cId="2540951762" sldId="1109"/>
        </pc:sldMkLst>
        <pc:spChg chg="del">
          <ac:chgData name="Arjan van der Meer" userId="008f28a2-684e-4523-b3ca-dcb37d9c3e5d" providerId="ADAL" clId="{C3C0D317-475B-426A-8FE4-7C706DFBFC41}" dt="2021-10-20T07:34:53.223" v="139"/>
          <ac:spMkLst>
            <pc:docMk/>
            <pc:sldMk cId="2540951762" sldId="1109"/>
            <ac:spMk id="6" creationId="{E8DFCBEE-8C63-44DB-8C22-085864413590}"/>
          </ac:spMkLst>
        </pc:spChg>
        <pc:graphicFrameChg chg="add mod modGraphic">
          <ac:chgData name="Arjan van der Meer" userId="008f28a2-684e-4523-b3ca-dcb37d9c3e5d" providerId="ADAL" clId="{C3C0D317-475B-426A-8FE4-7C706DFBFC41}" dt="2021-10-20T07:35:09.210" v="203" actId="6549"/>
          <ac:graphicFrameMkLst>
            <pc:docMk/>
            <pc:sldMk cId="2540951762" sldId="1109"/>
            <ac:graphicFrameMk id="7" creationId="{A166DA85-E6B0-4B26-B094-56643349AC65}"/>
          </ac:graphicFrameMkLst>
        </pc:graphicFrameChg>
      </pc:sldChg>
      <pc:sldChg chg="addSp delSp modSp new del mod modAnim">
        <pc:chgData name="Arjan van der Meer" userId="008f28a2-684e-4523-b3ca-dcb37d9c3e5d" providerId="ADAL" clId="{C3C0D317-475B-426A-8FE4-7C706DFBFC41}" dt="2021-10-25T12:40:41.299" v="3772" actId="47"/>
        <pc:sldMkLst>
          <pc:docMk/>
          <pc:sldMk cId="3359474097" sldId="1109"/>
        </pc:sldMkLst>
        <pc:spChg chg="del">
          <ac:chgData name="Arjan van der Meer" userId="008f28a2-684e-4523-b3ca-dcb37d9c3e5d" providerId="ADAL" clId="{C3C0D317-475B-426A-8FE4-7C706DFBFC41}" dt="2021-10-20T07:37:08.724" v="273" actId="478"/>
          <ac:spMkLst>
            <pc:docMk/>
            <pc:sldMk cId="3359474097" sldId="1109"/>
            <ac:spMk id="2" creationId="{03214664-4F27-461F-B55F-DD856FAC7C7F}"/>
          </ac:spMkLst>
        </pc:spChg>
        <pc:spChg chg="add mod">
          <ac:chgData name="Arjan van der Meer" userId="008f28a2-684e-4523-b3ca-dcb37d9c3e5d" providerId="ADAL" clId="{C3C0D317-475B-426A-8FE4-7C706DFBFC41}" dt="2021-10-22T14:08:09.280" v="1185" actId="14100"/>
          <ac:spMkLst>
            <pc:docMk/>
            <pc:sldMk cId="3359474097" sldId="1109"/>
            <ac:spMk id="2" creationId="{64247E47-7305-4B77-A5C1-44F9636ED2EC}"/>
          </ac:spMkLst>
        </pc:spChg>
        <pc:spChg chg="mod">
          <ac:chgData name="Arjan van der Meer" userId="008f28a2-684e-4523-b3ca-dcb37d9c3e5d" providerId="ADAL" clId="{C3C0D317-475B-426A-8FE4-7C706DFBFC41}" dt="2021-10-20T07:49:25.551" v="339"/>
          <ac:spMkLst>
            <pc:docMk/>
            <pc:sldMk cId="3359474097" sldId="1109"/>
            <ac:spMk id="3" creationId="{DAB44570-723F-4808-A44C-DD8F5B11E6B9}"/>
          </ac:spMkLst>
        </pc:spChg>
        <pc:spChg chg="mod">
          <ac:chgData name="Arjan van der Meer" userId="008f28a2-684e-4523-b3ca-dcb37d9c3e5d" providerId="ADAL" clId="{C3C0D317-475B-426A-8FE4-7C706DFBFC41}" dt="2021-10-20T07:49:25.551" v="339"/>
          <ac:spMkLst>
            <pc:docMk/>
            <pc:sldMk cId="3359474097" sldId="1109"/>
            <ac:spMk id="4" creationId="{462F5CCD-A613-4938-A634-0031C16BA245}"/>
          </ac:spMkLst>
        </pc:spChg>
        <pc:spChg chg="mod">
          <ac:chgData name="Arjan van der Meer" userId="008f28a2-684e-4523-b3ca-dcb37d9c3e5d" providerId="ADAL" clId="{C3C0D317-475B-426A-8FE4-7C706DFBFC41}" dt="2021-10-20T07:49:25.551" v="339"/>
          <ac:spMkLst>
            <pc:docMk/>
            <pc:sldMk cId="3359474097" sldId="1109"/>
            <ac:spMk id="5" creationId="{72A44805-0679-4006-92FA-8B63DCBFBF87}"/>
          </ac:spMkLst>
        </pc:spChg>
        <pc:spChg chg="del">
          <ac:chgData name="Arjan van der Meer" userId="008f28a2-684e-4523-b3ca-dcb37d9c3e5d" providerId="ADAL" clId="{C3C0D317-475B-426A-8FE4-7C706DFBFC41}" dt="2021-10-20T07:37:13.967" v="274" actId="478"/>
          <ac:spMkLst>
            <pc:docMk/>
            <pc:sldMk cId="3359474097" sldId="1109"/>
            <ac:spMk id="6" creationId="{3ACCAAFC-17AF-4D6D-95DF-5A57DCD761C5}"/>
          </ac:spMkLst>
        </pc:spChg>
        <pc:spChg chg="add mod">
          <ac:chgData name="Arjan van der Meer" userId="008f28a2-684e-4523-b3ca-dcb37d9c3e5d" providerId="ADAL" clId="{C3C0D317-475B-426A-8FE4-7C706DFBFC41}" dt="2021-10-22T14:08:20.713" v="1188" actId="14100"/>
          <ac:spMkLst>
            <pc:docMk/>
            <pc:sldMk cId="3359474097" sldId="1109"/>
            <ac:spMk id="7" creationId="{D0F6BF1B-B0BE-4F34-AAD2-A46C4829D64D}"/>
          </ac:spMkLst>
        </pc:spChg>
        <pc:graphicFrameChg chg="add del mod modGraphic">
          <ac:chgData name="Arjan van der Meer" userId="008f28a2-684e-4523-b3ca-dcb37d9c3e5d" providerId="ADAL" clId="{C3C0D317-475B-426A-8FE4-7C706DFBFC41}" dt="2021-10-20T07:50:51.852" v="340" actId="478"/>
          <ac:graphicFrameMkLst>
            <pc:docMk/>
            <pc:sldMk cId="3359474097" sldId="1109"/>
            <ac:graphicFrameMk id="7" creationId="{BFCC7539-FFF5-45CF-B17B-AA4998567192}"/>
          </ac:graphicFrameMkLst>
        </pc:graphicFrameChg>
        <pc:graphicFrameChg chg="add mod modGraphic">
          <ac:chgData name="Arjan van der Meer" userId="008f28a2-684e-4523-b3ca-dcb37d9c3e5d" providerId="ADAL" clId="{C3C0D317-475B-426A-8FE4-7C706DFBFC41}" dt="2021-10-22T14:01:55.425" v="1131" actId="1076"/>
          <ac:graphicFrameMkLst>
            <pc:docMk/>
            <pc:sldMk cId="3359474097" sldId="1109"/>
            <ac:graphicFrameMk id="8" creationId="{3382420A-ABE0-4BFE-A914-12212A89A270}"/>
          </ac:graphicFrameMkLst>
        </pc:graphicFrameChg>
      </pc:sldChg>
      <pc:sldChg chg="addSp delSp modSp new del mod">
        <pc:chgData name="Arjan van der Meer" userId="008f28a2-684e-4523-b3ca-dcb37d9c3e5d" providerId="ADAL" clId="{C3C0D317-475B-426A-8FE4-7C706DFBFC41}" dt="2021-10-20T07:31:37.765" v="137" actId="2696"/>
        <pc:sldMkLst>
          <pc:docMk/>
          <pc:sldMk cId="3436435404" sldId="1109"/>
        </pc:sldMkLst>
        <pc:spChg chg="del">
          <ac:chgData name="Arjan van der Meer" userId="008f28a2-684e-4523-b3ca-dcb37d9c3e5d" providerId="ADAL" clId="{C3C0D317-475B-426A-8FE4-7C706DFBFC41}" dt="2021-10-20T07:31:14.752" v="68"/>
          <ac:spMkLst>
            <pc:docMk/>
            <pc:sldMk cId="3436435404" sldId="1109"/>
            <ac:spMk id="6" creationId="{4CAA7788-C843-4FCB-B05B-9C4034188C99}"/>
          </ac:spMkLst>
        </pc:spChg>
        <pc:graphicFrameChg chg="add mod modGraphic">
          <ac:chgData name="Arjan van der Meer" userId="008f28a2-684e-4523-b3ca-dcb37d9c3e5d" providerId="ADAL" clId="{C3C0D317-475B-426A-8FE4-7C706DFBFC41}" dt="2021-10-20T07:31:25.930" v="136" actId="6549"/>
          <ac:graphicFrameMkLst>
            <pc:docMk/>
            <pc:sldMk cId="3436435404" sldId="1109"/>
            <ac:graphicFrameMk id="7" creationId="{D5D5D2A2-976D-44A8-BC8B-CC04E2198A8A}"/>
          </ac:graphicFrameMkLst>
        </pc:graphicFrameChg>
      </pc:sldChg>
      <pc:sldChg chg="addSp delSp modSp mod ord">
        <pc:chgData name="Arjan van der Meer" userId="008f28a2-684e-4523-b3ca-dcb37d9c3e5d" providerId="ADAL" clId="{C3C0D317-475B-426A-8FE4-7C706DFBFC41}" dt="2021-10-25T12:49:08.174" v="3850" actId="20577"/>
        <pc:sldMkLst>
          <pc:docMk/>
          <pc:sldMk cId="1613319492" sldId="1110"/>
        </pc:sldMkLst>
        <pc:spChg chg="mod">
          <ac:chgData name="Arjan van der Meer" userId="008f28a2-684e-4523-b3ca-dcb37d9c3e5d" providerId="ADAL" clId="{C3C0D317-475B-426A-8FE4-7C706DFBFC41}" dt="2021-10-25T12:49:08.174" v="3850" actId="20577"/>
          <ac:spMkLst>
            <pc:docMk/>
            <pc:sldMk cId="1613319492" sldId="1110"/>
            <ac:spMk id="2" creationId="{53CB77FA-CF1B-4B0E-A304-10CE6620EE56}"/>
          </ac:spMkLst>
        </pc:spChg>
        <pc:spChg chg="del">
          <ac:chgData name="Arjan van der Meer" userId="008f28a2-684e-4523-b3ca-dcb37d9c3e5d" providerId="ADAL" clId="{C3C0D317-475B-426A-8FE4-7C706DFBFC41}" dt="2021-10-25T11:51:46.577" v="3314" actId="478"/>
          <ac:spMkLst>
            <pc:docMk/>
            <pc:sldMk cId="1613319492" sldId="1110"/>
            <ac:spMk id="19" creationId="{69D233B8-BD14-42F3-8D3D-E627BF753CE3}"/>
          </ac:spMkLst>
        </pc:spChg>
        <pc:spChg chg="del">
          <ac:chgData name="Arjan van der Meer" userId="008f28a2-684e-4523-b3ca-dcb37d9c3e5d" providerId="ADAL" clId="{C3C0D317-475B-426A-8FE4-7C706DFBFC41}" dt="2021-10-25T11:51:46.577" v="3314" actId="478"/>
          <ac:spMkLst>
            <pc:docMk/>
            <pc:sldMk cId="1613319492" sldId="1110"/>
            <ac:spMk id="20" creationId="{AE503076-64F9-4971-927E-2FB0D6A204CD}"/>
          </ac:spMkLst>
        </pc:spChg>
        <pc:spChg chg="del">
          <ac:chgData name="Arjan van der Meer" userId="008f28a2-684e-4523-b3ca-dcb37d9c3e5d" providerId="ADAL" clId="{C3C0D317-475B-426A-8FE4-7C706DFBFC41}" dt="2021-10-25T11:51:46.577" v="3314" actId="478"/>
          <ac:spMkLst>
            <pc:docMk/>
            <pc:sldMk cId="1613319492" sldId="1110"/>
            <ac:spMk id="21" creationId="{D353F02A-3E3E-4A23-B0B9-F898044D5C99}"/>
          </ac:spMkLst>
        </pc:spChg>
        <pc:spChg chg="del">
          <ac:chgData name="Arjan van der Meer" userId="008f28a2-684e-4523-b3ca-dcb37d9c3e5d" providerId="ADAL" clId="{C3C0D317-475B-426A-8FE4-7C706DFBFC41}" dt="2021-10-25T11:51:46.577" v="3314" actId="478"/>
          <ac:spMkLst>
            <pc:docMk/>
            <pc:sldMk cId="1613319492" sldId="1110"/>
            <ac:spMk id="22" creationId="{1349657E-0642-4270-9080-3D0A4538072D}"/>
          </ac:spMkLst>
        </pc:spChg>
        <pc:spChg chg="del">
          <ac:chgData name="Arjan van der Meer" userId="008f28a2-684e-4523-b3ca-dcb37d9c3e5d" providerId="ADAL" clId="{C3C0D317-475B-426A-8FE4-7C706DFBFC41}" dt="2021-10-25T11:51:46.577" v="3314" actId="478"/>
          <ac:spMkLst>
            <pc:docMk/>
            <pc:sldMk cId="1613319492" sldId="1110"/>
            <ac:spMk id="23" creationId="{D12F4F51-4D34-4E14-B4D5-B87447DB6D1E}"/>
          </ac:spMkLst>
        </pc:spChg>
        <pc:spChg chg="del">
          <ac:chgData name="Arjan van der Meer" userId="008f28a2-684e-4523-b3ca-dcb37d9c3e5d" providerId="ADAL" clId="{C3C0D317-475B-426A-8FE4-7C706DFBFC41}" dt="2021-10-25T11:51:46.577" v="3314" actId="478"/>
          <ac:spMkLst>
            <pc:docMk/>
            <pc:sldMk cId="1613319492" sldId="1110"/>
            <ac:spMk id="24" creationId="{25E4D455-DDDF-4DA5-9A71-54FF1AB6A335}"/>
          </ac:spMkLst>
        </pc:spChg>
        <pc:spChg chg="add mod">
          <ac:chgData name="Arjan van der Meer" userId="008f28a2-684e-4523-b3ca-dcb37d9c3e5d" providerId="ADAL" clId="{C3C0D317-475B-426A-8FE4-7C706DFBFC41}" dt="2021-10-25T07:15:35.225" v="1807" actId="20577"/>
          <ac:spMkLst>
            <pc:docMk/>
            <pc:sldMk cId="1613319492" sldId="1110"/>
            <ac:spMk id="39" creationId="{C8032CAA-A749-4425-84D9-D229F67DA0A7}"/>
          </ac:spMkLst>
        </pc:spChg>
        <pc:spChg chg="add mod">
          <ac:chgData name="Arjan van der Meer" userId="008f28a2-684e-4523-b3ca-dcb37d9c3e5d" providerId="ADAL" clId="{C3C0D317-475B-426A-8FE4-7C706DFBFC41}" dt="2021-10-25T11:51:47.633" v="3315"/>
          <ac:spMkLst>
            <pc:docMk/>
            <pc:sldMk cId="1613319492" sldId="1110"/>
            <ac:spMk id="40" creationId="{FC320A89-AAE3-41D1-AFC6-0CA41F395BA0}"/>
          </ac:spMkLst>
        </pc:spChg>
        <pc:spChg chg="add mod">
          <ac:chgData name="Arjan van der Meer" userId="008f28a2-684e-4523-b3ca-dcb37d9c3e5d" providerId="ADAL" clId="{C3C0D317-475B-426A-8FE4-7C706DFBFC41}" dt="2021-10-25T11:51:47.633" v="3315"/>
          <ac:spMkLst>
            <pc:docMk/>
            <pc:sldMk cId="1613319492" sldId="1110"/>
            <ac:spMk id="41" creationId="{42DFCF81-9072-407C-AC6F-5555B2C5A251}"/>
          </ac:spMkLst>
        </pc:spChg>
        <pc:spChg chg="add mod">
          <ac:chgData name="Arjan van der Meer" userId="008f28a2-684e-4523-b3ca-dcb37d9c3e5d" providerId="ADAL" clId="{C3C0D317-475B-426A-8FE4-7C706DFBFC41}" dt="2021-10-25T11:51:47.633" v="3315"/>
          <ac:spMkLst>
            <pc:docMk/>
            <pc:sldMk cId="1613319492" sldId="1110"/>
            <ac:spMk id="43" creationId="{57E25935-2733-446D-B7E9-7D773A6BA1B6}"/>
          </ac:spMkLst>
        </pc:spChg>
        <pc:spChg chg="add mod">
          <ac:chgData name="Arjan van der Meer" userId="008f28a2-684e-4523-b3ca-dcb37d9c3e5d" providerId="ADAL" clId="{C3C0D317-475B-426A-8FE4-7C706DFBFC41}" dt="2021-10-25T11:59:48.190" v="3339" actId="12789"/>
          <ac:spMkLst>
            <pc:docMk/>
            <pc:sldMk cId="1613319492" sldId="1110"/>
            <ac:spMk id="44" creationId="{EEE1433E-DD4D-494E-AF2B-C203C803E9EB}"/>
          </ac:spMkLst>
        </pc:spChg>
        <pc:spChg chg="add mod">
          <ac:chgData name="Arjan van der Meer" userId="008f28a2-684e-4523-b3ca-dcb37d9c3e5d" providerId="ADAL" clId="{C3C0D317-475B-426A-8FE4-7C706DFBFC41}" dt="2021-10-25T11:59:48.190" v="3339" actId="12789"/>
          <ac:spMkLst>
            <pc:docMk/>
            <pc:sldMk cId="1613319492" sldId="1110"/>
            <ac:spMk id="45" creationId="{761D9812-7E11-4D68-B509-034945FA7AB5}"/>
          </ac:spMkLst>
        </pc:spChg>
        <pc:spChg chg="add mod">
          <ac:chgData name="Arjan van der Meer" userId="008f28a2-684e-4523-b3ca-dcb37d9c3e5d" providerId="ADAL" clId="{C3C0D317-475B-426A-8FE4-7C706DFBFC41}" dt="2021-10-25T11:59:48.190" v="3339" actId="12789"/>
          <ac:spMkLst>
            <pc:docMk/>
            <pc:sldMk cId="1613319492" sldId="1110"/>
            <ac:spMk id="46" creationId="{93E882E8-8AC1-428F-8098-AA668BB68416}"/>
          </ac:spMkLst>
        </pc:spChg>
        <pc:spChg chg="del">
          <ac:chgData name="Arjan van der Meer" userId="008f28a2-684e-4523-b3ca-dcb37d9c3e5d" providerId="ADAL" clId="{C3C0D317-475B-426A-8FE4-7C706DFBFC41}" dt="2021-10-25T11:51:46.577" v="3314" actId="478"/>
          <ac:spMkLst>
            <pc:docMk/>
            <pc:sldMk cId="1613319492" sldId="1110"/>
            <ac:spMk id="48" creationId="{0A5A1562-6B26-4D25-AD5C-5EECE04F29C4}"/>
          </ac:spMkLst>
        </pc:spChg>
        <pc:spChg chg="del">
          <ac:chgData name="Arjan van der Meer" userId="008f28a2-684e-4523-b3ca-dcb37d9c3e5d" providerId="ADAL" clId="{C3C0D317-475B-426A-8FE4-7C706DFBFC41}" dt="2021-10-25T11:51:46.577" v="3314" actId="478"/>
          <ac:spMkLst>
            <pc:docMk/>
            <pc:sldMk cId="1613319492" sldId="1110"/>
            <ac:spMk id="49" creationId="{13CE74E9-EF83-4FA6-9D22-5CE5AE28988B}"/>
          </ac:spMkLst>
        </pc:spChg>
        <pc:spChg chg="add mod">
          <ac:chgData name="Arjan van der Meer" userId="008f28a2-684e-4523-b3ca-dcb37d9c3e5d" providerId="ADAL" clId="{C3C0D317-475B-426A-8FE4-7C706DFBFC41}" dt="2021-10-25T11:59:55.953" v="3340" actId="12789"/>
          <ac:spMkLst>
            <pc:docMk/>
            <pc:sldMk cId="1613319492" sldId="1110"/>
            <ac:spMk id="50" creationId="{EE5BAE2E-FD07-485C-94B2-2AB7399DF5BA}"/>
          </ac:spMkLst>
        </pc:spChg>
        <pc:spChg chg="add mod">
          <ac:chgData name="Arjan van der Meer" userId="008f28a2-684e-4523-b3ca-dcb37d9c3e5d" providerId="ADAL" clId="{C3C0D317-475B-426A-8FE4-7C706DFBFC41}" dt="2021-10-25T11:59:55.953" v="3340" actId="12789"/>
          <ac:spMkLst>
            <pc:docMk/>
            <pc:sldMk cId="1613319492" sldId="1110"/>
            <ac:spMk id="51" creationId="{3F5ACBD9-23B6-4D95-8DF4-BE802F9DE431}"/>
          </ac:spMkLst>
        </pc:spChg>
        <pc:spChg chg="del">
          <ac:chgData name="Arjan van der Meer" userId="008f28a2-684e-4523-b3ca-dcb37d9c3e5d" providerId="ADAL" clId="{C3C0D317-475B-426A-8FE4-7C706DFBFC41}" dt="2021-10-25T11:51:46.577" v="3314" actId="478"/>
          <ac:spMkLst>
            <pc:docMk/>
            <pc:sldMk cId="1613319492" sldId="1110"/>
            <ac:spMk id="52" creationId="{4E0FBEF9-9C87-49D3-9B58-64B48B92F5C9}"/>
          </ac:spMkLst>
        </pc:spChg>
        <pc:spChg chg="add mod">
          <ac:chgData name="Arjan van der Meer" userId="008f28a2-684e-4523-b3ca-dcb37d9c3e5d" providerId="ADAL" clId="{C3C0D317-475B-426A-8FE4-7C706DFBFC41}" dt="2021-10-25T11:51:47.633" v="3315"/>
          <ac:spMkLst>
            <pc:docMk/>
            <pc:sldMk cId="1613319492" sldId="1110"/>
            <ac:spMk id="53" creationId="{A622EF50-48A5-4557-8EAB-9A8A9F762BC9}"/>
          </ac:spMkLst>
        </pc:spChg>
        <pc:spChg chg="del">
          <ac:chgData name="Arjan van der Meer" userId="008f28a2-684e-4523-b3ca-dcb37d9c3e5d" providerId="ADAL" clId="{C3C0D317-475B-426A-8FE4-7C706DFBFC41}" dt="2021-10-25T11:51:46.577" v="3314" actId="478"/>
          <ac:spMkLst>
            <pc:docMk/>
            <pc:sldMk cId="1613319492" sldId="1110"/>
            <ac:spMk id="55" creationId="{30EFDA3C-2A8C-404C-9FC8-C8F70AA3E181}"/>
          </ac:spMkLst>
        </pc:spChg>
        <pc:spChg chg="del">
          <ac:chgData name="Arjan van der Meer" userId="008f28a2-684e-4523-b3ca-dcb37d9c3e5d" providerId="ADAL" clId="{C3C0D317-475B-426A-8FE4-7C706DFBFC41}" dt="2021-10-25T11:51:46.577" v="3314" actId="478"/>
          <ac:spMkLst>
            <pc:docMk/>
            <pc:sldMk cId="1613319492" sldId="1110"/>
            <ac:spMk id="56" creationId="{35D7597D-8037-40C1-BF47-6B3D10EE0BF9}"/>
          </ac:spMkLst>
        </pc:spChg>
        <pc:spChg chg="del">
          <ac:chgData name="Arjan van der Meer" userId="008f28a2-684e-4523-b3ca-dcb37d9c3e5d" providerId="ADAL" clId="{C3C0D317-475B-426A-8FE4-7C706DFBFC41}" dt="2021-10-25T11:51:46.577" v="3314" actId="478"/>
          <ac:spMkLst>
            <pc:docMk/>
            <pc:sldMk cId="1613319492" sldId="1110"/>
            <ac:spMk id="57" creationId="{197D498D-D5D6-4759-93E2-42EA9A37CB45}"/>
          </ac:spMkLst>
        </pc:spChg>
        <pc:spChg chg="del">
          <ac:chgData name="Arjan van der Meer" userId="008f28a2-684e-4523-b3ca-dcb37d9c3e5d" providerId="ADAL" clId="{C3C0D317-475B-426A-8FE4-7C706DFBFC41}" dt="2021-10-25T11:51:46.577" v="3314" actId="478"/>
          <ac:spMkLst>
            <pc:docMk/>
            <pc:sldMk cId="1613319492" sldId="1110"/>
            <ac:spMk id="58" creationId="{3BF1DB98-FFD3-4E64-9D9D-47D72DD44EEB}"/>
          </ac:spMkLst>
        </pc:spChg>
        <pc:spChg chg="del">
          <ac:chgData name="Arjan van der Meer" userId="008f28a2-684e-4523-b3ca-dcb37d9c3e5d" providerId="ADAL" clId="{C3C0D317-475B-426A-8FE4-7C706DFBFC41}" dt="2021-10-25T11:51:46.577" v="3314" actId="478"/>
          <ac:spMkLst>
            <pc:docMk/>
            <pc:sldMk cId="1613319492" sldId="1110"/>
            <ac:spMk id="59" creationId="{A65FD5AC-8538-41AE-AF15-5A7D6618BEFB}"/>
          </ac:spMkLst>
        </pc:spChg>
        <pc:spChg chg="del">
          <ac:chgData name="Arjan van der Meer" userId="008f28a2-684e-4523-b3ca-dcb37d9c3e5d" providerId="ADAL" clId="{C3C0D317-475B-426A-8FE4-7C706DFBFC41}" dt="2021-10-25T11:51:46.577" v="3314" actId="478"/>
          <ac:spMkLst>
            <pc:docMk/>
            <pc:sldMk cId="1613319492" sldId="1110"/>
            <ac:spMk id="60" creationId="{0B0D5852-EE35-4561-BFE8-AA24EB4DAD9F}"/>
          </ac:spMkLst>
        </pc:spChg>
        <pc:spChg chg="del">
          <ac:chgData name="Arjan van der Meer" userId="008f28a2-684e-4523-b3ca-dcb37d9c3e5d" providerId="ADAL" clId="{C3C0D317-475B-426A-8FE4-7C706DFBFC41}" dt="2021-10-25T11:51:46.577" v="3314" actId="478"/>
          <ac:spMkLst>
            <pc:docMk/>
            <pc:sldMk cId="1613319492" sldId="1110"/>
            <ac:spMk id="64" creationId="{0236EF38-BC16-4445-B09B-75D3794DA876}"/>
          </ac:spMkLst>
        </pc:spChg>
        <pc:spChg chg="del">
          <ac:chgData name="Arjan van der Meer" userId="008f28a2-684e-4523-b3ca-dcb37d9c3e5d" providerId="ADAL" clId="{C3C0D317-475B-426A-8FE4-7C706DFBFC41}" dt="2021-10-25T11:51:46.577" v="3314" actId="478"/>
          <ac:spMkLst>
            <pc:docMk/>
            <pc:sldMk cId="1613319492" sldId="1110"/>
            <ac:spMk id="66" creationId="{F281DEA3-5CB1-45E3-9241-F6431917B150}"/>
          </ac:spMkLst>
        </pc:spChg>
        <pc:spChg chg="add mod">
          <ac:chgData name="Arjan van der Meer" userId="008f28a2-684e-4523-b3ca-dcb37d9c3e5d" providerId="ADAL" clId="{C3C0D317-475B-426A-8FE4-7C706DFBFC41}" dt="2021-10-25T11:51:47.633" v="3315"/>
          <ac:spMkLst>
            <pc:docMk/>
            <pc:sldMk cId="1613319492" sldId="1110"/>
            <ac:spMk id="67" creationId="{D58DB527-0C0C-44E7-9861-4A89D1DD53E4}"/>
          </ac:spMkLst>
        </pc:spChg>
        <pc:spChg chg="add mod">
          <ac:chgData name="Arjan van der Meer" userId="008f28a2-684e-4523-b3ca-dcb37d9c3e5d" providerId="ADAL" clId="{C3C0D317-475B-426A-8FE4-7C706DFBFC41}" dt="2021-10-25T11:51:47.633" v="3315"/>
          <ac:spMkLst>
            <pc:docMk/>
            <pc:sldMk cId="1613319492" sldId="1110"/>
            <ac:spMk id="68" creationId="{28974FF5-125D-43EA-B342-429C6D894483}"/>
          </ac:spMkLst>
        </pc:spChg>
        <pc:spChg chg="add mod">
          <ac:chgData name="Arjan van der Meer" userId="008f28a2-684e-4523-b3ca-dcb37d9c3e5d" providerId="ADAL" clId="{C3C0D317-475B-426A-8FE4-7C706DFBFC41}" dt="2021-10-25T11:51:47.633" v="3315"/>
          <ac:spMkLst>
            <pc:docMk/>
            <pc:sldMk cId="1613319492" sldId="1110"/>
            <ac:spMk id="75" creationId="{6F29EC29-D294-45D9-BD8F-E91ED5022095}"/>
          </ac:spMkLst>
        </pc:spChg>
        <pc:spChg chg="add mod">
          <ac:chgData name="Arjan van der Meer" userId="008f28a2-684e-4523-b3ca-dcb37d9c3e5d" providerId="ADAL" clId="{C3C0D317-475B-426A-8FE4-7C706DFBFC41}" dt="2021-10-25T11:51:47.633" v="3315"/>
          <ac:spMkLst>
            <pc:docMk/>
            <pc:sldMk cId="1613319492" sldId="1110"/>
            <ac:spMk id="77" creationId="{2D1874D1-BB5D-4311-8855-FB9BE1959D90}"/>
          </ac:spMkLst>
        </pc:spChg>
        <pc:spChg chg="add mod">
          <ac:chgData name="Arjan van der Meer" userId="008f28a2-684e-4523-b3ca-dcb37d9c3e5d" providerId="ADAL" clId="{C3C0D317-475B-426A-8FE4-7C706DFBFC41}" dt="2021-10-25T11:51:47.633" v="3315"/>
          <ac:spMkLst>
            <pc:docMk/>
            <pc:sldMk cId="1613319492" sldId="1110"/>
            <ac:spMk id="78" creationId="{D56282FE-61A8-47F1-B5D5-D70BFC6B0F83}"/>
          </ac:spMkLst>
        </pc:spChg>
        <pc:spChg chg="add mod">
          <ac:chgData name="Arjan van der Meer" userId="008f28a2-684e-4523-b3ca-dcb37d9c3e5d" providerId="ADAL" clId="{C3C0D317-475B-426A-8FE4-7C706DFBFC41}" dt="2021-10-25T11:51:47.633" v="3315"/>
          <ac:spMkLst>
            <pc:docMk/>
            <pc:sldMk cId="1613319492" sldId="1110"/>
            <ac:spMk id="79" creationId="{F27E3426-F9D0-4067-87CC-E1EF3AA55A07}"/>
          </ac:spMkLst>
        </pc:spChg>
        <pc:spChg chg="add mod">
          <ac:chgData name="Arjan van der Meer" userId="008f28a2-684e-4523-b3ca-dcb37d9c3e5d" providerId="ADAL" clId="{C3C0D317-475B-426A-8FE4-7C706DFBFC41}" dt="2021-10-25T11:51:47.633" v="3315"/>
          <ac:spMkLst>
            <pc:docMk/>
            <pc:sldMk cId="1613319492" sldId="1110"/>
            <ac:spMk id="80" creationId="{2AA0378D-8466-4985-98C7-A95E42B30F38}"/>
          </ac:spMkLst>
        </pc:spChg>
        <pc:spChg chg="add mod">
          <ac:chgData name="Arjan van der Meer" userId="008f28a2-684e-4523-b3ca-dcb37d9c3e5d" providerId="ADAL" clId="{C3C0D317-475B-426A-8FE4-7C706DFBFC41}" dt="2021-10-25T11:51:47.633" v="3315"/>
          <ac:spMkLst>
            <pc:docMk/>
            <pc:sldMk cId="1613319492" sldId="1110"/>
            <ac:spMk id="81" creationId="{DB589DBE-9ADF-4CD2-8EC5-E1FA003D4F49}"/>
          </ac:spMkLst>
        </pc:spChg>
        <pc:spChg chg="add mod">
          <ac:chgData name="Arjan van der Meer" userId="008f28a2-684e-4523-b3ca-dcb37d9c3e5d" providerId="ADAL" clId="{C3C0D317-475B-426A-8FE4-7C706DFBFC41}" dt="2021-10-25T11:59:55.953" v="3340" actId="12789"/>
          <ac:spMkLst>
            <pc:docMk/>
            <pc:sldMk cId="1613319492" sldId="1110"/>
            <ac:spMk id="82" creationId="{BFB45719-8B8D-4514-9242-3ACAB1E7042B}"/>
          </ac:spMkLst>
        </pc:spChg>
        <pc:cxnChg chg="del mod">
          <ac:chgData name="Arjan van der Meer" userId="008f28a2-684e-4523-b3ca-dcb37d9c3e5d" providerId="ADAL" clId="{C3C0D317-475B-426A-8FE4-7C706DFBFC41}" dt="2021-10-25T11:51:46.577" v="3314" actId="478"/>
          <ac:cxnSpMkLst>
            <pc:docMk/>
            <pc:sldMk cId="1613319492" sldId="1110"/>
            <ac:cxnSpMk id="32" creationId="{4058D355-B1C2-4492-BCF0-3609222B0EC2}"/>
          </ac:cxnSpMkLst>
        </pc:cxnChg>
        <pc:cxnChg chg="del mod">
          <ac:chgData name="Arjan van der Meer" userId="008f28a2-684e-4523-b3ca-dcb37d9c3e5d" providerId="ADAL" clId="{C3C0D317-475B-426A-8FE4-7C706DFBFC41}" dt="2021-10-25T11:51:46.577" v="3314" actId="478"/>
          <ac:cxnSpMkLst>
            <pc:docMk/>
            <pc:sldMk cId="1613319492" sldId="1110"/>
            <ac:cxnSpMk id="42" creationId="{85CDD86E-AAF5-44C7-AFE9-0C7E54C84EE7}"/>
          </ac:cxnSpMkLst>
        </pc:cxnChg>
        <pc:cxnChg chg="del mod">
          <ac:chgData name="Arjan van der Meer" userId="008f28a2-684e-4523-b3ca-dcb37d9c3e5d" providerId="ADAL" clId="{C3C0D317-475B-426A-8FE4-7C706DFBFC41}" dt="2021-10-25T11:51:46.577" v="3314" actId="478"/>
          <ac:cxnSpMkLst>
            <pc:docMk/>
            <pc:sldMk cId="1613319492" sldId="1110"/>
            <ac:cxnSpMk id="54" creationId="{4BCF0211-998F-4840-BF81-DAC84EEC675A}"/>
          </ac:cxnSpMkLst>
        </pc:cxnChg>
        <pc:cxnChg chg="del mod">
          <ac:chgData name="Arjan van der Meer" userId="008f28a2-684e-4523-b3ca-dcb37d9c3e5d" providerId="ADAL" clId="{C3C0D317-475B-426A-8FE4-7C706DFBFC41}" dt="2021-10-25T11:51:46.577" v="3314" actId="478"/>
          <ac:cxnSpMkLst>
            <pc:docMk/>
            <pc:sldMk cId="1613319492" sldId="1110"/>
            <ac:cxnSpMk id="62" creationId="{2743069D-41C5-438A-B778-69834FC631B1}"/>
          </ac:cxnSpMkLst>
        </pc:cxnChg>
        <pc:cxnChg chg="add mod">
          <ac:chgData name="Arjan van der Meer" userId="008f28a2-684e-4523-b3ca-dcb37d9c3e5d" providerId="ADAL" clId="{C3C0D317-475B-426A-8FE4-7C706DFBFC41}" dt="2021-10-25T11:59:55.953" v="3340" actId="12789"/>
          <ac:cxnSpMkLst>
            <pc:docMk/>
            <pc:sldMk cId="1613319492" sldId="1110"/>
            <ac:cxnSpMk id="65" creationId="{B63D7E63-3EB0-40CC-9944-2EF78A1CB6E4}"/>
          </ac:cxnSpMkLst>
        </pc:cxnChg>
        <pc:cxnChg chg="del mod">
          <ac:chgData name="Arjan van der Meer" userId="008f28a2-684e-4523-b3ca-dcb37d9c3e5d" providerId="ADAL" clId="{C3C0D317-475B-426A-8FE4-7C706DFBFC41}" dt="2021-10-25T11:51:46.577" v="3314" actId="478"/>
          <ac:cxnSpMkLst>
            <pc:docMk/>
            <pc:sldMk cId="1613319492" sldId="1110"/>
            <ac:cxnSpMk id="69" creationId="{17EBEE15-022B-4D89-9FCB-10DFE680F5DD}"/>
          </ac:cxnSpMkLst>
        </pc:cxnChg>
        <pc:cxnChg chg="add mod">
          <ac:chgData name="Arjan van der Meer" userId="008f28a2-684e-4523-b3ca-dcb37d9c3e5d" providerId="ADAL" clId="{C3C0D317-475B-426A-8FE4-7C706DFBFC41}" dt="2021-10-25T11:59:48.190" v="3339" actId="12789"/>
          <ac:cxnSpMkLst>
            <pc:docMk/>
            <pc:sldMk cId="1613319492" sldId="1110"/>
            <ac:cxnSpMk id="70" creationId="{C746D9B8-30DB-4BB3-ABFE-B796BCBCAA28}"/>
          </ac:cxnSpMkLst>
        </pc:cxnChg>
        <pc:cxnChg chg="add mod">
          <ac:chgData name="Arjan van der Meer" userId="008f28a2-684e-4523-b3ca-dcb37d9c3e5d" providerId="ADAL" clId="{C3C0D317-475B-426A-8FE4-7C706DFBFC41}" dt="2021-10-25T11:59:48.190" v="3339" actId="12789"/>
          <ac:cxnSpMkLst>
            <pc:docMk/>
            <pc:sldMk cId="1613319492" sldId="1110"/>
            <ac:cxnSpMk id="71" creationId="{F663B674-F76D-4A60-ACA7-559B573AAD69}"/>
          </ac:cxnSpMkLst>
        </pc:cxnChg>
        <pc:cxnChg chg="add mod">
          <ac:chgData name="Arjan van der Meer" userId="008f28a2-684e-4523-b3ca-dcb37d9c3e5d" providerId="ADAL" clId="{C3C0D317-475B-426A-8FE4-7C706DFBFC41}" dt="2021-10-25T11:59:48.190" v="3339" actId="12789"/>
          <ac:cxnSpMkLst>
            <pc:docMk/>
            <pc:sldMk cId="1613319492" sldId="1110"/>
            <ac:cxnSpMk id="72" creationId="{0C470884-3816-491A-B497-49238CB28480}"/>
          </ac:cxnSpMkLst>
        </pc:cxnChg>
        <pc:cxnChg chg="add mod">
          <ac:chgData name="Arjan van der Meer" userId="008f28a2-684e-4523-b3ca-dcb37d9c3e5d" providerId="ADAL" clId="{C3C0D317-475B-426A-8FE4-7C706DFBFC41}" dt="2021-10-25T11:59:55.953" v="3340" actId="12789"/>
          <ac:cxnSpMkLst>
            <pc:docMk/>
            <pc:sldMk cId="1613319492" sldId="1110"/>
            <ac:cxnSpMk id="73" creationId="{F6CD754B-9221-49E3-8637-5050192DF5E5}"/>
          </ac:cxnSpMkLst>
        </pc:cxnChg>
        <pc:cxnChg chg="add mod">
          <ac:chgData name="Arjan van der Meer" userId="008f28a2-684e-4523-b3ca-dcb37d9c3e5d" providerId="ADAL" clId="{C3C0D317-475B-426A-8FE4-7C706DFBFC41}" dt="2021-10-25T11:59:55.953" v="3340" actId="12789"/>
          <ac:cxnSpMkLst>
            <pc:docMk/>
            <pc:sldMk cId="1613319492" sldId="1110"/>
            <ac:cxnSpMk id="74" creationId="{46E6D388-DC37-43C7-B7B2-FC23DA9533C7}"/>
          </ac:cxnSpMkLst>
        </pc:cxnChg>
        <pc:cxnChg chg="del mod">
          <ac:chgData name="Arjan van der Meer" userId="008f28a2-684e-4523-b3ca-dcb37d9c3e5d" providerId="ADAL" clId="{C3C0D317-475B-426A-8FE4-7C706DFBFC41}" dt="2021-10-25T11:51:46.577" v="3314" actId="478"/>
          <ac:cxnSpMkLst>
            <pc:docMk/>
            <pc:sldMk cId="1613319492" sldId="1110"/>
            <ac:cxnSpMk id="76" creationId="{6220F7DC-8B76-4F79-9EB9-7868E9B08E05}"/>
          </ac:cxnSpMkLst>
        </pc:cxnChg>
      </pc:sldChg>
      <pc:sldChg chg="modSp new mod ord">
        <pc:chgData name="Arjan van der Meer" userId="008f28a2-684e-4523-b3ca-dcb37d9c3e5d" providerId="ADAL" clId="{C3C0D317-475B-426A-8FE4-7C706DFBFC41}" dt="2021-10-25T12:48:58.420" v="3846" actId="20577"/>
        <pc:sldMkLst>
          <pc:docMk/>
          <pc:sldMk cId="2418337089" sldId="1111"/>
        </pc:sldMkLst>
        <pc:spChg chg="mod">
          <ac:chgData name="Arjan van der Meer" userId="008f28a2-684e-4523-b3ca-dcb37d9c3e5d" providerId="ADAL" clId="{C3C0D317-475B-426A-8FE4-7C706DFBFC41}" dt="2021-10-25T12:48:58.420" v="3846" actId="20577"/>
          <ac:spMkLst>
            <pc:docMk/>
            <pc:sldMk cId="2418337089" sldId="1111"/>
            <ac:spMk id="2" creationId="{27DCF60C-F51B-43A6-855F-AA63DBAB7306}"/>
          </ac:spMkLst>
        </pc:spChg>
        <pc:spChg chg="mod">
          <ac:chgData name="Arjan van der Meer" userId="008f28a2-684e-4523-b3ca-dcb37d9c3e5d" providerId="ADAL" clId="{C3C0D317-475B-426A-8FE4-7C706DFBFC41}" dt="2021-10-25T07:17:34.439" v="1871" actId="20577"/>
          <ac:spMkLst>
            <pc:docMk/>
            <pc:sldMk cId="2418337089" sldId="1111"/>
            <ac:spMk id="6" creationId="{3D39E6BE-2EB1-4A09-BD32-EA0A397FAC0E}"/>
          </ac:spMkLst>
        </pc:spChg>
      </pc:sldChg>
      <pc:sldChg chg="new del">
        <pc:chgData name="Arjan van der Meer" userId="008f28a2-684e-4523-b3ca-dcb37d9c3e5d" providerId="ADAL" clId="{C3C0D317-475B-426A-8FE4-7C706DFBFC41}" dt="2021-10-20T10:17:04.228" v="844" actId="47"/>
        <pc:sldMkLst>
          <pc:docMk/>
          <pc:sldMk cId="3410887041" sldId="1111"/>
        </pc:sldMkLst>
      </pc:sldChg>
      <pc:sldChg chg="add del">
        <pc:chgData name="Arjan van der Meer" userId="008f28a2-684e-4523-b3ca-dcb37d9c3e5d" providerId="ADAL" clId="{C3C0D317-475B-426A-8FE4-7C706DFBFC41}" dt="2021-10-22T14:04:49.411" v="1133" actId="2696"/>
        <pc:sldMkLst>
          <pc:docMk/>
          <pc:sldMk cId="3650698772" sldId="1111"/>
        </pc:sldMkLst>
      </pc:sldChg>
      <pc:sldChg chg="new del">
        <pc:chgData name="Arjan van der Meer" userId="008f28a2-684e-4523-b3ca-dcb37d9c3e5d" providerId="ADAL" clId="{C3C0D317-475B-426A-8FE4-7C706DFBFC41}" dt="2021-10-25T07:52:21.246" v="2572" actId="2696"/>
        <pc:sldMkLst>
          <pc:docMk/>
          <pc:sldMk cId="2457794853" sldId="1112"/>
        </pc:sldMkLst>
      </pc:sldChg>
      <pc:sldChg chg="addSp delSp modSp new mod ord modNotesTx">
        <pc:chgData name="Arjan van der Meer" userId="008f28a2-684e-4523-b3ca-dcb37d9c3e5d" providerId="ADAL" clId="{C3C0D317-475B-426A-8FE4-7C706DFBFC41}" dt="2021-10-25T11:00:57.574" v="2857" actId="114"/>
        <pc:sldMkLst>
          <pc:docMk/>
          <pc:sldMk cId="3959803911" sldId="1113"/>
        </pc:sldMkLst>
        <pc:spChg chg="mod">
          <ac:chgData name="Arjan van der Meer" userId="008f28a2-684e-4523-b3ca-dcb37d9c3e5d" providerId="ADAL" clId="{C3C0D317-475B-426A-8FE4-7C706DFBFC41}" dt="2021-10-25T08:41:50.703" v="2585"/>
          <ac:spMkLst>
            <pc:docMk/>
            <pc:sldMk cId="3959803911" sldId="1113"/>
            <ac:spMk id="2" creationId="{ECA7C3C6-BB37-40AE-B552-32E43D120D8F}"/>
          </ac:spMkLst>
        </pc:spChg>
        <pc:spChg chg="del">
          <ac:chgData name="Arjan van der Meer" userId="008f28a2-684e-4523-b3ca-dcb37d9c3e5d" providerId="ADAL" clId="{C3C0D317-475B-426A-8FE4-7C706DFBFC41}" dt="2021-10-25T10:45:15.010" v="2775" actId="931"/>
          <ac:spMkLst>
            <pc:docMk/>
            <pc:sldMk cId="3959803911" sldId="1113"/>
            <ac:spMk id="6" creationId="{BBC24B4B-9774-4324-B96F-E7C10D7F98D3}"/>
          </ac:spMkLst>
        </pc:spChg>
        <pc:spChg chg="add del mod">
          <ac:chgData name="Arjan van der Meer" userId="008f28a2-684e-4523-b3ca-dcb37d9c3e5d" providerId="ADAL" clId="{C3C0D317-475B-426A-8FE4-7C706DFBFC41}" dt="2021-10-25T10:51:39.742" v="2777" actId="931"/>
          <ac:spMkLst>
            <pc:docMk/>
            <pc:sldMk cId="3959803911" sldId="1113"/>
            <ac:spMk id="10" creationId="{34B23B92-CDB8-40E0-AEA5-CE5D22194EA9}"/>
          </ac:spMkLst>
        </pc:spChg>
        <pc:picChg chg="add del mod">
          <ac:chgData name="Arjan van der Meer" userId="008f28a2-684e-4523-b3ca-dcb37d9c3e5d" providerId="ADAL" clId="{C3C0D317-475B-426A-8FE4-7C706DFBFC41}" dt="2021-10-25T10:45:40.749" v="2776" actId="478"/>
          <ac:picMkLst>
            <pc:docMk/>
            <pc:sldMk cId="3959803911" sldId="1113"/>
            <ac:picMk id="8" creationId="{DF04A93F-534B-4C4F-BCC6-11E9180A420F}"/>
          </ac:picMkLst>
        </pc:picChg>
        <pc:picChg chg="add mod">
          <ac:chgData name="Arjan van der Meer" userId="008f28a2-684e-4523-b3ca-dcb37d9c3e5d" providerId="ADAL" clId="{C3C0D317-475B-426A-8FE4-7C706DFBFC41}" dt="2021-10-25T10:51:43.999" v="2778" actId="14100"/>
          <ac:picMkLst>
            <pc:docMk/>
            <pc:sldMk cId="3959803911" sldId="1113"/>
            <ac:picMk id="12" creationId="{8D67FA59-26D7-48E6-987E-D832F6960A59}"/>
          </ac:picMkLst>
        </pc:picChg>
      </pc:sldChg>
      <pc:sldChg chg="addSp delSp modSp new del">
        <pc:chgData name="Arjan van der Meer" userId="008f28a2-684e-4523-b3ca-dcb37d9c3e5d" providerId="ADAL" clId="{C3C0D317-475B-426A-8FE4-7C706DFBFC41}" dt="2021-10-25T11:02:02.568" v="2861" actId="47"/>
        <pc:sldMkLst>
          <pc:docMk/>
          <pc:sldMk cId="2151063546" sldId="1114"/>
        </pc:sldMkLst>
        <pc:spChg chg="mod">
          <ac:chgData name="Arjan van der Meer" userId="008f28a2-684e-4523-b3ca-dcb37d9c3e5d" providerId="ADAL" clId="{C3C0D317-475B-426A-8FE4-7C706DFBFC41}" dt="2021-10-25T11:01:38.549" v="2860"/>
          <ac:spMkLst>
            <pc:docMk/>
            <pc:sldMk cId="2151063546" sldId="1114"/>
            <ac:spMk id="2" creationId="{3189D00D-6A62-4B80-B3EC-0D9ED5128EE5}"/>
          </ac:spMkLst>
        </pc:spChg>
        <pc:spChg chg="mod">
          <ac:chgData name="Arjan van der Meer" userId="008f28a2-684e-4523-b3ca-dcb37d9c3e5d" providerId="ADAL" clId="{C3C0D317-475B-426A-8FE4-7C706DFBFC41}" dt="2021-10-25T11:01:38.549" v="2860"/>
          <ac:spMkLst>
            <pc:docMk/>
            <pc:sldMk cId="2151063546" sldId="1114"/>
            <ac:spMk id="3" creationId="{4EDB2C96-F0DA-4E49-B40E-ECA982021783}"/>
          </ac:spMkLst>
        </pc:spChg>
        <pc:spChg chg="mod">
          <ac:chgData name="Arjan van der Meer" userId="008f28a2-684e-4523-b3ca-dcb37d9c3e5d" providerId="ADAL" clId="{C3C0D317-475B-426A-8FE4-7C706DFBFC41}" dt="2021-10-25T11:01:38.549" v="2860"/>
          <ac:spMkLst>
            <pc:docMk/>
            <pc:sldMk cId="2151063546" sldId="1114"/>
            <ac:spMk id="4" creationId="{1A81CA58-A8BD-4EDB-8FFD-EAB705632144}"/>
          </ac:spMkLst>
        </pc:spChg>
        <pc:spChg chg="del">
          <ac:chgData name="Arjan van der Meer" userId="008f28a2-684e-4523-b3ca-dcb37d9c3e5d" providerId="ADAL" clId="{C3C0D317-475B-426A-8FE4-7C706DFBFC41}" dt="2021-10-25T11:01:38.549" v="2860"/>
          <ac:spMkLst>
            <pc:docMk/>
            <pc:sldMk cId="2151063546" sldId="1114"/>
            <ac:spMk id="5" creationId="{7EF65343-A828-453F-8118-E7FC37AA7BAD}"/>
          </ac:spMkLst>
        </pc:spChg>
        <pc:spChg chg="del">
          <ac:chgData name="Arjan van der Meer" userId="008f28a2-684e-4523-b3ca-dcb37d9c3e5d" providerId="ADAL" clId="{C3C0D317-475B-426A-8FE4-7C706DFBFC41}" dt="2021-10-25T11:01:38.549" v="2860"/>
          <ac:spMkLst>
            <pc:docMk/>
            <pc:sldMk cId="2151063546" sldId="1114"/>
            <ac:spMk id="6" creationId="{6A2E56A9-57EB-42BE-AE27-FAE22999A670}"/>
          </ac:spMkLst>
        </pc:spChg>
        <pc:spChg chg="add mod">
          <ac:chgData name="Arjan van der Meer" userId="008f28a2-684e-4523-b3ca-dcb37d9c3e5d" providerId="ADAL" clId="{C3C0D317-475B-426A-8FE4-7C706DFBFC41}" dt="2021-10-25T11:01:38.549" v="2860"/>
          <ac:spMkLst>
            <pc:docMk/>
            <pc:sldMk cId="2151063546" sldId="1114"/>
            <ac:spMk id="7" creationId="{0AB710B3-E8AC-4539-895F-9D2E4685525B}"/>
          </ac:spMkLst>
        </pc:spChg>
        <pc:spChg chg="add mod">
          <ac:chgData name="Arjan van der Meer" userId="008f28a2-684e-4523-b3ca-dcb37d9c3e5d" providerId="ADAL" clId="{C3C0D317-475B-426A-8FE4-7C706DFBFC41}" dt="2021-10-25T11:01:38.549" v="2860"/>
          <ac:spMkLst>
            <pc:docMk/>
            <pc:sldMk cId="2151063546" sldId="1114"/>
            <ac:spMk id="8" creationId="{05D61B6B-DCDC-43AB-9E27-589F617BB121}"/>
          </ac:spMkLst>
        </pc:spChg>
      </pc:sldChg>
      <pc:sldChg chg="addSp delSp modSp new del mod">
        <pc:chgData name="Arjan van der Meer" userId="008f28a2-684e-4523-b3ca-dcb37d9c3e5d" providerId="ADAL" clId="{C3C0D317-475B-426A-8FE4-7C706DFBFC41}" dt="2021-10-25T12:45:03.268" v="3773" actId="2696"/>
        <pc:sldMkLst>
          <pc:docMk/>
          <pc:sldMk cId="804580319" sldId="1115"/>
        </pc:sldMkLst>
        <pc:spChg chg="del">
          <ac:chgData name="Arjan van der Meer" userId="008f28a2-684e-4523-b3ca-dcb37d9c3e5d" providerId="ADAL" clId="{C3C0D317-475B-426A-8FE4-7C706DFBFC41}" dt="2021-10-25T11:10:21.814" v="2864"/>
          <ac:spMkLst>
            <pc:docMk/>
            <pc:sldMk cId="804580319" sldId="1115"/>
            <ac:spMk id="2" creationId="{5E28A305-1556-47A9-BB57-FA35142F1FE6}"/>
          </ac:spMkLst>
        </pc:spChg>
        <pc:spChg chg="mod">
          <ac:chgData name="Arjan van der Meer" userId="008f28a2-684e-4523-b3ca-dcb37d9c3e5d" providerId="ADAL" clId="{C3C0D317-475B-426A-8FE4-7C706DFBFC41}" dt="2021-10-25T11:10:21.814" v="2864"/>
          <ac:spMkLst>
            <pc:docMk/>
            <pc:sldMk cId="804580319" sldId="1115"/>
            <ac:spMk id="3" creationId="{9E2207EE-7A80-4C5A-8A92-29857883F279}"/>
          </ac:spMkLst>
        </pc:spChg>
        <pc:spChg chg="mod">
          <ac:chgData name="Arjan van der Meer" userId="008f28a2-684e-4523-b3ca-dcb37d9c3e5d" providerId="ADAL" clId="{C3C0D317-475B-426A-8FE4-7C706DFBFC41}" dt="2021-10-25T11:10:21.814" v="2864"/>
          <ac:spMkLst>
            <pc:docMk/>
            <pc:sldMk cId="804580319" sldId="1115"/>
            <ac:spMk id="4" creationId="{B43DA3D0-AA60-4526-AACB-95EF2948FC27}"/>
          </ac:spMkLst>
        </pc:spChg>
        <pc:spChg chg="mod">
          <ac:chgData name="Arjan van der Meer" userId="008f28a2-684e-4523-b3ca-dcb37d9c3e5d" providerId="ADAL" clId="{C3C0D317-475B-426A-8FE4-7C706DFBFC41}" dt="2021-10-25T11:10:21.814" v="2864"/>
          <ac:spMkLst>
            <pc:docMk/>
            <pc:sldMk cId="804580319" sldId="1115"/>
            <ac:spMk id="5" creationId="{A3C1679B-EF1C-47D9-85D5-A51D23CA4A1D}"/>
          </ac:spMkLst>
        </pc:spChg>
        <pc:spChg chg="del">
          <ac:chgData name="Arjan van der Meer" userId="008f28a2-684e-4523-b3ca-dcb37d9c3e5d" providerId="ADAL" clId="{C3C0D317-475B-426A-8FE4-7C706DFBFC41}" dt="2021-10-25T11:10:21.814" v="2864"/>
          <ac:spMkLst>
            <pc:docMk/>
            <pc:sldMk cId="804580319" sldId="1115"/>
            <ac:spMk id="6" creationId="{66F514AE-4B44-4F54-9B71-E2DE10FF3E7C}"/>
          </ac:spMkLst>
        </pc:spChg>
        <pc:spChg chg="add mod">
          <ac:chgData name="Arjan van der Meer" userId="008f28a2-684e-4523-b3ca-dcb37d9c3e5d" providerId="ADAL" clId="{C3C0D317-475B-426A-8FE4-7C706DFBFC41}" dt="2021-10-25T11:33:18.971" v="3141" actId="1076"/>
          <ac:spMkLst>
            <pc:docMk/>
            <pc:sldMk cId="804580319" sldId="1115"/>
            <ac:spMk id="7" creationId="{6D23690B-CCF6-4ED5-8578-F974EE0ED9B0}"/>
          </ac:spMkLst>
        </pc:spChg>
        <pc:spChg chg="add mod">
          <ac:chgData name="Arjan van der Meer" userId="008f28a2-684e-4523-b3ca-dcb37d9c3e5d" providerId="ADAL" clId="{C3C0D317-475B-426A-8FE4-7C706DFBFC41}" dt="2021-10-25T11:33:23.338" v="3144" actId="1076"/>
          <ac:spMkLst>
            <pc:docMk/>
            <pc:sldMk cId="804580319" sldId="1115"/>
            <ac:spMk id="8" creationId="{749D42A6-4748-4D26-AD1F-1410F8966EFB}"/>
          </ac:spMkLst>
        </pc:spChg>
        <pc:spChg chg="add mod">
          <ac:chgData name="Arjan van der Meer" userId="008f28a2-684e-4523-b3ca-dcb37d9c3e5d" providerId="ADAL" clId="{C3C0D317-475B-426A-8FE4-7C706DFBFC41}" dt="2021-10-25T11:33:24.663" v="3145" actId="1076"/>
          <ac:spMkLst>
            <pc:docMk/>
            <pc:sldMk cId="804580319" sldId="1115"/>
            <ac:spMk id="9" creationId="{161A1D8D-AFA3-4FA3-A09B-4DA14D898FEE}"/>
          </ac:spMkLst>
        </pc:spChg>
        <pc:spChg chg="add mod">
          <ac:chgData name="Arjan van der Meer" userId="008f28a2-684e-4523-b3ca-dcb37d9c3e5d" providerId="ADAL" clId="{C3C0D317-475B-426A-8FE4-7C706DFBFC41}" dt="2021-10-25T11:33:28.224" v="3146" actId="1076"/>
          <ac:spMkLst>
            <pc:docMk/>
            <pc:sldMk cId="804580319" sldId="1115"/>
            <ac:spMk id="10" creationId="{FC359D38-C6BF-43E2-B893-823B95413044}"/>
          </ac:spMkLst>
        </pc:spChg>
        <pc:spChg chg="add del mod">
          <ac:chgData name="Arjan van der Meer" userId="008f28a2-684e-4523-b3ca-dcb37d9c3e5d" providerId="ADAL" clId="{C3C0D317-475B-426A-8FE4-7C706DFBFC41}" dt="2021-10-25T11:33:44.611" v="3152" actId="1076"/>
          <ac:spMkLst>
            <pc:docMk/>
            <pc:sldMk cId="804580319" sldId="1115"/>
            <ac:spMk id="11" creationId="{7B338E93-2A0B-4DBB-BFE2-50FE487719D8}"/>
          </ac:spMkLst>
        </pc:spChg>
        <pc:spChg chg="add del mod">
          <ac:chgData name="Arjan van der Meer" userId="008f28a2-684e-4523-b3ca-dcb37d9c3e5d" providerId="ADAL" clId="{C3C0D317-475B-426A-8FE4-7C706DFBFC41}" dt="2021-10-25T11:32:22.539" v="3123" actId="1076"/>
          <ac:spMkLst>
            <pc:docMk/>
            <pc:sldMk cId="804580319" sldId="1115"/>
            <ac:spMk id="12" creationId="{B12AD1B6-D28E-4E1D-8FA2-06132B4C0FDF}"/>
          </ac:spMkLst>
        </pc:spChg>
        <pc:spChg chg="add del mod">
          <ac:chgData name="Arjan van der Meer" userId="008f28a2-684e-4523-b3ca-dcb37d9c3e5d" providerId="ADAL" clId="{C3C0D317-475B-426A-8FE4-7C706DFBFC41}" dt="2021-10-25T11:33:30.957" v="3148" actId="1076"/>
          <ac:spMkLst>
            <pc:docMk/>
            <pc:sldMk cId="804580319" sldId="1115"/>
            <ac:spMk id="13" creationId="{39E7063F-0E97-4739-B371-10313C76EB09}"/>
          </ac:spMkLst>
        </pc:spChg>
        <pc:spChg chg="add mod">
          <ac:chgData name="Arjan van der Meer" userId="008f28a2-684e-4523-b3ca-dcb37d9c3e5d" providerId="ADAL" clId="{C3C0D317-475B-426A-8FE4-7C706DFBFC41}" dt="2021-10-25T11:32:16.557" v="3120" actId="1076"/>
          <ac:spMkLst>
            <pc:docMk/>
            <pc:sldMk cId="804580319" sldId="1115"/>
            <ac:spMk id="14" creationId="{05C6BFB8-ABD4-4F0B-AF70-7D4314083796}"/>
          </ac:spMkLst>
        </pc:spChg>
        <pc:spChg chg="add del mod">
          <ac:chgData name="Arjan van der Meer" userId="008f28a2-684e-4523-b3ca-dcb37d9c3e5d" providerId="ADAL" clId="{C3C0D317-475B-426A-8FE4-7C706DFBFC41}" dt="2021-10-25T11:33:00.476" v="3132" actId="1076"/>
          <ac:spMkLst>
            <pc:docMk/>
            <pc:sldMk cId="804580319" sldId="1115"/>
            <ac:spMk id="15" creationId="{45ACCE62-D817-429E-99C0-29E90C0004AE}"/>
          </ac:spMkLst>
        </pc:spChg>
        <pc:spChg chg="add del mod">
          <ac:chgData name="Arjan van der Meer" userId="008f28a2-684e-4523-b3ca-dcb37d9c3e5d" providerId="ADAL" clId="{C3C0D317-475B-426A-8FE4-7C706DFBFC41}" dt="2021-10-25T11:37:35.940" v="3179" actId="1076"/>
          <ac:spMkLst>
            <pc:docMk/>
            <pc:sldMk cId="804580319" sldId="1115"/>
            <ac:spMk id="16" creationId="{5DF7E345-1717-457F-B361-09FC6C933541}"/>
          </ac:spMkLst>
        </pc:spChg>
        <pc:spChg chg="add mod">
          <ac:chgData name="Arjan van der Meer" userId="008f28a2-684e-4523-b3ca-dcb37d9c3e5d" providerId="ADAL" clId="{C3C0D317-475B-426A-8FE4-7C706DFBFC41}" dt="2021-10-25T11:43:18.783" v="3209" actId="1076"/>
          <ac:spMkLst>
            <pc:docMk/>
            <pc:sldMk cId="804580319" sldId="1115"/>
            <ac:spMk id="17" creationId="{FA5FBA44-1A18-4177-8379-AA73E640DFF9}"/>
          </ac:spMkLst>
        </pc:spChg>
        <pc:spChg chg="add mod">
          <ac:chgData name="Arjan van der Meer" userId="008f28a2-684e-4523-b3ca-dcb37d9c3e5d" providerId="ADAL" clId="{C3C0D317-475B-426A-8FE4-7C706DFBFC41}" dt="2021-10-25T11:32:20.753" v="3122" actId="1076"/>
          <ac:spMkLst>
            <pc:docMk/>
            <pc:sldMk cId="804580319" sldId="1115"/>
            <ac:spMk id="18" creationId="{4090F086-B1AA-476C-BF44-D41B324E5356}"/>
          </ac:spMkLst>
        </pc:spChg>
        <pc:spChg chg="add mod">
          <ac:chgData name="Arjan van der Meer" userId="008f28a2-684e-4523-b3ca-dcb37d9c3e5d" providerId="ADAL" clId="{C3C0D317-475B-426A-8FE4-7C706DFBFC41}" dt="2021-10-25T11:32:11.947" v="3117" actId="1076"/>
          <ac:spMkLst>
            <pc:docMk/>
            <pc:sldMk cId="804580319" sldId="1115"/>
            <ac:spMk id="19" creationId="{B433080E-286F-4612-A4B6-0977D1871A2C}"/>
          </ac:spMkLst>
        </pc:spChg>
        <pc:spChg chg="add mod">
          <ac:chgData name="Arjan van der Meer" userId="008f28a2-684e-4523-b3ca-dcb37d9c3e5d" providerId="ADAL" clId="{C3C0D317-475B-426A-8FE4-7C706DFBFC41}" dt="2021-10-25T11:32:27.010" v="3125" actId="1076"/>
          <ac:spMkLst>
            <pc:docMk/>
            <pc:sldMk cId="804580319" sldId="1115"/>
            <ac:spMk id="20" creationId="{1D6BDAE1-94AD-41F4-B142-42DA2E454205}"/>
          </ac:spMkLst>
        </pc:spChg>
        <pc:spChg chg="add mod">
          <ac:chgData name="Arjan van der Meer" userId="008f28a2-684e-4523-b3ca-dcb37d9c3e5d" providerId="ADAL" clId="{C3C0D317-475B-426A-8FE4-7C706DFBFC41}" dt="2021-10-25T11:32:24.689" v="3124" actId="1076"/>
          <ac:spMkLst>
            <pc:docMk/>
            <pc:sldMk cId="804580319" sldId="1115"/>
            <ac:spMk id="21" creationId="{93A8C00C-829C-45D0-B729-0DC7A6CFF833}"/>
          </ac:spMkLst>
        </pc:spChg>
        <pc:spChg chg="add mod">
          <ac:chgData name="Arjan van der Meer" userId="008f28a2-684e-4523-b3ca-dcb37d9c3e5d" providerId="ADAL" clId="{C3C0D317-475B-426A-8FE4-7C706DFBFC41}" dt="2021-10-25T11:32:18.843" v="3121" actId="1076"/>
          <ac:spMkLst>
            <pc:docMk/>
            <pc:sldMk cId="804580319" sldId="1115"/>
            <ac:spMk id="22" creationId="{CD404A15-56AF-47D3-98C2-22FAD78CA59C}"/>
          </ac:spMkLst>
        </pc:spChg>
        <pc:spChg chg="add mod">
          <ac:chgData name="Arjan van der Meer" userId="008f28a2-684e-4523-b3ca-dcb37d9c3e5d" providerId="ADAL" clId="{C3C0D317-475B-426A-8FE4-7C706DFBFC41}" dt="2021-10-25T11:33:46.493" v="3153" actId="1076"/>
          <ac:spMkLst>
            <pc:docMk/>
            <pc:sldMk cId="804580319" sldId="1115"/>
            <ac:spMk id="23" creationId="{F8C24E07-2FC9-4107-B097-7DCCE394171E}"/>
          </ac:spMkLst>
        </pc:spChg>
        <pc:spChg chg="add del mod">
          <ac:chgData name="Arjan van der Meer" userId="008f28a2-684e-4523-b3ca-dcb37d9c3e5d" providerId="ADAL" clId="{C3C0D317-475B-426A-8FE4-7C706DFBFC41}" dt="2021-10-25T11:31:45.597" v="3108" actId="478"/>
          <ac:spMkLst>
            <pc:docMk/>
            <pc:sldMk cId="804580319" sldId="1115"/>
            <ac:spMk id="24" creationId="{A8D2376B-F6C5-4190-B35A-93B0949FAF13}"/>
          </ac:spMkLst>
        </pc:spChg>
        <pc:spChg chg="add mod">
          <ac:chgData name="Arjan van der Meer" userId="008f28a2-684e-4523-b3ca-dcb37d9c3e5d" providerId="ADAL" clId="{C3C0D317-475B-426A-8FE4-7C706DFBFC41}" dt="2021-10-25T11:31:43.012" v="3107" actId="1038"/>
          <ac:spMkLst>
            <pc:docMk/>
            <pc:sldMk cId="804580319" sldId="1115"/>
            <ac:spMk id="25" creationId="{9EB00A02-7F87-4562-8A39-D3D5E883FD3E}"/>
          </ac:spMkLst>
        </pc:spChg>
        <pc:spChg chg="add mod">
          <ac:chgData name="Arjan van der Meer" userId="008f28a2-684e-4523-b3ca-dcb37d9c3e5d" providerId="ADAL" clId="{C3C0D317-475B-426A-8FE4-7C706DFBFC41}" dt="2021-10-25T11:32:37.567" v="3130" actId="1076"/>
          <ac:spMkLst>
            <pc:docMk/>
            <pc:sldMk cId="804580319" sldId="1115"/>
            <ac:spMk id="26" creationId="{7E19ED19-4CF6-43A8-AFB5-9F637C8182F2}"/>
          </ac:spMkLst>
        </pc:spChg>
        <pc:spChg chg="add mod">
          <ac:chgData name="Arjan van der Meer" userId="008f28a2-684e-4523-b3ca-dcb37d9c3e5d" providerId="ADAL" clId="{C3C0D317-475B-426A-8FE4-7C706DFBFC41}" dt="2021-10-25T11:33:10.958" v="3138" actId="1076"/>
          <ac:spMkLst>
            <pc:docMk/>
            <pc:sldMk cId="804580319" sldId="1115"/>
            <ac:spMk id="27" creationId="{D4185C62-5A69-4D03-AF3C-7A8EB28AAFF3}"/>
          </ac:spMkLst>
        </pc:spChg>
        <pc:spChg chg="add mod">
          <ac:chgData name="Arjan van der Meer" userId="008f28a2-684e-4523-b3ca-dcb37d9c3e5d" providerId="ADAL" clId="{C3C0D317-475B-426A-8FE4-7C706DFBFC41}" dt="2021-10-25T11:33:12.824" v="3139" actId="1076"/>
          <ac:spMkLst>
            <pc:docMk/>
            <pc:sldMk cId="804580319" sldId="1115"/>
            <ac:spMk id="28" creationId="{59557FBF-5E33-48FA-A4D9-1EBE4FD23AAF}"/>
          </ac:spMkLst>
        </pc:spChg>
        <pc:spChg chg="add mod">
          <ac:chgData name="Arjan van der Meer" userId="008f28a2-684e-4523-b3ca-dcb37d9c3e5d" providerId="ADAL" clId="{C3C0D317-475B-426A-8FE4-7C706DFBFC41}" dt="2021-10-25T11:32:33.149" v="3128" actId="1076"/>
          <ac:spMkLst>
            <pc:docMk/>
            <pc:sldMk cId="804580319" sldId="1115"/>
            <ac:spMk id="29" creationId="{6970AF9C-6F58-47A9-B653-848D35D1835F}"/>
          </ac:spMkLst>
        </pc:spChg>
        <pc:spChg chg="add mod">
          <ac:chgData name="Arjan van der Meer" userId="008f28a2-684e-4523-b3ca-dcb37d9c3e5d" providerId="ADAL" clId="{C3C0D317-475B-426A-8FE4-7C706DFBFC41}" dt="2021-10-25T11:32:31.323" v="3127" actId="1076"/>
          <ac:spMkLst>
            <pc:docMk/>
            <pc:sldMk cId="804580319" sldId="1115"/>
            <ac:spMk id="30" creationId="{0E98BD62-FF76-4837-9FEC-F7C1E6406C80}"/>
          </ac:spMkLst>
        </pc:spChg>
        <pc:spChg chg="add mod">
          <ac:chgData name="Arjan van der Meer" userId="008f28a2-684e-4523-b3ca-dcb37d9c3e5d" providerId="ADAL" clId="{C3C0D317-475B-426A-8FE4-7C706DFBFC41}" dt="2021-10-25T11:33:09.826" v="3137" actId="1076"/>
          <ac:spMkLst>
            <pc:docMk/>
            <pc:sldMk cId="804580319" sldId="1115"/>
            <ac:spMk id="31" creationId="{AE34956D-9252-4779-B7B9-B466E6D09148}"/>
          </ac:spMkLst>
        </pc:spChg>
        <pc:spChg chg="add mod">
          <ac:chgData name="Arjan van der Meer" userId="008f28a2-684e-4523-b3ca-dcb37d9c3e5d" providerId="ADAL" clId="{C3C0D317-475B-426A-8FE4-7C706DFBFC41}" dt="2021-10-25T11:33:08.614" v="3136" actId="1076"/>
          <ac:spMkLst>
            <pc:docMk/>
            <pc:sldMk cId="804580319" sldId="1115"/>
            <ac:spMk id="32" creationId="{AAB14F3A-04C0-485C-9F63-18BA5F6F2995}"/>
          </ac:spMkLst>
        </pc:spChg>
        <pc:spChg chg="add mod">
          <ac:chgData name="Arjan van der Meer" userId="008f28a2-684e-4523-b3ca-dcb37d9c3e5d" providerId="ADAL" clId="{C3C0D317-475B-426A-8FE4-7C706DFBFC41}" dt="2021-10-25T11:34:38.227" v="3171" actId="1076"/>
          <ac:spMkLst>
            <pc:docMk/>
            <pc:sldMk cId="804580319" sldId="1115"/>
            <ac:spMk id="33" creationId="{7A5C231A-004B-4595-9502-D55C643AE1B7}"/>
          </ac:spMkLst>
        </pc:spChg>
        <pc:spChg chg="add mod">
          <ac:chgData name="Arjan van der Meer" userId="008f28a2-684e-4523-b3ca-dcb37d9c3e5d" providerId="ADAL" clId="{C3C0D317-475B-426A-8FE4-7C706DFBFC41}" dt="2021-10-25T11:33:38.917" v="3150" actId="1076"/>
          <ac:spMkLst>
            <pc:docMk/>
            <pc:sldMk cId="804580319" sldId="1115"/>
            <ac:spMk id="34" creationId="{B56F3528-7EFC-4EA0-A697-611D5AF202AA}"/>
          </ac:spMkLst>
        </pc:spChg>
        <pc:spChg chg="add mod">
          <ac:chgData name="Arjan van der Meer" userId="008f28a2-684e-4523-b3ca-dcb37d9c3e5d" providerId="ADAL" clId="{C3C0D317-475B-426A-8FE4-7C706DFBFC41}" dt="2021-10-25T11:34:01.768" v="3158" actId="20577"/>
          <ac:spMkLst>
            <pc:docMk/>
            <pc:sldMk cId="804580319" sldId="1115"/>
            <ac:spMk id="35" creationId="{2381AED4-755B-4E4F-9396-115A6F1163E2}"/>
          </ac:spMkLst>
        </pc:spChg>
        <pc:spChg chg="add mod">
          <ac:chgData name="Arjan van der Meer" userId="008f28a2-684e-4523-b3ca-dcb37d9c3e5d" providerId="ADAL" clId="{C3C0D317-475B-426A-8FE4-7C706DFBFC41}" dt="2021-10-25T11:43:22.640" v="3210" actId="1076"/>
          <ac:spMkLst>
            <pc:docMk/>
            <pc:sldMk cId="804580319" sldId="1115"/>
            <ac:spMk id="36" creationId="{AD0E07BD-F304-4E3E-9984-1716DB293706}"/>
          </ac:spMkLst>
        </pc:spChg>
        <pc:spChg chg="add mod">
          <ac:chgData name="Arjan van der Meer" userId="008f28a2-684e-4523-b3ca-dcb37d9c3e5d" providerId="ADAL" clId="{C3C0D317-475B-426A-8FE4-7C706DFBFC41}" dt="2021-10-25T11:34:34.603" v="3170" actId="20577"/>
          <ac:spMkLst>
            <pc:docMk/>
            <pc:sldMk cId="804580319" sldId="1115"/>
            <ac:spMk id="37" creationId="{FE0198BE-DE02-4362-8929-52485F14F190}"/>
          </ac:spMkLst>
        </pc:spChg>
        <pc:spChg chg="add mod">
          <ac:chgData name="Arjan van der Meer" userId="008f28a2-684e-4523-b3ca-dcb37d9c3e5d" providerId="ADAL" clId="{C3C0D317-475B-426A-8FE4-7C706DFBFC41}" dt="2021-10-25T11:34:51.054" v="3177" actId="20577"/>
          <ac:spMkLst>
            <pc:docMk/>
            <pc:sldMk cId="804580319" sldId="1115"/>
            <ac:spMk id="38" creationId="{80A7CD93-4735-4DBD-A27C-2D9151C63F82}"/>
          </ac:spMkLst>
        </pc:spChg>
        <pc:spChg chg="add mod">
          <ac:chgData name="Arjan van der Meer" userId="008f28a2-684e-4523-b3ca-dcb37d9c3e5d" providerId="ADAL" clId="{C3C0D317-475B-426A-8FE4-7C706DFBFC41}" dt="2021-10-25T11:38:28.821" v="3199" actId="1076"/>
          <ac:spMkLst>
            <pc:docMk/>
            <pc:sldMk cId="804580319" sldId="1115"/>
            <ac:spMk id="39" creationId="{60B6EA00-27AF-45D7-91B8-86CCDB2D6058}"/>
          </ac:spMkLst>
        </pc:spChg>
        <pc:spChg chg="add mod">
          <ac:chgData name="Arjan van der Meer" userId="008f28a2-684e-4523-b3ca-dcb37d9c3e5d" providerId="ADAL" clId="{C3C0D317-475B-426A-8FE4-7C706DFBFC41}" dt="2021-10-25T11:38:32.481" v="3200" actId="1076"/>
          <ac:spMkLst>
            <pc:docMk/>
            <pc:sldMk cId="804580319" sldId="1115"/>
            <ac:spMk id="40" creationId="{C09BEA99-9DDB-49EB-80AD-A862787C9705}"/>
          </ac:spMkLst>
        </pc:spChg>
      </pc:sldChg>
      <pc:sldChg chg="addSp modSp mod">
        <pc:chgData name="Arjan van der Meer" userId="008f28a2-684e-4523-b3ca-dcb37d9c3e5d" providerId="ADAL" clId="{C3C0D317-475B-426A-8FE4-7C706DFBFC41}" dt="2021-10-25T12:48:26.671" v="3844" actId="1076"/>
        <pc:sldMkLst>
          <pc:docMk/>
          <pc:sldMk cId="4228508098" sldId="1115"/>
        </pc:sldMkLst>
        <pc:spChg chg="add mod">
          <ac:chgData name="Arjan van der Meer" userId="008f28a2-684e-4523-b3ca-dcb37d9c3e5d" providerId="ADAL" clId="{C3C0D317-475B-426A-8FE4-7C706DFBFC41}" dt="2021-10-25T12:47:54.793" v="3832"/>
          <ac:spMkLst>
            <pc:docMk/>
            <pc:sldMk cId="4228508098" sldId="1115"/>
            <ac:spMk id="2" creationId="{A077C089-3A7E-44C2-88D4-DE7D0F1EA5A2}"/>
          </ac:spMkLst>
        </pc:spChg>
        <pc:spChg chg="mod">
          <ac:chgData name="Arjan van der Meer" userId="008f28a2-684e-4523-b3ca-dcb37d9c3e5d" providerId="ADAL" clId="{C3C0D317-475B-426A-8FE4-7C706DFBFC41}" dt="2021-10-25T12:45:33.112" v="3776"/>
          <ac:spMkLst>
            <pc:docMk/>
            <pc:sldMk cId="4228508098" sldId="1115"/>
            <ac:spMk id="3" creationId="{9E2207EE-7A80-4C5A-8A92-29857883F279}"/>
          </ac:spMkLst>
        </pc:spChg>
        <pc:spChg chg="mod">
          <ac:chgData name="Arjan van der Meer" userId="008f28a2-684e-4523-b3ca-dcb37d9c3e5d" providerId="ADAL" clId="{C3C0D317-475B-426A-8FE4-7C706DFBFC41}" dt="2021-10-25T12:45:33.112" v="3776"/>
          <ac:spMkLst>
            <pc:docMk/>
            <pc:sldMk cId="4228508098" sldId="1115"/>
            <ac:spMk id="4" creationId="{B43DA3D0-AA60-4526-AACB-95EF2948FC27}"/>
          </ac:spMkLst>
        </pc:spChg>
        <pc:spChg chg="mod">
          <ac:chgData name="Arjan van der Meer" userId="008f28a2-684e-4523-b3ca-dcb37d9c3e5d" providerId="ADAL" clId="{C3C0D317-475B-426A-8FE4-7C706DFBFC41}" dt="2021-10-25T12:45:33.112" v="3776"/>
          <ac:spMkLst>
            <pc:docMk/>
            <pc:sldMk cId="4228508098" sldId="1115"/>
            <ac:spMk id="5" creationId="{A3C1679B-EF1C-47D9-85D5-A51D23CA4A1D}"/>
          </ac:spMkLst>
        </pc:spChg>
        <pc:spChg chg="mod">
          <ac:chgData name="Arjan van der Meer" userId="008f28a2-684e-4523-b3ca-dcb37d9c3e5d" providerId="ADAL" clId="{C3C0D317-475B-426A-8FE4-7C706DFBFC41}" dt="2021-10-25T12:48:26.671" v="3844" actId="1076"/>
          <ac:spMkLst>
            <pc:docMk/>
            <pc:sldMk cId="4228508098" sldId="1115"/>
            <ac:spMk id="7" creationId="{6D23690B-CCF6-4ED5-8578-F974EE0ED9B0}"/>
          </ac:spMkLst>
        </pc:spChg>
        <pc:spChg chg="mod">
          <ac:chgData name="Arjan van der Meer" userId="008f28a2-684e-4523-b3ca-dcb37d9c3e5d" providerId="ADAL" clId="{C3C0D317-475B-426A-8FE4-7C706DFBFC41}" dt="2021-10-25T12:48:18.338" v="3838" actId="1076"/>
          <ac:spMkLst>
            <pc:docMk/>
            <pc:sldMk cId="4228508098" sldId="1115"/>
            <ac:spMk id="8" creationId="{749D42A6-4748-4D26-AD1F-1410F8966EFB}"/>
          </ac:spMkLst>
        </pc:spChg>
        <pc:spChg chg="mod">
          <ac:chgData name="Arjan van der Meer" userId="008f28a2-684e-4523-b3ca-dcb37d9c3e5d" providerId="ADAL" clId="{C3C0D317-475B-426A-8FE4-7C706DFBFC41}" dt="2021-10-25T12:48:19.486" v="3839" actId="1076"/>
          <ac:spMkLst>
            <pc:docMk/>
            <pc:sldMk cId="4228508098" sldId="1115"/>
            <ac:spMk id="9" creationId="{161A1D8D-AFA3-4FA3-A09B-4DA14D898FEE}"/>
          </ac:spMkLst>
        </pc:spChg>
        <pc:spChg chg="mod">
          <ac:chgData name="Arjan van der Meer" userId="008f28a2-684e-4523-b3ca-dcb37d9c3e5d" providerId="ADAL" clId="{C3C0D317-475B-426A-8FE4-7C706DFBFC41}" dt="2021-10-25T12:48:22.399" v="3841" actId="1076"/>
          <ac:spMkLst>
            <pc:docMk/>
            <pc:sldMk cId="4228508098" sldId="1115"/>
            <ac:spMk id="10" creationId="{FC359D38-C6BF-43E2-B893-823B95413044}"/>
          </ac:spMkLst>
        </pc:spChg>
        <pc:spChg chg="mod">
          <ac:chgData name="Arjan van der Meer" userId="008f28a2-684e-4523-b3ca-dcb37d9c3e5d" providerId="ADAL" clId="{C3C0D317-475B-426A-8FE4-7C706DFBFC41}" dt="2021-10-25T12:47:44.151" v="3830" actId="1076"/>
          <ac:spMkLst>
            <pc:docMk/>
            <pc:sldMk cId="4228508098" sldId="1115"/>
            <ac:spMk id="11" creationId="{7B338E93-2A0B-4DBB-BFE2-50FE487719D8}"/>
          </ac:spMkLst>
        </pc:spChg>
        <pc:spChg chg="mod">
          <ac:chgData name="Arjan van der Meer" userId="008f28a2-684e-4523-b3ca-dcb37d9c3e5d" providerId="ADAL" clId="{C3C0D317-475B-426A-8FE4-7C706DFBFC41}" dt="2021-10-25T12:46:02.865" v="3790" actId="1076"/>
          <ac:spMkLst>
            <pc:docMk/>
            <pc:sldMk cId="4228508098" sldId="1115"/>
            <ac:spMk id="12" creationId="{B12AD1B6-D28E-4E1D-8FA2-06132B4C0FDF}"/>
          </ac:spMkLst>
        </pc:spChg>
        <pc:spChg chg="mod">
          <ac:chgData name="Arjan van der Meer" userId="008f28a2-684e-4523-b3ca-dcb37d9c3e5d" providerId="ADAL" clId="{C3C0D317-475B-426A-8FE4-7C706DFBFC41}" dt="2021-10-25T12:48:23.931" v="3842" actId="1076"/>
          <ac:spMkLst>
            <pc:docMk/>
            <pc:sldMk cId="4228508098" sldId="1115"/>
            <ac:spMk id="13" creationId="{39E7063F-0E97-4739-B371-10313C76EB09}"/>
          </ac:spMkLst>
        </pc:spChg>
        <pc:spChg chg="mod">
          <ac:chgData name="Arjan van der Meer" userId="008f28a2-684e-4523-b3ca-dcb37d9c3e5d" providerId="ADAL" clId="{C3C0D317-475B-426A-8FE4-7C706DFBFC41}" dt="2021-10-25T12:47:41.949" v="3829" actId="1076"/>
          <ac:spMkLst>
            <pc:docMk/>
            <pc:sldMk cId="4228508098" sldId="1115"/>
            <ac:spMk id="14" creationId="{05C6BFB8-ABD4-4F0B-AF70-7D4314083796}"/>
          </ac:spMkLst>
        </pc:spChg>
        <pc:spChg chg="mod">
          <ac:chgData name="Arjan van der Meer" userId="008f28a2-684e-4523-b3ca-dcb37d9c3e5d" providerId="ADAL" clId="{C3C0D317-475B-426A-8FE4-7C706DFBFC41}" dt="2021-10-25T12:47:04.207" v="3822" actId="1076"/>
          <ac:spMkLst>
            <pc:docMk/>
            <pc:sldMk cId="4228508098" sldId="1115"/>
            <ac:spMk id="15" creationId="{45ACCE62-D817-429E-99C0-29E90C0004AE}"/>
          </ac:spMkLst>
        </pc:spChg>
        <pc:spChg chg="mod">
          <ac:chgData name="Arjan van der Meer" userId="008f28a2-684e-4523-b3ca-dcb37d9c3e5d" providerId="ADAL" clId="{C3C0D317-475B-426A-8FE4-7C706DFBFC41}" dt="2021-10-25T12:48:25.244" v="3843" actId="1076"/>
          <ac:spMkLst>
            <pc:docMk/>
            <pc:sldMk cId="4228508098" sldId="1115"/>
            <ac:spMk id="16" creationId="{5DF7E345-1717-457F-B361-09FC6C933541}"/>
          </ac:spMkLst>
        </pc:spChg>
        <pc:spChg chg="mod">
          <ac:chgData name="Arjan van der Meer" userId="008f28a2-684e-4523-b3ca-dcb37d9c3e5d" providerId="ADAL" clId="{C3C0D317-475B-426A-8FE4-7C706DFBFC41}" dt="2021-10-25T12:46:56.699" v="3819" actId="1076"/>
          <ac:spMkLst>
            <pc:docMk/>
            <pc:sldMk cId="4228508098" sldId="1115"/>
            <ac:spMk id="18" creationId="{4090F086-B1AA-476C-BF44-D41B324E5356}"/>
          </ac:spMkLst>
        </pc:spChg>
        <pc:spChg chg="mod">
          <ac:chgData name="Arjan van der Meer" userId="008f28a2-684e-4523-b3ca-dcb37d9c3e5d" providerId="ADAL" clId="{C3C0D317-475B-426A-8FE4-7C706DFBFC41}" dt="2021-10-25T12:47:09.574" v="3824" actId="1076"/>
          <ac:spMkLst>
            <pc:docMk/>
            <pc:sldMk cId="4228508098" sldId="1115"/>
            <ac:spMk id="19" creationId="{B433080E-286F-4612-A4B6-0977D1871A2C}"/>
          </ac:spMkLst>
        </pc:spChg>
        <pc:spChg chg="mod">
          <ac:chgData name="Arjan van der Meer" userId="008f28a2-684e-4523-b3ca-dcb37d9c3e5d" providerId="ADAL" clId="{C3C0D317-475B-426A-8FE4-7C706DFBFC41}" dt="2021-10-25T12:46:58.874" v="3820" actId="1076"/>
          <ac:spMkLst>
            <pc:docMk/>
            <pc:sldMk cId="4228508098" sldId="1115"/>
            <ac:spMk id="20" creationId="{1D6BDAE1-94AD-41F4-B142-42DA2E454205}"/>
          </ac:spMkLst>
        </pc:spChg>
        <pc:spChg chg="mod">
          <ac:chgData name="Arjan van der Meer" userId="008f28a2-684e-4523-b3ca-dcb37d9c3e5d" providerId="ADAL" clId="{C3C0D317-475B-426A-8FE4-7C706DFBFC41}" dt="2021-10-25T12:47:00.979" v="3821" actId="1076"/>
          <ac:spMkLst>
            <pc:docMk/>
            <pc:sldMk cId="4228508098" sldId="1115"/>
            <ac:spMk id="21" creationId="{93A8C00C-829C-45D0-B729-0DC7A6CFF833}"/>
          </ac:spMkLst>
        </pc:spChg>
        <pc:spChg chg="mod">
          <ac:chgData name="Arjan van der Meer" userId="008f28a2-684e-4523-b3ca-dcb37d9c3e5d" providerId="ADAL" clId="{C3C0D317-475B-426A-8FE4-7C706DFBFC41}" dt="2021-10-25T12:47:06.852" v="3823" actId="1076"/>
          <ac:spMkLst>
            <pc:docMk/>
            <pc:sldMk cId="4228508098" sldId="1115"/>
            <ac:spMk id="23" creationId="{F8C24E07-2FC9-4107-B097-7DCCE394171E}"/>
          </ac:spMkLst>
        </pc:spChg>
        <pc:spChg chg="mod">
          <ac:chgData name="Arjan van der Meer" userId="008f28a2-684e-4523-b3ca-dcb37d9c3e5d" providerId="ADAL" clId="{C3C0D317-475B-426A-8FE4-7C706DFBFC41}" dt="2021-10-25T12:47:47.521" v="3831" actId="14100"/>
          <ac:spMkLst>
            <pc:docMk/>
            <pc:sldMk cId="4228508098" sldId="1115"/>
            <ac:spMk id="25" creationId="{9EB00A02-7F87-4562-8A39-D3D5E883FD3E}"/>
          </ac:spMkLst>
        </pc:spChg>
        <pc:spChg chg="mod">
          <ac:chgData name="Arjan van der Meer" userId="008f28a2-684e-4523-b3ca-dcb37d9c3e5d" providerId="ADAL" clId="{C3C0D317-475B-426A-8FE4-7C706DFBFC41}" dt="2021-10-25T12:46:33.787" v="3810" actId="1076"/>
          <ac:spMkLst>
            <pc:docMk/>
            <pc:sldMk cId="4228508098" sldId="1115"/>
            <ac:spMk id="26" creationId="{7E19ED19-4CF6-43A8-AFB5-9F637C8182F2}"/>
          </ac:spMkLst>
        </pc:spChg>
        <pc:spChg chg="mod">
          <ac:chgData name="Arjan van der Meer" userId="008f28a2-684e-4523-b3ca-dcb37d9c3e5d" providerId="ADAL" clId="{C3C0D317-475B-426A-8FE4-7C706DFBFC41}" dt="2021-10-25T12:46:36.209" v="3811" actId="1076"/>
          <ac:spMkLst>
            <pc:docMk/>
            <pc:sldMk cId="4228508098" sldId="1115"/>
            <ac:spMk id="27" creationId="{D4185C62-5A69-4D03-AF3C-7A8EB28AAFF3}"/>
          </ac:spMkLst>
        </pc:spChg>
        <pc:spChg chg="mod">
          <ac:chgData name="Arjan van der Meer" userId="008f28a2-684e-4523-b3ca-dcb37d9c3e5d" providerId="ADAL" clId="{C3C0D317-475B-426A-8FE4-7C706DFBFC41}" dt="2021-10-25T12:46:32.092" v="3809" actId="1076"/>
          <ac:spMkLst>
            <pc:docMk/>
            <pc:sldMk cId="4228508098" sldId="1115"/>
            <ac:spMk id="28" creationId="{59557FBF-5E33-48FA-A4D9-1EBE4FD23AAF}"/>
          </ac:spMkLst>
        </pc:spChg>
        <pc:spChg chg="mod">
          <ac:chgData name="Arjan van der Meer" userId="008f28a2-684e-4523-b3ca-dcb37d9c3e5d" providerId="ADAL" clId="{C3C0D317-475B-426A-8FE4-7C706DFBFC41}" dt="2021-10-25T12:46:21.296" v="3806" actId="1076"/>
          <ac:spMkLst>
            <pc:docMk/>
            <pc:sldMk cId="4228508098" sldId="1115"/>
            <ac:spMk id="29" creationId="{6970AF9C-6F58-47A9-B653-848D35D1835F}"/>
          </ac:spMkLst>
        </pc:spChg>
        <pc:spChg chg="mod">
          <ac:chgData name="Arjan van der Meer" userId="008f28a2-684e-4523-b3ca-dcb37d9c3e5d" providerId="ADAL" clId="{C3C0D317-475B-426A-8FE4-7C706DFBFC41}" dt="2021-10-25T12:46:17.805" v="3805" actId="1076"/>
          <ac:spMkLst>
            <pc:docMk/>
            <pc:sldMk cId="4228508098" sldId="1115"/>
            <ac:spMk id="30" creationId="{0E98BD62-FF76-4837-9FEC-F7C1E6406C80}"/>
          </ac:spMkLst>
        </pc:spChg>
        <pc:spChg chg="mod">
          <ac:chgData name="Arjan van der Meer" userId="008f28a2-684e-4523-b3ca-dcb37d9c3e5d" providerId="ADAL" clId="{C3C0D317-475B-426A-8FE4-7C706DFBFC41}" dt="2021-10-25T12:46:39.313" v="3813" actId="1076"/>
          <ac:spMkLst>
            <pc:docMk/>
            <pc:sldMk cId="4228508098" sldId="1115"/>
            <ac:spMk id="31" creationId="{AE34956D-9252-4779-B7B9-B466E6D09148}"/>
          </ac:spMkLst>
        </pc:spChg>
        <pc:spChg chg="mod">
          <ac:chgData name="Arjan van der Meer" userId="008f28a2-684e-4523-b3ca-dcb37d9c3e5d" providerId="ADAL" clId="{C3C0D317-475B-426A-8FE4-7C706DFBFC41}" dt="2021-10-25T12:48:09.829" v="3835" actId="1076"/>
          <ac:spMkLst>
            <pc:docMk/>
            <pc:sldMk cId="4228508098" sldId="1115"/>
            <ac:spMk id="32" creationId="{AAB14F3A-04C0-485C-9F63-18BA5F6F2995}"/>
          </ac:spMkLst>
        </pc:spChg>
        <pc:spChg chg="mod">
          <ac:chgData name="Arjan van der Meer" userId="008f28a2-684e-4523-b3ca-dcb37d9c3e5d" providerId="ADAL" clId="{C3C0D317-475B-426A-8FE4-7C706DFBFC41}" dt="2021-10-25T12:48:13.906" v="3837" actId="1076"/>
          <ac:spMkLst>
            <pc:docMk/>
            <pc:sldMk cId="4228508098" sldId="1115"/>
            <ac:spMk id="33" creationId="{7A5C231A-004B-4595-9502-D55C643AE1B7}"/>
          </ac:spMkLst>
        </pc:spChg>
        <pc:spChg chg="mod">
          <ac:chgData name="Arjan van der Meer" userId="008f28a2-684e-4523-b3ca-dcb37d9c3e5d" providerId="ADAL" clId="{C3C0D317-475B-426A-8FE4-7C706DFBFC41}" dt="2021-10-25T12:47:37.042" v="3828" actId="14100"/>
          <ac:spMkLst>
            <pc:docMk/>
            <pc:sldMk cId="4228508098" sldId="1115"/>
            <ac:spMk id="34" creationId="{B56F3528-7EFC-4EA0-A697-611D5AF202AA}"/>
          </ac:spMkLst>
        </pc:spChg>
        <pc:spChg chg="mod">
          <ac:chgData name="Arjan van der Meer" userId="008f28a2-684e-4523-b3ca-dcb37d9c3e5d" providerId="ADAL" clId="{C3C0D317-475B-426A-8FE4-7C706DFBFC41}" dt="2021-10-25T12:46:37.821" v="3812" actId="1076"/>
          <ac:spMkLst>
            <pc:docMk/>
            <pc:sldMk cId="4228508098" sldId="1115"/>
            <ac:spMk id="35" creationId="{2381AED4-755B-4E4F-9396-115A6F1163E2}"/>
          </ac:spMkLst>
        </pc:spChg>
        <pc:spChg chg="mod">
          <ac:chgData name="Arjan van der Meer" userId="008f28a2-684e-4523-b3ca-dcb37d9c3e5d" providerId="ADAL" clId="{C3C0D317-475B-426A-8FE4-7C706DFBFC41}" dt="2021-10-25T12:48:20.865" v="3840" actId="1076"/>
          <ac:spMkLst>
            <pc:docMk/>
            <pc:sldMk cId="4228508098" sldId="1115"/>
            <ac:spMk id="36" creationId="{AD0E07BD-F304-4E3E-9984-1716DB293706}"/>
          </ac:spMkLst>
        </pc:spChg>
        <pc:spChg chg="mod">
          <ac:chgData name="Arjan van der Meer" userId="008f28a2-684e-4523-b3ca-dcb37d9c3e5d" providerId="ADAL" clId="{C3C0D317-475B-426A-8FE4-7C706DFBFC41}" dt="2021-10-25T12:46:29.883" v="3808" actId="1076"/>
          <ac:spMkLst>
            <pc:docMk/>
            <pc:sldMk cId="4228508098" sldId="1115"/>
            <ac:spMk id="37" creationId="{FE0198BE-DE02-4362-8929-52485F14F190}"/>
          </ac:spMkLst>
        </pc:spChg>
        <pc:spChg chg="mod">
          <ac:chgData name="Arjan van der Meer" userId="008f28a2-684e-4523-b3ca-dcb37d9c3e5d" providerId="ADAL" clId="{C3C0D317-475B-426A-8FE4-7C706DFBFC41}" dt="2021-10-25T12:48:11.288" v="3836" actId="1076"/>
          <ac:spMkLst>
            <pc:docMk/>
            <pc:sldMk cId="4228508098" sldId="1115"/>
            <ac:spMk id="38" creationId="{80A7CD93-4735-4DBD-A27C-2D9151C63F82}"/>
          </ac:spMkLst>
        </pc:spChg>
        <pc:spChg chg="mod">
          <ac:chgData name="Arjan van der Meer" userId="008f28a2-684e-4523-b3ca-dcb37d9c3e5d" providerId="ADAL" clId="{C3C0D317-475B-426A-8FE4-7C706DFBFC41}" dt="2021-10-25T12:48:03.024" v="3833" actId="1076"/>
          <ac:spMkLst>
            <pc:docMk/>
            <pc:sldMk cId="4228508098" sldId="1115"/>
            <ac:spMk id="39" creationId="{60B6EA00-27AF-45D7-91B8-86CCDB2D6058}"/>
          </ac:spMkLst>
        </pc:spChg>
        <pc:spChg chg="mod">
          <ac:chgData name="Arjan van der Meer" userId="008f28a2-684e-4523-b3ca-dcb37d9c3e5d" providerId="ADAL" clId="{C3C0D317-475B-426A-8FE4-7C706DFBFC41}" dt="2021-10-25T12:48:07.462" v="3834" actId="1076"/>
          <ac:spMkLst>
            <pc:docMk/>
            <pc:sldMk cId="4228508098" sldId="1115"/>
            <ac:spMk id="40" creationId="{C09BEA99-9DDB-49EB-80AD-A862787C9705}"/>
          </ac:spMkLst>
        </pc:spChg>
      </pc:sldChg>
      <pc:sldChg chg="delSp modSp add mod delAnim">
        <pc:chgData name="Arjan van der Meer" userId="008f28a2-684e-4523-b3ca-dcb37d9c3e5d" providerId="ADAL" clId="{C3C0D317-475B-426A-8FE4-7C706DFBFC41}" dt="2021-10-25T12:39:06.605" v="3741" actId="207"/>
        <pc:sldMkLst>
          <pc:docMk/>
          <pc:sldMk cId="2671899600" sldId="1116"/>
        </pc:sldMkLst>
        <pc:spChg chg="del">
          <ac:chgData name="Arjan van der Meer" userId="008f28a2-684e-4523-b3ca-dcb37d9c3e5d" providerId="ADAL" clId="{C3C0D317-475B-426A-8FE4-7C706DFBFC41}" dt="2021-10-25T12:30:09.989" v="3654" actId="478"/>
          <ac:spMkLst>
            <pc:docMk/>
            <pc:sldMk cId="2671899600" sldId="1116"/>
            <ac:spMk id="2" creationId="{64247E47-7305-4B77-A5C1-44F9636ED2EC}"/>
          </ac:spMkLst>
        </pc:spChg>
        <pc:spChg chg="del">
          <ac:chgData name="Arjan van der Meer" userId="008f28a2-684e-4523-b3ca-dcb37d9c3e5d" providerId="ADAL" clId="{C3C0D317-475B-426A-8FE4-7C706DFBFC41}" dt="2021-10-25T12:30:12.729" v="3655" actId="478"/>
          <ac:spMkLst>
            <pc:docMk/>
            <pc:sldMk cId="2671899600" sldId="1116"/>
            <ac:spMk id="7" creationId="{D0F6BF1B-B0BE-4F34-AAD2-A46C4829D64D}"/>
          </ac:spMkLst>
        </pc:spChg>
        <pc:graphicFrameChg chg="mod modGraphic">
          <ac:chgData name="Arjan van der Meer" userId="008f28a2-684e-4523-b3ca-dcb37d9c3e5d" providerId="ADAL" clId="{C3C0D317-475B-426A-8FE4-7C706DFBFC41}" dt="2021-10-25T12:39:06.605" v="3741" actId="207"/>
          <ac:graphicFrameMkLst>
            <pc:docMk/>
            <pc:sldMk cId="2671899600" sldId="1116"/>
            <ac:graphicFrameMk id="8" creationId="{3382420A-ABE0-4BFE-A914-12212A89A270}"/>
          </ac:graphicFrameMkLst>
        </pc:graphicFrameChg>
      </pc:sldChg>
      <pc:sldChg chg="addSp modSp add mod ord modAnim">
        <pc:chgData name="Arjan van der Meer" userId="008f28a2-684e-4523-b3ca-dcb37d9c3e5d" providerId="ADAL" clId="{C3C0D317-475B-426A-8FE4-7C706DFBFC41}" dt="2021-10-25T12:40:38.148" v="3771"/>
        <pc:sldMkLst>
          <pc:docMk/>
          <pc:sldMk cId="2590100134" sldId="1117"/>
        </pc:sldMkLst>
        <pc:spChg chg="add mod">
          <ac:chgData name="Arjan van der Meer" userId="008f28a2-684e-4523-b3ca-dcb37d9c3e5d" providerId="ADAL" clId="{C3C0D317-475B-426A-8FE4-7C706DFBFC41}" dt="2021-10-25T12:40:28.724" v="3770"/>
          <ac:spMkLst>
            <pc:docMk/>
            <pc:sldMk cId="2590100134" sldId="1117"/>
            <ac:spMk id="6" creationId="{12D40F17-C05B-49F9-82D2-FD742BEBC3C8}"/>
          </ac:spMkLst>
        </pc:spChg>
        <pc:spChg chg="add mod">
          <ac:chgData name="Arjan van der Meer" userId="008f28a2-684e-4523-b3ca-dcb37d9c3e5d" providerId="ADAL" clId="{C3C0D317-475B-426A-8FE4-7C706DFBFC41}" dt="2021-10-25T12:40:38.148" v="3771"/>
          <ac:spMkLst>
            <pc:docMk/>
            <pc:sldMk cId="2590100134" sldId="1117"/>
            <ac:spMk id="7" creationId="{C5F53F77-ECFE-461F-827A-0903178739AB}"/>
          </ac:spMkLst>
        </pc:spChg>
        <pc:graphicFrameChg chg="modGraphic">
          <ac:chgData name="Arjan van der Meer" userId="008f28a2-684e-4523-b3ca-dcb37d9c3e5d" providerId="ADAL" clId="{C3C0D317-475B-426A-8FE4-7C706DFBFC41}" dt="2021-10-25T12:40:13.880" v="3767" actId="20577"/>
          <ac:graphicFrameMkLst>
            <pc:docMk/>
            <pc:sldMk cId="2590100134" sldId="1117"/>
            <ac:graphicFrameMk id="8" creationId="{3382420A-ABE0-4BFE-A914-12212A89A270}"/>
          </ac:graphicFrameMkLst>
        </pc:graphicFrameChg>
      </pc:sldChg>
      <pc:sldMasterChg chg="modSldLayout">
        <pc:chgData name="Arjan van der Meer" userId="008f28a2-684e-4523-b3ca-dcb37d9c3e5d" providerId="ADAL" clId="{C3C0D317-475B-426A-8FE4-7C706DFBFC41}" dt="2021-10-25T08:41:51.329" v="2586"/>
        <pc:sldMasterMkLst>
          <pc:docMk/>
          <pc:sldMasterMk cId="596944594" sldId="2147483667"/>
        </pc:sldMasterMkLst>
        <pc:sldLayoutChg chg="addSp delSp modSp">
          <pc:chgData name="Arjan van der Meer" userId="008f28a2-684e-4523-b3ca-dcb37d9c3e5d" providerId="ADAL" clId="{C3C0D317-475B-426A-8FE4-7C706DFBFC41}" dt="2021-10-25T08:41:51.329" v="2586"/>
          <pc:sldLayoutMkLst>
            <pc:docMk/>
            <pc:sldMasterMk cId="596944594" sldId="2147483667"/>
            <pc:sldLayoutMk cId="0" sldId="2147483669"/>
          </pc:sldLayoutMkLst>
          <pc:spChg chg="del">
            <ac:chgData name="Arjan van der Meer" userId="008f28a2-684e-4523-b3ca-dcb37d9c3e5d" providerId="ADAL" clId="{C3C0D317-475B-426A-8FE4-7C706DFBFC41}" dt="2021-10-25T08:41:50.703" v="2585"/>
            <ac:spMkLst>
              <pc:docMk/>
              <pc:sldMasterMk cId="596944594" sldId="2147483667"/>
              <pc:sldLayoutMk cId="0" sldId="2147483669"/>
              <ac:spMk id="2" creationId="{00000000-0000-0000-0000-000000000000}"/>
            </ac:spMkLst>
          </pc:spChg>
          <pc:spChg chg="add mod">
            <ac:chgData name="Arjan van der Meer" userId="008f28a2-684e-4523-b3ca-dcb37d9c3e5d" providerId="ADAL" clId="{C3C0D317-475B-426A-8FE4-7C706DFBFC41}" dt="2021-10-25T08:41:51.329" v="2586"/>
            <ac:spMkLst>
              <pc:docMk/>
              <pc:sldMasterMk cId="596944594" sldId="2147483667"/>
              <pc:sldLayoutMk cId="0" sldId="2147483669"/>
              <ac:spMk id="3" creationId="{48279E0E-5245-4ADD-BD06-FCCF7A83EB1A}"/>
            </ac:spMkLst>
          </pc:spChg>
        </pc:sldLayoutChg>
      </pc:sldMasterChg>
      <pc:sldMasterChg chg="addSp modSldLayout">
        <pc:chgData name="Arjan van der Meer" userId="008f28a2-684e-4523-b3ca-dcb37d9c3e5d" providerId="ADAL" clId="{C3C0D317-475B-426A-8FE4-7C706DFBFC41}" dt="2021-10-20T07:49:14.893" v="338"/>
        <pc:sldMasterMkLst>
          <pc:docMk/>
          <pc:sldMasterMk cId="13026971" sldId="2147483688"/>
        </pc:sldMasterMkLst>
        <pc:spChg chg="add">
          <ac:chgData name="Arjan van der Meer" userId="008f28a2-684e-4523-b3ca-dcb37d9c3e5d" providerId="ADAL" clId="{C3C0D317-475B-426A-8FE4-7C706DFBFC41}" dt="2021-10-20T07:49:14.893" v="338"/>
          <ac:spMkLst>
            <pc:docMk/>
            <pc:sldMasterMk cId="13026971" sldId="2147483688"/>
            <ac:spMk id="187" creationId="{74088175-568B-44FE-94DA-D20273A07CC0}"/>
          </ac:spMkLst>
        </pc:spChg>
        <pc:spChg chg="add">
          <ac:chgData name="Arjan van der Meer" userId="008f28a2-684e-4523-b3ca-dcb37d9c3e5d" providerId="ADAL" clId="{C3C0D317-475B-426A-8FE4-7C706DFBFC41}" dt="2021-10-20T07:49:14.893" v="338"/>
          <ac:spMkLst>
            <pc:docMk/>
            <pc:sldMasterMk cId="13026971" sldId="2147483688"/>
            <ac:spMk id="188" creationId="{C457153C-F588-4E26-83F9-9068918BE250}"/>
          </ac:spMkLst>
        </pc:spChg>
        <pc:spChg chg="add">
          <ac:chgData name="Arjan van der Meer" userId="008f28a2-684e-4523-b3ca-dcb37d9c3e5d" providerId="ADAL" clId="{C3C0D317-475B-426A-8FE4-7C706DFBFC41}" dt="2021-10-20T07:49:14.893" v="338"/>
          <ac:spMkLst>
            <pc:docMk/>
            <pc:sldMasterMk cId="13026971" sldId="2147483688"/>
            <ac:spMk id="191" creationId="{EA456157-24CA-467A-8811-33E84F8D2F29}"/>
          </ac:spMkLst>
        </pc:spChg>
        <pc:graphicFrameChg chg="add">
          <ac:chgData name="Arjan van der Meer" userId="008f28a2-684e-4523-b3ca-dcb37d9c3e5d" providerId="ADAL" clId="{C3C0D317-475B-426A-8FE4-7C706DFBFC41}" dt="2021-10-20T07:49:14.893" v="338"/>
          <ac:graphicFrameMkLst>
            <pc:docMk/>
            <pc:sldMasterMk cId="13026971" sldId="2147483688"/>
            <ac:graphicFrameMk id="186" creationId="{5F6844BD-79BA-4A3C-8DBF-6B2A289E2B2E}"/>
          </ac:graphicFrameMkLst>
        </pc:graphicFrameChg>
        <pc:picChg chg="add">
          <ac:chgData name="Arjan van der Meer" userId="008f28a2-684e-4523-b3ca-dcb37d9c3e5d" providerId="ADAL" clId="{C3C0D317-475B-426A-8FE4-7C706DFBFC41}" dt="2021-10-20T07:49:14.893" v="338"/>
          <ac:picMkLst>
            <pc:docMk/>
            <pc:sldMasterMk cId="13026971" sldId="2147483688"/>
            <ac:picMk id="189" creationId="{AE0D76F8-9354-4AAF-809A-BFB7B00CF4B4}"/>
          </ac:picMkLst>
        </pc:picChg>
        <pc:picChg chg="add">
          <ac:chgData name="Arjan van der Meer" userId="008f28a2-684e-4523-b3ca-dcb37d9c3e5d" providerId="ADAL" clId="{C3C0D317-475B-426A-8FE4-7C706DFBFC41}" dt="2021-10-20T07:49:14.893" v="338"/>
          <ac:picMkLst>
            <pc:docMk/>
            <pc:sldMasterMk cId="13026971" sldId="2147483688"/>
            <ac:picMk id="190" creationId="{12E775B5-2382-4F3A-9E49-0D120491B500}"/>
          </ac:picMkLst>
        </pc:picChg>
        <pc:sldLayoutChg chg="addSp">
          <pc:chgData name="Arjan van der Meer" userId="008f28a2-684e-4523-b3ca-dcb37d9c3e5d" providerId="ADAL" clId="{C3C0D317-475B-426A-8FE4-7C706DFBFC41}" dt="2021-10-20T07:49:14.893" v="338"/>
          <pc:sldLayoutMkLst>
            <pc:docMk/>
            <pc:sldMasterMk cId="13026971" sldId="2147483688"/>
            <pc:sldLayoutMk cId="3041312502" sldId="2147483716"/>
          </pc:sldLayoutMkLst>
          <pc:spChg chg="add">
            <ac:chgData name="Arjan van der Meer" userId="008f28a2-684e-4523-b3ca-dcb37d9c3e5d" providerId="ADAL" clId="{C3C0D317-475B-426A-8FE4-7C706DFBFC41}" dt="2021-10-20T07:49:14.893" v="338"/>
            <ac:spMkLst>
              <pc:docMk/>
              <pc:sldMasterMk cId="13026971" sldId="2147483688"/>
              <pc:sldLayoutMk cId="3041312502" sldId="2147483716"/>
              <ac:spMk id="6" creationId="{BC248144-4E1D-4ED0-9163-96B0C725A309}"/>
            </ac:spMkLst>
          </pc:spChg>
        </pc:sldLayoutChg>
      </pc:sldMasterChg>
    </pc:docChg>
  </pc:docChgLst>
  <pc:docChgLst>
    <pc:chgData name="Arjan van der Meer" userId="008f28a2-684e-4523-b3ca-dcb37d9c3e5d" providerId="ADAL" clId="{44D73574-4316-4891-B5B8-DDD8C67FFD60}"/>
    <pc:docChg chg="undo redo custSel addSld delSld modSld sldOrd addSection delSection modSection">
      <pc:chgData name="Arjan van der Meer" userId="008f28a2-684e-4523-b3ca-dcb37d9c3e5d" providerId="ADAL" clId="{44D73574-4316-4891-B5B8-DDD8C67FFD60}" dt="2021-11-17T10:28:24.186" v="2848" actId="47"/>
      <pc:docMkLst>
        <pc:docMk/>
      </pc:docMkLst>
      <pc:sldChg chg="modSp mod">
        <pc:chgData name="Arjan van der Meer" userId="008f28a2-684e-4523-b3ca-dcb37d9c3e5d" providerId="ADAL" clId="{44D73574-4316-4891-B5B8-DDD8C67FFD60}" dt="2021-11-09T12:12:39.904" v="595" actId="20577"/>
        <pc:sldMkLst>
          <pc:docMk/>
          <pc:sldMk cId="1288819339" sldId="352"/>
        </pc:sldMkLst>
        <pc:spChg chg="mod">
          <ac:chgData name="Arjan van der Meer" userId="008f28a2-684e-4523-b3ca-dcb37d9c3e5d" providerId="ADAL" clId="{44D73574-4316-4891-B5B8-DDD8C67FFD60}" dt="2021-11-05T07:51:53.425" v="20" actId="20577"/>
          <ac:spMkLst>
            <pc:docMk/>
            <pc:sldMk cId="1288819339" sldId="352"/>
            <ac:spMk id="7" creationId="{62266F87-063E-414D-9DF7-F9A808854D3C}"/>
          </ac:spMkLst>
        </pc:spChg>
        <pc:spChg chg="mod">
          <ac:chgData name="Arjan van der Meer" userId="008f28a2-684e-4523-b3ca-dcb37d9c3e5d" providerId="ADAL" clId="{44D73574-4316-4891-B5B8-DDD8C67FFD60}" dt="2021-11-09T12:12:39.904" v="595" actId="20577"/>
          <ac:spMkLst>
            <pc:docMk/>
            <pc:sldMk cId="1288819339" sldId="352"/>
            <ac:spMk id="8" creationId="{F3097622-C1C0-49DB-A38F-BD9450C26892}"/>
          </ac:spMkLst>
        </pc:spChg>
      </pc:sldChg>
      <pc:sldChg chg="addSp modSp mod">
        <pc:chgData name="Arjan van der Meer" userId="008f28a2-684e-4523-b3ca-dcb37d9c3e5d" providerId="ADAL" clId="{44D73574-4316-4891-B5B8-DDD8C67FFD60}" dt="2021-11-16T13:28:37.848" v="2633" actId="20577"/>
        <pc:sldMkLst>
          <pc:docMk/>
          <pc:sldMk cId="3438095514" sldId="1040"/>
        </pc:sldMkLst>
        <pc:spChg chg="add mod">
          <ac:chgData name="Arjan van der Meer" userId="008f28a2-684e-4523-b3ca-dcb37d9c3e5d" providerId="ADAL" clId="{44D73574-4316-4891-B5B8-DDD8C67FFD60}" dt="2021-11-16T13:28:37.848" v="2633" actId="20577"/>
          <ac:spMkLst>
            <pc:docMk/>
            <pc:sldMk cId="3438095514" sldId="1040"/>
            <ac:spMk id="8" creationId="{A7BFA974-87B8-41F7-B519-C157F435E424}"/>
          </ac:spMkLst>
        </pc:spChg>
        <pc:spChg chg="mod">
          <ac:chgData name="Arjan van der Meer" userId="008f28a2-684e-4523-b3ca-dcb37d9c3e5d" providerId="ADAL" clId="{44D73574-4316-4891-B5B8-DDD8C67FFD60}" dt="2021-11-16T13:26:39.983" v="2525" actId="1076"/>
          <ac:spMkLst>
            <pc:docMk/>
            <pc:sldMk cId="3438095514" sldId="1040"/>
            <ac:spMk id="9" creationId="{EF6FAA13-1A51-4EFF-81EC-3748C18126AD}"/>
          </ac:spMkLst>
        </pc:spChg>
        <pc:picChg chg="mod">
          <ac:chgData name="Arjan van der Meer" userId="008f28a2-684e-4523-b3ca-dcb37d9c3e5d" providerId="ADAL" clId="{44D73574-4316-4891-B5B8-DDD8C67FFD60}" dt="2021-11-16T13:26:34.994" v="2524" actId="1076"/>
          <ac:picMkLst>
            <pc:docMk/>
            <pc:sldMk cId="3438095514" sldId="1040"/>
            <ac:picMk id="7" creationId="{029A410B-75A2-41A1-A370-06F7A7A84426}"/>
          </ac:picMkLst>
        </pc:picChg>
      </pc:sldChg>
      <pc:sldChg chg="mod modShow modNotesTx">
        <pc:chgData name="Arjan van der Meer" userId="008f28a2-684e-4523-b3ca-dcb37d9c3e5d" providerId="ADAL" clId="{44D73574-4316-4891-B5B8-DDD8C67FFD60}" dt="2021-11-12T12:29:32.922" v="1612" actId="729"/>
        <pc:sldMkLst>
          <pc:docMk/>
          <pc:sldMk cId="3312085732" sldId="1041"/>
        </pc:sldMkLst>
      </pc:sldChg>
      <pc:sldChg chg="mod modShow modNotesTx">
        <pc:chgData name="Arjan van der Meer" userId="008f28a2-684e-4523-b3ca-dcb37d9c3e5d" providerId="ADAL" clId="{44D73574-4316-4891-B5B8-DDD8C67FFD60}" dt="2021-11-10T07:36:53.723" v="1205" actId="20577"/>
        <pc:sldMkLst>
          <pc:docMk/>
          <pc:sldMk cId="1154303861" sldId="1050"/>
        </pc:sldMkLst>
      </pc:sldChg>
      <pc:sldChg chg="mod modShow">
        <pc:chgData name="Arjan van der Meer" userId="008f28a2-684e-4523-b3ca-dcb37d9c3e5d" providerId="ADAL" clId="{44D73574-4316-4891-B5B8-DDD8C67FFD60}" dt="2021-11-09T12:34:48.773" v="1022" actId="729"/>
        <pc:sldMkLst>
          <pc:docMk/>
          <pc:sldMk cId="248328226" sldId="1051"/>
        </pc:sldMkLst>
      </pc:sldChg>
      <pc:sldChg chg="mod modShow modNotesTx">
        <pc:chgData name="Arjan van der Meer" userId="008f28a2-684e-4523-b3ca-dcb37d9c3e5d" providerId="ADAL" clId="{44D73574-4316-4891-B5B8-DDD8C67FFD60}" dt="2021-11-10T07:36:37.654" v="1203" actId="20577"/>
        <pc:sldMkLst>
          <pc:docMk/>
          <pc:sldMk cId="3007114066" sldId="1052"/>
        </pc:sldMkLst>
      </pc:sldChg>
      <pc:sldChg chg="modSp add del mod">
        <pc:chgData name="Arjan van der Meer" userId="008f28a2-684e-4523-b3ca-dcb37d9c3e5d" providerId="ADAL" clId="{44D73574-4316-4891-B5B8-DDD8C67FFD60}" dt="2021-11-10T07:11:10.953" v="1097" actId="47"/>
        <pc:sldMkLst>
          <pc:docMk/>
          <pc:sldMk cId="3071920198" sldId="1056"/>
        </pc:sldMkLst>
        <pc:spChg chg="mod">
          <ac:chgData name="Arjan van der Meer" userId="008f28a2-684e-4523-b3ca-dcb37d9c3e5d" providerId="ADAL" clId="{44D73574-4316-4891-B5B8-DDD8C67FFD60}" dt="2021-11-05T10:38:45.386" v="590" actId="20577"/>
          <ac:spMkLst>
            <pc:docMk/>
            <pc:sldMk cId="3071920198" sldId="1056"/>
            <ac:spMk id="6" creationId="{FEF16699-8D90-4D47-93D2-E40582A69893}"/>
          </ac:spMkLst>
        </pc:spChg>
      </pc:sldChg>
      <pc:sldChg chg="mod modShow">
        <pc:chgData name="Arjan van der Meer" userId="008f28a2-684e-4523-b3ca-dcb37d9c3e5d" providerId="ADAL" clId="{44D73574-4316-4891-B5B8-DDD8C67FFD60}" dt="2021-11-09T12:17:58.668" v="654" actId="729"/>
        <pc:sldMkLst>
          <pc:docMk/>
          <pc:sldMk cId="2786694568" sldId="1057"/>
        </pc:sldMkLst>
      </pc:sldChg>
      <pc:sldChg chg="modSp mod">
        <pc:chgData name="Arjan van der Meer" userId="008f28a2-684e-4523-b3ca-dcb37d9c3e5d" providerId="ADAL" clId="{44D73574-4316-4891-B5B8-DDD8C67FFD60}" dt="2021-11-12T12:29:09.186" v="1611" actId="20577"/>
        <pc:sldMkLst>
          <pc:docMk/>
          <pc:sldMk cId="1183965526" sldId="1061"/>
        </pc:sldMkLst>
        <pc:spChg chg="mod">
          <ac:chgData name="Arjan van der Meer" userId="008f28a2-684e-4523-b3ca-dcb37d9c3e5d" providerId="ADAL" clId="{44D73574-4316-4891-B5B8-DDD8C67FFD60}" dt="2021-11-12T12:29:09.186" v="1611" actId="20577"/>
          <ac:spMkLst>
            <pc:docMk/>
            <pc:sldMk cId="1183965526" sldId="1061"/>
            <ac:spMk id="2" creationId="{6FB92FDD-28F8-4478-B212-9EC2092A2B58}"/>
          </ac:spMkLst>
        </pc:spChg>
      </pc:sldChg>
      <pc:sldChg chg="modSp mod">
        <pc:chgData name="Arjan van der Meer" userId="008f28a2-684e-4523-b3ca-dcb37d9c3e5d" providerId="ADAL" clId="{44D73574-4316-4891-B5B8-DDD8C67FFD60}" dt="2021-11-12T12:29:06.530" v="1610" actId="20577"/>
        <pc:sldMkLst>
          <pc:docMk/>
          <pc:sldMk cId="3728082082" sldId="1062"/>
        </pc:sldMkLst>
        <pc:spChg chg="mod">
          <ac:chgData name="Arjan van der Meer" userId="008f28a2-684e-4523-b3ca-dcb37d9c3e5d" providerId="ADAL" clId="{44D73574-4316-4891-B5B8-DDD8C67FFD60}" dt="2021-11-12T12:29:06.530" v="1610" actId="20577"/>
          <ac:spMkLst>
            <pc:docMk/>
            <pc:sldMk cId="3728082082" sldId="1062"/>
            <ac:spMk id="2" creationId="{6FB92FDD-28F8-4478-B212-9EC2092A2B58}"/>
          </ac:spMkLst>
        </pc:spChg>
      </pc:sldChg>
      <pc:sldChg chg="modSp add del mod ord modShow modNotesTx">
        <pc:chgData name="Arjan van der Meer" userId="008f28a2-684e-4523-b3ca-dcb37d9c3e5d" providerId="ADAL" clId="{44D73574-4316-4891-B5B8-DDD8C67FFD60}" dt="2021-11-09T12:36:07.138" v="1039" actId="47"/>
        <pc:sldMkLst>
          <pc:docMk/>
          <pc:sldMk cId="3073011292" sldId="1063"/>
        </pc:sldMkLst>
        <pc:spChg chg="mod">
          <ac:chgData name="Arjan van der Meer" userId="008f28a2-684e-4523-b3ca-dcb37d9c3e5d" providerId="ADAL" clId="{44D73574-4316-4891-B5B8-DDD8C67FFD60}" dt="2021-11-05T10:19:19.589" v="440" actId="20577"/>
          <ac:spMkLst>
            <pc:docMk/>
            <pc:sldMk cId="3073011292" sldId="1063"/>
            <ac:spMk id="2" creationId="{53CB77FA-CF1B-4B0E-A304-10CE6620EE56}"/>
          </ac:spMkLst>
        </pc:spChg>
        <pc:spChg chg="mod">
          <ac:chgData name="Arjan van der Meer" userId="008f28a2-684e-4523-b3ca-dcb37d9c3e5d" providerId="ADAL" clId="{44D73574-4316-4891-B5B8-DDD8C67FFD60}" dt="2021-11-09T12:31:32.778" v="1017" actId="20577"/>
          <ac:spMkLst>
            <pc:docMk/>
            <pc:sldMk cId="3073011292" sldId="1063"/>
            <ac:spMk id="27" creationId="{99CF6255-2CE0-43C4-A8E1-EF957E1ABAF4}"/>
          </ac:spMkLst>
        </pc:spChg>
        <pc:spChg chg="mod">
          <ac:chgData name="Arjan van der Meer" userId="008f28a2-684e-4523-b3ca-dcb37d9c3e5d" providerId="ADAL" clId="{44D73574-4316-4891-B5B8-DDD8C67FFD60}" dt="2021-11-05T10:22:48.367" v="442" actId="207"/>
          <ac:spMkLst>
            <pc:docMk/>
            <pc:sldMk cId="3073011292" sldId="1063"/>
            <ac:spMk id="97" creationId="{B05C406F-F297-4E89-9D0A-155A6D5D7B86}"/>
          </ac:spMkLst>
        </pc:spChg>
        <pc:spChg chg="mod">
          <ac:chgData name="Arjan van der Meer" userId="008f28a2-684e-4523-b3ca-dcb37d9c3e5d" providerId="ADAL" clId="{44D73574-4316-4891-B5B8-DDD8C67FFD60}" dt="2021-11-05T10:23:00.471" v="443" actId="207"/>
          <ac:spMkLst>
            <pc:docMk/>
            <pc:sldMk cId="3073011292" sldId="1063"/>
            <ac:spMk id="99" creationId="{FDE59F8C-8F85-41DB-8503-72C5F804A31A}"/>
          </ac:spMkLst>
        </pc:spChg>
        <pc:spChg chg="mod">
          <ac:chgData name="Arjan van der Meer" userId="008f28a2-684e-4523-b3ca-dcb37d9c3e5d" providerId="ADAL" clId="{44D73574-4316-4891-B5B8-DDD8C67FFD60}" dt="2021-11-05T10:23:12.788" v="447" actId="207"/>
          <ac:spMkLst>
            <pc:docMk/>
            <pc:sldMk cId="3073011292" sldId="1063"/>
            <ac:spMk id="103" creationId="{CBCFF7B2-CCD7-46E7-B4C4-AFDFFA145CA3}"/>
          </ac:spMkLst>
        </pc:spChg>
        <pc:spChg chg="mod">
          <ac:chgData name="Arjan van der Meer" userId="008f28a2-684e-4523-b3ca-dcb37d9c3e5d" providerId="ADAL" clId="{44D73574-4316-4891-B5B8-DDD8C67FFD60}" dt="2021-11-05T10:23:08.973" v="446" actId="207"/>
          <ac:spMkLst>
            <pc:docMk/>
            <pc:sldMk cId="3073011292" sldId="1063"/>
            <ac:spMk id="109" creationId="{3EE89962-7D21-4F9A-A48D-C2696061B37E}"/>
          </ac:spMkLst>
        </pc:spChg>
      </pc:sldChg>
      <pc:sldChg chg="modSp mod modShow">
        <pc:chgData name="Arjan van der Meer" userId="008f28a2-684e-4523-b3ca-dcb37d9c3e5d" providerId="ADAL" clId="{44D73574-4316-4891-B5B8-DDD8C67FFD60}" dt="2021-11-09T12:32:33.802" v="1019" actId="729"/>
        <pc:sldMkLst>
          <pc:docMk/>
          <pc:sldMk cId="1950092934" sldId="1064"/>
        </pc:sldMkLst>
        <pc:spChg chg="mod">
          <ac:chgData name="Arjan van der Meer" userId="008f28a2-684e-4523-b3ca-dcb37d9c3e5d" providerId="ADAL" clId="{44D73574-4316-4891-B5B8-DDD8C67FFD60}" dt="2021-11-05T08:07:29.708" v="27" actId="113"/>
          <ac:spMkLst>
            <pc:docMk/>
            <pc:sldMk cId="1950092934" sldId="1064"/>
            <ac:spMk id="71" creationId="{6722732D-1E0D-41EA-BD67-70018D3B3260}"/>
          </ac:spMkLst>
        </pc:spChg>
        <pc:spChg chg="mod">
          <ac:chgData name="Arjan van der Meer" userId="008f28a2-684e-4523-b3ca-dcb37d9c3e5d" providerId="ADAL" clId="{44D73574-4316-4891-B5B8-DDD8C67FFD60}" dt="2021-11-05T08:07:25.292" v="26" actId="113"/>
          <ac:spMkLst>
            <pc:docMk/>
            <pc:sldMk cId="1950092934" sldId="1064"/>
            <ac:spMk id="82" creationId="{42FA8E37-2FF8-4943-8D73-814D27980228}"/>
          </ac:spMkLst>
        </pc:spChg>
      </pc:sldChg>
      <pc:sldChg chg="modSp mod addCm modNotesTx">
        <pc:chgData name="Arjan van der Meer" userId="008f28a2-684e-4523-b3ca-dcb37d9c3e5d" providerId="ADAL" clId="{44D73574-4316-4891-B5B8-DDD8C67FFD60}" dt="2021-11-12T12:04:43.975" v="1574" actId="1589"/>
        <pc:sldMkLst>
          <pc:docMk/>
          <pc:sldMk cId="4138300204" sldId="1065"/>
        </pc:sldMkLst>
        <pc:spChg chg="mod">
          <ac:chgData name="Arjan van der Meer" userId="008f28a2-684e-4523-b3ca-dcb37d9c3e5d" providerId="ADAL" clId="{44D73574-4316-4891-B5B8-DDD8C67FFD60}" dt="2021-11-12T11:59:23.866" v="1573" actId="20577"/>
          <ac:spMkLst>
            <pc:docMk/>
            <pc:sldMk cId="4138300204" sldId="1065"/>
            <ac:spMk id="5" creationId="{BDE3B0FF-B947-4B45-82C9-28ED80494271}"/>
          </ac:spMkLst>
        </pc:spChg>
      </pc:sldChg>
      <pc:sldChg chg="del mod modShow">
        <pc:chgData name="Arjan van der Meer" userId="008f28a2-684e-4523-b3ca-dcb37d9c3e5d" providerId="ADAL" clId="{44D73574-4316-4891-B5B8-DDD8C67FFD60}" dt="2021-11-09T12:36:16.683" v="1041" actId="47"/>
        <pc:sldMkLst>
          <pc:docMk/>
          <pc:sldMk cId="2659228924" sldId="1071"/>
        </pc:sldMkLst>
      </pc:sldChg>
      <pc:sldChg chg="del mod modShow">
        <pc:chgData name="Arjan van der Meer" userId="008f28a2-684e-4523-b3ca-dcb37d9c3e5d" providerId="ADAL" clId="{44D73574-4316-4891-B5B8-DDD8C67FFD60}" dt="2021-11-09T12:36:18.110" v="1042" actId="47"/>
        <pc:sldMkLst>
          <pc:docMk/>
          <pc:sldMk cId="1768273606" sldId="1072"/>
        </pc:sldMkLst>
      </pc:sldChg>
      <pc:sldChg chg="delSp mod delAnim">
        <pc:chgData name="Arjan van der Meer" userId="008f28a2-684e-4523-b3ca-dcb37d9c3e5d" providerId="ADAL" clId="{44D73574-4316-4891-B5B8-DDD8C67FFD60}" dt="2021-11-10T08:31:22.750" v="1207" actId="478"/>
        <pc:sldMkLst>
          <pc:docMk/>
          <pc:sldMk cId="110981679" sldId="1073"/>
        </pc:sldMkLst>
        <pc:spChg chg="del">
          <ac:chgData name="Arjan van der Meer" userId="008f28a2-684e-4523-b3ca-dcb37d9c3e5d" providerId="ADAL" clId="{44D73574-4316-4891-B5B8-DDD8C67FFD60}" dt="2021-11-10T08:31:20.801" v="1206" actId="478"/>
          <ac:spMkLst>
            <pc:docMk/>
            <pc:sldMk cId="110981679" sldId="1073"/>
            <ac:spMk id="8" creationId="{F64A67B8-04B1-4F8E-953E-598995B66D02}"/>
          </ac:spMkLst>
        </pc:spChg>
        <pc:spChg chg="del">
          <ac:chgData name="Arjan van der Meer" userId="008f28a2-684e-4523-b3ca-dcb37d9c3e5d" providerId="ADAL" clId="{44D73574-4316-4891-B5B8-DDD8C67FFD60}" dt="2021-11-10T08:31:22.750" v="1207" actId="478"/>
          <ac:spMkLst>
            <pc:docMk/>
            <pc:sldMk cId="110981679" sldId="1073"/>
            <ac:spMk id="25" creationId="{AB000E64-D9B7-4691-B535-DFC62073F30E}"/>
          </ac:spMkLst>
        </pc:spChg>
      </pc:sldChg>
      <pc:sldChg chg="del mod modShow">
        <pc:chgData name="Arjan van der Meer" userId="008f28a2-684e-4523-b3ca-dcb37d9c3e5d" providerId="ADAL" clId="{44D73574-4316-4891-B5B8-DDD8C67FFD60}" dt="2021-11-09T12:36:42.893" v="1047" actId="47"/>
        <pc:sldMkLst>
          <pc:docMk/>
          <pc:sldMk cId="1002399906" sldId="1075"/>
        </pc:sldMkLst>
      </pc:sldChg>
      <pc:sldChg chg="add del">
        <pc:chgData name="Arjan van der Meer" userId="008f28a2-684e-4523-b3ca-dcb37d9c3e5d" providerId="ADAL" clId="{44D73574-4316-4891-B5B8-DDD8C67FFD60}" dt="2021-11-09T12:36:40.230" v="1046" actId="47"/>
        <pc:sldMkLst>
          <pc:docMk/>
          <pc:sldMk cId="254963194" sldId="1086"/>
        </pc:sldMkLst>
      </pc:sldChg>
      <pc:sldChg chg="modSp del mod modShow delCm">
        <pc:chgData name="Arjan van der Meer" userId="008f28a2-684e-4523-b3ca-dcb37d9c3e5d" providerId="ADAL" clId="{44D73574-4316-4891-B5B8-DDD8C67FFD60}" dt="2021-11-16T13:29:13.403" v="2634" actId="47"/>
        <pc:sldMkLst>
          <pc:docMk/>
          <pc:sldMk cId="2073591893" sldId="1088"/>
        </pc:sldMkLst>
        <pc:spChg chg="mod">
          <ac:chgData name="Arjan van der Meer" userId="008f28a2-684e-4523-b3ca-dcb37d9c3e5d" providerId="ADAL" clId="{44D73574-4316-4891-B5B8-DDD8C67FFD60}" dt="2021-11-16T09:53:15.804" v="2308" actId="1076"/>
          <ac:spMkLst>
            <pc:docMk/>
            <pc:sldMk cId="2073591893" sldId="1088"/>
            <ac:spMk id="5" creationId="{0563606B-5550-4E82-AA13-83BFFF64C7B4}"/>
          </ac:spMkLst>
        </pc:spChg>
        <pc:spChg chg="mod">
          <ac:chgData name="Arjan van der Meer" userId="008f28a2-684e-4523-b3ca-dcb37d9c3e5d" providerId="ADAL" clId="{44D73574-4316-4891-B5B8-DDD8C67FFD60}" dt="2021-11-16T09:53:37.085" v="2310" actId="1076"/>
          <ac:spMkLst>
            <pc:docMk/>
            <pc:sldMk cId="2073591893" sldId="1088"/>
            <ac:spMk id="9" creationId="{2AAF9279-F78E-48BF-8283-D5FBFBA30377}"/>
          </ac:spMkLst>
        </pc:spChg>
        <pc:spChg chg="mod">
          <ac:chgData name="Arjan van der Meer" userId="008f28a2-684e-4523-b3ca-dcb37d9c3e5d" providerId="ADAL" clId="{44D73574-4316-4891-B5B8-DDD8C67FFD60}" dt="2021-11-16T09:56:11.361" v="2354" actId="1036"/>
          <ac:spMkLst>
            <pc:docMk/>
            <pc:sldMk cId="2073591893" sldId="1088"/>
            <ac:spMk id="19" creationId="{D91070AD-2196-4CFB-A1F9-96A3BCCEAE38}"/>
          </ac:spMkLst>
        </pc:spChg>
      </pc:sldChg>
      <pc:sldChg chg="modSp add del mod modNotesTx">
        <pc:chgData name="Arjan van der Meer" userId="008f28a2-684e-4523-b3ca-dcb37d9c3e5d" providerId="ADAL" clId="{44D73574-4316-4891-B5B8-DDD8C67FFD60}" dt="2021-11-10T07:34:13.834" v="1202" actId="20577"/>
        <pc:sldMkLst>
          <pc:docMk/>
          <pc:sldMk cId="2712997306" sldId="1094"/>
        </pc:sldMkLst>
        <pc:spChg chg="mod">
          <ac:chgData name="Arjan van der Meer" userId="008f28a2-684e-4523-b3ca-dcb37d9c3e5d" providerId="ADAL" clId="{44D73574-4316-4891-B5B8-DDD8C67FFD60}" dt="2021-11-10T07:34:13.834" v="1202" actId="20577"/>
          <ac:spMkLst>
            <pc:docMk/>
            <pc:sldMk cId="2712997306" sldId="1094"/>
            <ac:spMk id="6" creationId="{A7EBF8B7-7F7C-4160-8732-AA20DEF5DC4A}"/>
          </ac:spMkLst>
        </pc:spChg>
      </pc:sldChg>
      <pc:sldChg chg="del mod modShow">
        <pc:chgData name="Arjan van der Meer" userId="008f28a2-684e-4523-b3ca-dcb37d9c3e5d" providerId="ADAL" clId="{44D73574-4316-4891-B5B8-DDD8C67FFD60}" dt="2021-11-09T12:35:55.230" v="1035" actId="47"/>
        <pc:sldMkLst>
          <pc:docMk/>
          <pc:sldMk cId="2435104620" sldId="1098"/>
        </pc:sldMkLst>
      </pc:sldChg>
      <pc:sldChg chg="del mod modShow">
        <pc:chgData name="Arjan van der Meer" userId="008f28a2-684e-4523-b3ca-dcb37d9c3e5d" providerId="ADAL" clId="{44D73574-4316-4891-B5B8-DDD8C67FFD60}" dt="2021-11-09T12:36:34.039" v="1044" actId="47"/>
        <pc:sldMkLst>
          <pc:docMk/>
          <pc:sldMk cId="3959803911" sldId="1113"/>
        </pc:sldMkLst>
      </pc:sldChg>
      <pc:sldChg chg="del mod modShow">
        <pc:chgData name="Arjan van der Meer" userId="008f28a2-684e-4523-b3ca-dcb37d9c3e5d" providerId="ADAL" clId="{44D73574-4316-4891-B5B8-DDD8C67FFD60}" dt="2021-11-09T12:35:56.117" v="1036" actId="47"/>
        <pc:sldMkLst>
          <pc:docMk/>
          <pc:sldMk cId="4228508098" sldId="1115"/>
        </pc:sldMkLst>
      </pc:sldChg>
      <pc:sldChg chg="add del mod modShow">
        <pc:chgData name="Arjan van der Meer" userId="008f28a2-684e-4523-b3ca-dcb37d9c3e5d" providerId="ADAL" clId="{44D73574-4316-4891-B5B8-DDD8C67FFD60}" dt="2021-11-10T07:11:10.953" v="1097" actId="47"/>
        <pc:sldMkLst>
          <pc:docMk/>
          <pc:sldMk cId="2671899600" sldId="1116"/>
        </pc:sldMkLst>
      </pc:sldChg>
      <pc:sldChg chg="add del mod modShow modNotesTx">
        <pc:chgData name="Arjan van der Meer" userId="008f28a2-684e-4523-b3ca-dcb37d9c3e5d" providerId="ADAL" clId="{44D73574-4316-4891-B5B8-DDD8C67FFD60}" dt="2021-11-10T07:11:10.953" v="1097" actId="47"/>
        <pc:sldMkLst>
          <pc:docMk/>
          <pc:sldMk cId="2590100134" sldId="1117"/>
        </pc:sldMkLst>
      </pc:sldChg>
      <pc:sldChg chg="add del">
        <pc:chgData name="Arjan van der Meer" userId="008f28a2-684e-4523-b3ca-dcb37d9c3e5d" providerId="ADAL" clId="{44D73574-4316-4891-B5B8-DDD8C67FFD60}" dt="2021-11-10T07:11:10.953" v="1097" actId="47"/>
        <pc:sldMkLst>
          <pc:docMk/>
          <pc:sldMk cId="847182652" sldId="1119"/>
        </pc:sldMkLst>
      </pc:sldChg>
      <pc:sldChg chg="del mod modShow">
        <pc:chgData name="Arjan van der Meer" userId="008f28a2-684e-4523-b3ca-dcb37d9c3e5d" providerId="ADAL" clId="{44D73574-4316-4891-B5B8-DDD8C67FFD60}" dt="2021-11-09T12:35:53.685" v="1034" actId="47"/>
        <pc:sldMkLst>
          <pc:docMk/>
          <pc:sldMk cId="1057191630" sldId="1122"/>
        </pc:sldMkLst>
      </pc:sldChg>
      <pc:sldChg chg="modSp mod modNotesTx">
        <pc:chgData name="Arjan van der Meer" userId="008f28a2-684e-4523-b3ca-dcb37d9c3e5d" providerId="ADAL" clId="{44D73574-4316-4891-B5B8-DDD8C67FFD60}" dt="2021-11-09T12:22:22.208" v="809" actId="20577"/>
        <pc:sldMkLst>
          <pc:docMk/>
          <pc:sldMk cId="3687647465" sldId="1126"/>
        </pc:sldMkLst>
        <pc:spChg chg="mod">
          <ac:chgData name="Arjan van der Meer" userId="008f28a2-684e-4523-b3ca-dcb37d9c3e5d" providerId="ADAL" clId="{44D73574-4316-4891-B5B8-DDD8C67FFD60}" dt="2021-11-09T12:22:07.150" v="774" actId="20577"/>
          <ac:spMkLst>
            <pc:docMk/>
            <pc:sldMk cId="3687647465" sldId="1126"/>
            <ac:spMk id="7" creationId="{53B82952-3A7E-45C4-AD52-2E6E76E8113E}"/>
          </ac:spMkLst>
        </pc:spChg>
      </pc:sldChg>
      <pc:sldChg chg="modSp add del mod">
        <pc:chgData name="Arjan van der Meer" userId="008f28a2-684e-4523-b3ca-dcb37d9c3e5d" providerId="ADAL" clId="{44D73574-4316-4891-B5B8-DDD8C67FFD60}" dt="2021-11-10T07:11:10.953" v="1097" actId="47"/>
        <pc:sldMkLst>
          <pc:docMk/>
          <pc:sldMk cId="2875932520" sldId="1127"/>
        </pc:sldMkLst>
        <pc:spChg chg="mod">
          <ac:chgData name="Arjan van der Meer" userId="008f28a2-684e-4523-b3ca-dcb37d9c3e5d" providerId="ADAL" clId="{44D73574-4316-4891-B5B8-DDD8C67FFD60}" dt="2021-11-09T12:22:52.322" v="826" actId="20577"/>
          <ac:spMkLst>
            <pc:docMk/>
            <pc:sldMk cId="2875932520" sldId="1127"/>
            <ac:spMk id="7" creationId="{53B82952-3A7E-45C4-AD52-2E6E76E8113E}"/>
          </ac:spMkLst>
        </pc:spChg>
      </pc:sldChg>
      <pc:sldChg chg="add del">
        <pc:chgData name="Arjan van der Meer" userId="008f28a2-684e-4523-b3ca-dcb37d9c3e5d" providerId="ADAL" clId="{44D73574-4316-4891-B5B8-DDD8C67FFD60}" dt="2021-11-10T07:11:10.953" v="1097" actId="47"/>
        <pc:sldMkLst>
          <pc:docMk/>
          <pc:sldMk cId="1288789255" sldId="1128"/>
        </pc:sldMkLst>
      </pc:sldChg>
      <pc:sldChg chg="del mod modShow">
        <pc:chgData name="Arjan van der Meer" userId="008f28a2-684e-4523-b3ca-dcb37d9c3e5d" providerId="ADAL" clId="{44D73574-4316-4891-B5B8-DDD8C67FFD60}" dt="2021-11-09T12:36:20.761" v="1043" actId="47"/>
        <pc:sldMkLst>
          <pc:docMk/>
          <pc:sldMk cId="1427060495" sldId="1131"/>
        </pc:sldMkLst>
      </pc:sldChg>
      <pc:sldChg chg="addSp delSp modSp mod addCm">
        <pc:chgData name="Arjan van der Meer" userId="008f28a2-684e-4523-b3ca-dcb37d9c3e5d" providerId="ADAL" clId="{44D73574-4316-4891-B5B8-DDD8C67FFD60}" dt="2021-11-12T14:27:41.800" v="2032" actId="1589"/>
        <pc:sldMkLst>
          <pc:docMk/>
          <pc:sldMk cId="3651997170" sldId="1132"/>
        </pc:sldMkLst>
        <pc:spChg chg="add del">
          <ac:chgData name="Arjan van der Meer" userId="008f28a2-684e-4523-b3ca-dcb37d9c3e5d" providerId="ADAL" clId="{44D73574-4316-4891-B5B8-DDD8C67FFD60}" dt="2021-11-12T14:14:51.991" v="1953" actId="478"/>
          <ac:spMkLst>
            <pc:docMk/>
            <pc:sldMk cId="3651997170" sldId="1132"/>
            <ac:spMk id="6" creationId="{EEE501CB-55C3-4E94-B296-C0800E35F9BA}"/>
          </ac:spMkLst>
        </pc:spChg>
        <pc:spChg chg="mod">
          <ac:chgData name="Arjan van der Meer" userId="008f28a2-684e-4523-b3ca-dcb37d9c3e5d" providerId="ADAL" clId="{44D73574-4316-4891-B5B8-DDD8C67FFD60}" dt="2021-11-12T14:27:22.788" v="2031" actId="14100"/>
          <ac:spMkLst>
            <pc:docMk/>
            <pc:sldMk cId="3651997170" sldId="1132"/>
            <ac:spMk id="52" creationId="{DABB80B5-58DF-4E21-A55A-930CF537A594}"/>
          </ac:spMkLst>
        </pc:spChg>
        <pc:spChg chg="add mod">
          <ac:chgData name="Arjan van der Meer" userId="008f28a2-684e-4523-b3ca-dcb37d9c3e5d" providerId="ADAL" clId="{44D73574-4316-4891-B5B8-DDD8C67FFD60}" dt="2021-11-05T10:32:28.318" v="585" actId="14100"/>
          <ac:spMkLst>
            <pc:docMk/>
            <pc:sldMk cId="3651997170" sldId="1132"/>
            <ac:spMk id="68" creationId="{B1AC3D0A-B7A6-49F1-9DF0-BD8424AFC3EB}"/>
          </ac:spMkLst>
        </pc:spChg>
        <pc:spChg chg="del mod">
          <ac:chgData name="Arjan van der Meer" userId="008f28a2-684e-4523-b3ca-dcb37d9c3e5d" providerId="ADAL" clId="{44D73574-4316-4891-B5B8-DDD8C67FFD60}" dt="2021-11-12T14:21:46.815" v="2015" actId="478"/>
          <ac:spMkLst>
            <pc:docMk/>
            <pc:sldMk cId="3651997170" sldId="1132"/>
            <ac:spMk id="83" creationId="{3512D7F1-1BC2-4C76-9971-CDF56EDCA6B0}"/>
          </ac:spMkLst>
        </pc:spChg>
        <pc:spChg chg="mod">
          <ac:chgData name="Arjan van der Meer" userId="008f28a2-684e-4523-b3ca-dcb37d9c3e5d" providerId="ADAL" clId="{44D73574-4316-4891-B5B8-DDD8C67FFD60}" dt="2021-11-12T14:15:13.314" v="1954" actId="14100"/>
          <ac:spMkLst>
            <pc:docMk/>
            <pc:sldMk cId="3651997170" sldId="1132"/>
            <ac:spMk id="84" creationId="{E395A1B4-640B-44FC-BC85-9E207C4BB63D}"/>
          </ac:spMkLst>
        </pc:spChg>
        <pc:spChg chg="del">
          <ac:chgData name="Arjan van der Meer" userId="008f28a2-684e-4523-b3ca-dcb37d9c3e5d" providerId="ADAL" clId="{44D73574-4316-4891-B5B8-DDD8C67FFD60}" dt="2021-11-12T14:18:01.605" v="1962" actId="478"/>
          <ac:spMkLst>
            <pc:docMk/>
            <pc:sldMk cId="3651997170" sldId="1132"/>
            <ac:spMk id="85" creationId="{9ABABFDB-AED7-44F6-8383-204414AF2A23}"/>
          </ac:spMkLst>
        </pc:spChg>
        <pc:spChg chg="add del mod">
          <ac:chgData name="Arjan van der Meer" userId="008f28a2-684e-4523-b3ca-dcb37d9c3e5d" providerId="ADAL" clId="{44D73574-4316-4891-B5B8-DDD8C67FFD60}" dt="2021-11-12T14:25:41.907" v="2025"/>
          <ac:spMkLst>
            <pc:docMk/>
            <pc:sldMk cId="3651997170" sldId="1132"/>
            <ac:spMk id="87" creationId="{1BB5BCFF-F22C-4A1B-9D7F-23A1F033F4B8}"/>
          </ac:spMkLst>
        </pc:spChg>
        <pc:spChg chg="add del mod">
          <ac:chgData name="Arjan van der Meer" userId="008f28a2-684e-4523-b3ca-dcb37d9c3e5d" providerId="ADAL" clId="{44D73574-4316-4891-B5B8-DDD8C67FFD60}" dt="2021-11-12T14:25:41.907" v="2025"/>
          <ac:spMkLst>
            <pc:docMk/>
            <pc:sldMk cId="3651997170" sldId="1132"/>
            <ac:spMk id="88" creationId="{DAA3D45A-DB32-4D07-B6BE-135FF1FFE1CC}"/>
          </ac:spMkLst>
        </pc:spChg>
        <pc:spChg chg="add del mod">
          <ac:chgData name="Arjan van der Meer" userId="008f28a2-684e-4523-b3ca-dcb37d9c3e5d" providerId="ADAL" clId="{44D73574-4316-4891-B5B8-DDD8C67FFD60}" dt="2021-11-12T14:25:41.907" v="2025"/>
          <ac:spMkLst>
            <pc:docMk/>
            <pc:sldMk cId="3651997170" sldId="1132"/>
            <ac:spMk id="91" creationId="{99367648-AEFF-4090-8806-F5C4E65F4C55}"/>
          </ac:spMkLst>
        </pc:spChg>
        <pc:spChg chg="mod">
          <ac:chgData name="Arjan van der Meer" userId="008f28a2-684e-4523-b3ca-dcb37d9c3e5d" providerId="ADAL" clId="{44D73574-4316-4891-B5B8-DDD8C67FFD60}" dt="2021-11-12T14:26:48.282" v="2030"/>
          <ac:spMkLst>
            <pc:docMk/>
            <pc:sldMk cId="3651997170" sldId="1132"/>
            <ac:spMk id="92" creationId="{5EE72166-624B-426D-A7F3-94BDF72D73BF}"/>
          </ac:spMkLst>
        </pc:spChg>
      </pc:sldChg>
      <pc:sldChg chg="delSp modSp mod addCm">
        <pc:chgData name="Arjan van der Meer" userId="008f28a2-684e-4523-b3ca-dcb37d9c3e5d" providerId="ADAL" clId="{44D73574-4316-4891-B5B8-DDD8C67FFD60}" dt="2021-11-12T14:30:05.215" v="2036" actId="1589"/>
        <pc:sldMkLst>
          <pc:docMk/>
          <pc:sldMk cId="1878737571" sldId="1133"/>
        </pc:sldMkLst>
        <pc:spChg chg="mod">
          <ac:chgData name="Arjan van der Meer" userId="008f28a2-684e-4523-b3ca-dcb37d9c3e5d" providerId="ADAL" clId="{44D73574-4316-4891-B5B8-DDD8C67FFD60}" dt="2021-11-12T14:29:50.220" v="2035" actId="14100"/>
          <ac:spMkLst>
            <pc:docMk/>
            <pc:sldMk cId="1878737571" sldId="1133"/>
            <ac:spMk id="83" creationId="{3512D7F1-1BC2-4C76-9971-CDF56EDCA6B0}"/>
          </ac:spMkLst>
        </pc:spChg>
        <pc:spChg chg="del">
          <ac:chgData name="Arjan van der Meer" userId="008f28a2-684e-4523-b3ca-dcb37d9c3e5d" providerId="ADAL" clId="{44D73574-4316-4891-B5B8-DDD8C67FFD60}" dt="2021-11-12T14:29:43.314" v="2033" actId="478"/>
          <ac:spMkLst>
            <pc:docMk/>
            <pc:sldMk cId="1878737571" sldId="1133"/>
            <ac:spMk id="84" creationId="{E395A1B4-640B-44FC-BC85-9E207C4BB63D}"/>
          </ac:spMkLst>
        </pc:spChg>
        <pc:spChg chg="del">
          <ac:chgData name="Arjan van der Meer" userId="008f28a2-684e-4523-b3ca-dcb37d9c3e5d" providerId="ADAL" clId="{44D73574-4316-4891-B5B8-DDD8C67FFD60}" dt="2021-11-12T14:29:44.132" v="2034" actId="478"/>
          <ac:spMkLst>
            <pc:docMk/>
            <pc:sldMk cId="1878737571" sldId="1133"/>
            <ac:spMk id="85" creationId="{9ABABFDB-AED7-44F6-8383-204414AF2A23}"/>
          </ac:spMkLst>
        </pc:spChg>
      </pc:sldChg>
      <pc:sldChg chg="delSp modSp mod">
        <pc:chgData name="Arjan van der Meer" userId="008f28a2-684e-4523-b3ca-dcb37d9c3e5d" providerId="ADAL" clId="{44D73574-4316-4891-B5B8-DDD8C67FFD60}" dt="2021-11-12T14:30:24.679" v="2039" actId="14100"/>
        <pc:sldMkLst>
          <pc:docMk/>
          <pc:sldMk cId="4271800236" sldId="1134"/>
        </pc:sldMkLst>
        <pc:spChg chg="mod">
          <ac:chgData name="Arjan van der Meer" userId="008f28a2-684e-4523-b3ca-dcb37d9c3e5d" providerId="ADAL" clId="{44D73574-4316-4891-B5B8-DDD8C67FFD60}" dt="2021-11-12T14:30:24.679" v="2039" actId="14100"/>
          <ac:spMkLst>
            <pc:docMk/>
            <pc:sldMk cId="4271800236" sldId="1134"/>
            <ac:spMk id="83" creationId="{3512D7F1-1BC2-4C76-9971-CDF56EDCA6B0}"/>
          </ac:spMkLst>
        </pc:spChg>
        <pc:spChg chg="del">
          <ac:chgData name="Arjan van der Meer" userId="008f28a2-684e-4523-b3ca-dcb37d9c3e5d" providerId="ADAL" clId="{44D73574-4316-4891-B5B8-DDD8C67FFD60}" dt="2021-11-12T14:30:19.691" v="2037" actId="478"/>
          <ac:spMkLst>
            <pc:docMk/>
            <pc:sldMk cId="4271800236" sldId="1134"/>
            <ac:spMk id="84" creationId="{E395A1B4-640B-44FC-BC85-9E207C4BB63D}"/>
          </ac:spMkLst>
        </pc:spChg>
        <pc:spChg chg="del">
          <ac:chgData name="Arjan van der Meer" userId="008f28a2-684e-4523-b3ca-dcb37d9c3e5d" providerId="ADAL" clId="{44D73574-4316-4891-B5B8-DDD8C67FFD60}" dt="2021-11-12T14:30:20.624" v="2038" actId="478"/>
          <ac:spMkLst>
            <pc:docMk/>
            <pc:sldMk cId="4271800236" sldId="1134"/>
            <ac:spMk id="85" creationId="{9ABABFDB-AED7-44F6-8383-204414AF2A23}"/>
          </ac:spMkLst>
        </pc:spChg>
      </pc:sldChg>
      <pc:sldChg chg="addSp delSp modSp new del mod">
        <pc:chgData name="Arjan van der Meer" userId="008f28a2-684e-4523-b3ca-dcb37d9c3e5d" providerId="ADAL" clId="{44D73574-4316-4891-B5B8-DDD8C67FFD60}" dt="2021-11-12T12:28:43.658" v="1575" actId="2696"/>
        <pc:sldMkLst>
          <pc:docMk/>
          <pc:sldMk cId="3738793062" sldId="1135"/>
        </pc:sldMkLst>
        <pc:spChg chg="del">
          <ac:chgData name="Arjan van der Meer" userId="008f28a2-684e-4523-b3ca-dcb37d9c3e5d" providerId="ADAL" clId="{44D73574-4316-4891-B5B8-DDD8C67FFD60}" dt="2021-11-10T09:01:59.959" v="1215" actId="478"/>
          <ac:spMkLst>
            <pc:docMk/>
            <pc:sldMk cId="3738793062" sldId="1135"/>
            <ac:spMk id="5" creationId="{749F28C2-EF21-40A5-BA47-41482F182661}"/>
          </ac:spMkLst>
        </pc:spChg>
        <pc:spChg chg="mod">
          <ac:chgData name="Arjan van der Meer" userId="008f28a2-684e-4523-b3ca-dcb37d9c3e5d" providerId="ADAL" clId="{44D73574-4316-4891-B5B8-DDD8C67FFD60}" dt="2021-11-09T12:15:17.720" v="614" actId="20577"/>
          <ac:spMkLst>
            <pc:docMk/>
            <pc:sldMk cId="3738793062" sldId="1135"/>
            <ac:spMk id="6" creationId="{4B2CB6F9-DD5F-4630-A2A1-671C48215996}"/>
          </ac:spMkLst>
        </pc:spChg>
        <pc:spChg chg="add del mod">
          <ac:chgData name="Arjan van der Meer" userId="008f28a2-684e-4523-b3ca-dcb37d9c3e5d" providerId="ADAL" clId="{44D73574-4316-4891-B5B8-DDD8C67FFD60}" dt="2021-11-10T09:07:42.679" v="1221" actId="21"/>
          <ac:spMkLst>
            <pc:docMk/>
            <pc:sldMk cId="3738793062" sldId="1135"/>
            <ac:spMk id="9" creationId="{BD90F256-D1FA-4218-BDB4-FE9C3F55E3C0}"/>
          </ac:spMkLst>
        </pc:spChg>
        <pc:spChg chg="add del mod">
          <ac:chgData name="Arjan van der Meer" userId="008f28a2-684e-4523-b3ca-dcb37d9c3e5d" providerId="ADAL" clId="{44D73574-4316-4891-B5B8-DDD8C67FFD60}" dt="2021-11-10T09:07:42.679" v="1221" actId="21"/>
          <ac:spMkLst>
            <pc:docMk/>
            <pc:sldMk cId="3738793062" sldId="1135"/>
            <ac:spMk id="10" creationId="{9A68ADDC-55F7-4569-B8B5-A063D88FE6A0}"/>
          </ac:spMkLst>
        </pc:spChg>
        <pc:spChg chg="add del mod">
          <ac:chgData name="Arjan van der Meer" userId="008f28a2-684e-4523-b3ca-dcb37d9c3e5d" providerId="ADAL" clId="{44D73574-4316-4891-B5B8-DDD8C67FFD60}" dt="2021-11-10T09:07:42.679" v="1221" actId="21"/>
          <ac:spMkLst>
            <pc:docMk/>
            <pc:sldMk cId="3738793062" sldId="1135"/>
            <ac:spMk id="11" creationId="{5C50D9B5-243A-4A5F-8670-611864AD5028}"/>
          </ac:spMkLst>
        </pc:spChg>
        <pc:spChg chg="add del mod">
          <ac:chgData name="Arjan van der Meer" userId="008f28a2-684e-4523-b3ca-dcb37d9c3e5d" providerId="ADAL" clId="{44D73574-4316-4891-B5B8-DDD8C67FFD60}" dt="2021-11-10T09:01:42.008" v="1212" actId="478"/>
          <ac:spMkLst>
            <pc:docMk/>
            <pc:sldMk cId="3738793062" sldId="1135"/>
            <ac:spMk id="12" creationId="{61BFC672-23E0-47FD-932F-2548908ABBA3}"/>
          </ac:spMkLst>
        </pc:spChg>
        <pc:spChg chg="add del mod">
          <ac:chgData name="Arjan van der Meer" userId="008f28a2-684e-4523-b3ca-dcb37d9c3e5d" providerId="ADAL" clId="{44D73574-4316-4891-B5B8-DDD8C67FFD60}" dt="2021-11-10T09:07:42.679" v="1221" actId="21"/>
          <ac:spMkLst>
            <pc:docMk/>
            <pc:sldMk cId="3738793062" sldId="1135"/>
            <ac:spMk id="14" creationId="{385A7555-D485-414F-94C0-1859714F39FB}"/>
          </ac:spMkLst>
        </pc:spChg>
        <pc:picChg chg="add del mod">
          <ac:chgData name="Arjan van der Meer" userId="008f28a2-684e-4523-b3ca-dcb37d9c3e5d" providerId="ADAL" clId="{44D73574-4316-4891-B5B8-DDD8C67FFD60}" dt="2021-11-10T09:07:42.679" v="1221" actId="21"/>
          <ac:picMkLst>
            <pc:docMk/>
            <pc:sldMk cId="3738793062" sldId="1135"/>
            <ac:picMk id="7" creationId="{433D398A-8D6B-4D52-ACAB-4047C0596ED6}"/>
          </ac:picMkLst>
        </pc:picChg>
        <pc:picChg chg="add del mod">
          <ac:chgData name="Arjan van der Meer" userId="008f28a2-684e-4523-b3ca-dcb37d9c3e5d" providerId="ADAL" clId="{44D73574-4316-4891-B5B8-DDD8C67FFD60}" dt="2021-11-10T09:07:42.679" v="1221" actId="21"/>
          <ac:picMkLst>
            <pc:docMk/>
            <pc:sldMk cId="3738793062" sldId="1135"/>
            <ac:picMk id="8" creationId="{D8EE5834-2CD6-446D-943E-01651895DBAE}"/>
          </ac:picMkLst>
        </pc:picChg>
        <pc:picChg chg="add del mod">
          <ac:chgData name="Arjan van der Meer" userId="008f28a2-684e-4523-b3ca-dcb37d9c3e5d" providerId="ADAL" clId="{44D73574-4316-4891-B5B8-DDD8C67FFD60}" dt="2021-11-10T09:07:42.679" v="1221" actId="21"/>
          <ac:picMkLst>
            <pc:docMk/>
            <pc:sldMk cId="3738793062" sldId="1135"/>
            <ac:picMk id="13" creationId="{95034EFE-1681-458C-81A3-32E48B8F4DD2}"/>
          </ac:picMkLst>
        </pc:picChg>
        <pc:picChg chg="add del mod">
          <ac:chgData name="Arjan van der Meer" userId="008f28a2-684e-4523-b3ca-dcb37d9c3e5d" providerId="ADAL" clId="{44D73574-4316-4891-B5B8-DDD8C67FFD60}" dt="2021-11-10T09:07:42.679" v="1221" actId="21"/>
          <ac:picMkLst>
            <pc:docMk/>
            <pc:sldMk cId="3738793062" sldId="1135"/>
            <ac:picMk id="15" creationId="{A1DF6BE5-A83F-4CC6-B0EF-2959899E0444}"/>
          </ac:picMkLst>
        </pc:picChg>
      </pc:sldChg>
      <pc:sldChg chg="addSp delSp modSp new mod modClrScheme chgLayout">
        <pc:chgData name="Arjan van der Meer" userId="008f28a2-684e-4523-b3ca-dcb37d9c3e5d" providerId="ADAL" clId="{44D73574-4316-4891-B5B8-DDD8C67FFD60}" dt="2021-11-10T07:10:41.392" v="1068" actId="20577"/>
        <pc:sldMkLst>
          <pc:docMk/>
          <pc:sldMk cId="3982984944" sldId="1136"/>
        </pc:sldMkLst>
        <pc:spChg chg="mod ord">
          <ac:chgData name="Arjan van der Meer" userId="008f28a2-684e-4523-b3ca-dcb37d9c3e5d" providerId="ADAL" clId="{44D73574-4316-4891-B5B8-DDD8C67FFD60}" dt="2021-11-10T07:10:33.554" v="1049" actId="700"/>
          <ac:spMkLst>
            <pc:docMk/>
            <pc:sldMk cId="3982984944" sldId="1136"/>
            <ac:spMk id="2" creationId="{5B720DED-4D29-431F-B624-85D9C647FAE0}"/>
          </ac:spMkLst>
        </pc:spChg>
        <pc:spChg chg="mod ord">
          <ac:chgData name="Arjan van der Meer" userId="008f28a2-684e-4523-b3ca-dcb37d9c3e5d" providerId="ADAL" clId="{44D73574-4316-4891-B5B8-DDD8C67FFD60}" dt="2021-11-10T07:10:33.554" v="1049" actId="700"/>
          <ac:spMkLst>
            <pc:docMk/>
            <pc:sldMk cId="3982984944" sldId="1136"/>
            <ac:spMk id="3" creationId="{C933EDF8-497B-4E3F-89A2-88CA75801EEE}"/>
          </ac:spMkLst>
        </pc:spChg>
        <pc:spChg chg="mod ord">
          <ac:chgData name="Arjan van der Meer" userId="008f28a2-684e-4523-b3ca-dcb37d9c3e5d" providerId="ADAL" clId="{44D73574-4316-4891-B5B8-DDD8C67FFD60}" dt="2021-11-10T07:10:33.554" v="1049" actId="700"/>
          <ac:spMkLst>
            <pc:docMk/>
            <pc:sldMk cId="3982984944" sldId="1136"/>
            <ac:spMk id="4" creationId="{5C1E1EDF-3706-4FD9-9A74-D86739543DDF}"/>
          </ac:spMkLst>
        </pc:spChg>
        <pc:spChg chg="del mod ord">
          <ac:chgData name="Arjan van der Meer" userId="008f28a2-684e-4523-b3ca-dcb37d9c3e5d" providerId="ADAL" clId="{44D73574-4316-4891-B5B8-DDD8C67FFD60}" dt="2021-11-10T07:10:33.554" v="1049" actId="700"/>
          <ac:spMkLst>
            <pc:docMk/>
            <pc:sldMk cId="3982984944" sldId="1136"/>
            <ac:spMk id="5" creationId="{86F1CA9A-09A0-4312-BE0C-BE37F9E00F1A}"/>
          </ac:spMkLst>
        </pc:spChg>
        <pc:spChg chg="del mod ord">
          <ac:chgData name="Arjan van der Meer" userId="008f28a2-684e-4523-b3ca-dcb37d9c3e5d" providerId="ADAL" clId="{44D73574-4316-4891-B5B8-DDD8C67FFD60}" dt="2021-11-10T07:10:33.554" v="1049" actId="700"/>
          <ac:spMkLst>
            <pc:docMk/>
            <pc:sldMk cId="3982984944" sldId="1136"/>
            <ac:spMk id="6" creationId="{5907DC8C-4B14-473A-88CB-65474C69CA88}"/>
          </ac:spMkLst>
        </pc:spChg>
        <pc:spChg chg="add mod ord">
          <ac:chgData name="Arjan van der Meer" userId="008f28a2-684e-4523-b3ca-dcb37d9c3e5d" providerId="ADAL" clId="{44D73574-4316-4891-B5B8-DDD8C67FFD60}" dt="2021-11-10T07:10:41.392" v="1068" actId="20577"/>
          <ac:spMkLst>
            <pc:docMk/>
            <pc:sldMk cId="3982984944" sldId="1136"/>
            <ac:spMk id="7" creationId="{F06FE84F-D398-4162-9970-186E96933487}"/>
          </ac:spMkLst>
        </pc:spChg>
        <pc:spChg chg="add mod ord">
          <ac:chgData name="Arjan van der Meer" userId="008f28a2-684e-4523-b3ca-dcb37d9c3e5d" providerId="ADAL" clId="{44D73574-4316-4891-B5B8-DDD8C67FFD60}" dt="2021-11-10T07:10:33.554" v="1049" actId="700"/>
          <ac:spMkLst>
            <pc:docMk/>
            <pc:sldMk cId="3982984944" sldId="1136"/>
            <ac:spMk id="8" creationId="{C802048E-3A3E-4525-B53D-07516705A6A5}"/>
          </ac:spMkLst>
        </pc:spChg>
      </pc:sldChg>
      <pc:sldChg chg="addSp delSp modSp new mod modClrScheme chgLayout">
        <pc:chgData name="Arjan van der Meer" userId="008f28a2-684e-4523-b3ca-dcb37d9c3e5d" providerId="ADAL" clId="{44D73574-4316-4891-B5B8-DDD8C67FFD60}" dt="2021-11-10T07:12:18.904" v="1108" actId="20577"/>
        <pc:sldMkLst>
          <pc:docMk/>
          <pc:sldMk cId="374201696" sldId="1137"/>
        </pc:sldMkLst>
        <pc:spChg chg="mod ord">
          <ac:chgData name="Arjan van der Meer" userId="008f28a2-684e-4523-b3ca-dcb37d9c3e5d" providerId="ADAL" clId="{44D73574-4316-4891-B5B8-DDD8C67FFD60}" dt="2021-11-10T07:10:51.840" v="1070" actId="700"/>
          <ac:spMkLst>
            <pc:docMk/>
            <pc:sldMk cId="374201696" sldId="1137"/>
            <ac:spMk id="2" creationId="{1DF792D5-4DC1-4AF8-99F0-70885865169C}"/>
          </ac:spMkLst>
        </pc:spChg>
        <pc:spChg chg="mod ord">
          <ac:chgData name="Arjan van der Meer" userId="008f28a2-684e-4523-b3ca-dcb37d9c3e5d" providerId="ADAL" clId="{44D73574-4316-4891-B5B8-DDD8C67FFD60}" dt="2021-11-10T07:10:51.840" v="1070" actId="700"/>
          <ac:spMkLst>
            <pc:docMk/>
            <pc:sldMk cId="374201696" sldId="1137"/>
            <ac:spMk id="3" creationId="{6A776CF2-F6B2-4F5C-830F-B91976A8FED6}"/>
          </ac:spMkLst>
        </pc:spChg>
        <pc:spChg chg="mod ord">
          <ac:chgData name="Arjan van der Meer" userId="008f28a2-684e-4523-b3ca-dcb37d9c3e5d" providerId="ADAL" clId="{44D73574-4316-4891-B5B8-DDD8C67FFD60}" dt="2021-11-10T07:10:51.840" v="1070" actId="700"/>
          <ac:spMkLst>
            <pc:docMk/>
            <pc:sldMk cId="374201696" sldId="1137"/>
            <ac:spMk id="4" creationId="{DB1519D5-BC1C-4BDD-B765-929E4F0A92E8}"/>
          </ac:spMkLst>
        </pc:spChg>
        <pc:spChg chg="del mod ord">
          <ac:chgData name="Arjan van der Meer" userId="008f28a2-684e-4523-b3ca-dcb37d9c3e5d" providerId="ADAL" clId="{44D73574-4316-4891-B5B8-DDD8C67FFD60}" dt="2021-11-10T07:10:51.840" v="1070" actId="700"/>
          <ac:spMkLst>
            <pc:docMk/>
            <pc:sldMk cId="374201696" sldId="1137"/>
            <ac:spMk id="5" creationId="{B70B6B35-F627-42C5-B13D-A765D3634797}"/>
          </ac:spMkLst>
        </pc:spChg>
        <pc:spChg chg="del mod ord">
          <ac:chgData name="Arjan van der Meer" userId="008f28a2-684e-4523-b3ca-dcb37d9c3e5d" providerId="ADAL" clId="{44D73574-4316-4891-B5B8-DDD8C67FFD60}" dt="2021-11-10T07:10:51.840" v="1070" actId="700"/>
          <ac:spMkLst>
            <pc:docMk/>
            <pc:sldMk cId="374201696" sldId="1137"/>
            <ac:spMk id="6" creationId="{A2016308-69EC-471B-9501-A06C10AEB62D}"/>
          </ac:spMkLst>
        </pc:spChg>
        <pc:spChg chg="add mod ord">
          <ac:chgData name="Arjan van der Meer" userId="008f28a2-684e-4523-b3ca-dcb37d9c3e5d" providerId="ADAL" clId="{44D73574-4316-4891-B5B8-DDD8C67FFD60}" dt="2021-11-10T07:12:18.904" v="1108" actId="20577"/>
          <ac:spMkLst>
            <pc:docMk/>
            <pc:sldMk cId="374201696" sldId="1137"/>
            <ac:spMk id="7" creationId="{40667537-0548-4EF1-906F-336FAEBD0F90}"/>
          </ac:spMkLst>
        </pc:spChg>
        <pc:spChg chg="add mod ord">
          <ac:chgData name="Arjan van der Meer" userId="008f28a2-684e-4523-b3ca-dcb37d9c3e5d" providerId="ADAL" clId="{44D73574-4316-4891-B5B8-DDD8C67FFD60}" dt="2021-11-10T07:10:51.840" v="1070" actId="700"/>
          <ac:spMkLst>
            <pc:docMk/>
            <pc:sldMk cId="374201696" sldId="1137"/>
            <ac:spMk id="8" creationId="{081F577F-5130-41D2-BE0B-59BEC1555AB4}"/>
          </ac:spMkLst>
        </pc:spChg>
      </pc:sldChg>
      <pc:sldChg chg="addSp delSp modSp new mod ord modAnim modShow delCm">
        <pc:chgData name="Arjan van der Meer" userId="008f28a2-684e-4523-b3ca-dcb37d9c3e5d" providerId="ADAL" clId="{44D73574-4316-4891-B5B8-DDD8C67FFD60}" dt="2021-11-17T10:10:25.553" v="2842" actId="1592"/>
        <pc:sldMkLst>
          <pc:docMk/>
          <pc:sldMk cId="147180483" sldId="1138"/>
        </pc:sldMkLst>
        <pc:spChg chg="del">
          <ac:chgData name="Arjan van der Meer" userId="008f28a2-684e-4523-b3ca-dcb37d9c3e5d" providerId="ADAL" clId="{44D73574-4316-4891-B5B8-DDD8C67FFD60}" dt="2021-11-10T09:07:47.456" v="1222" actId="478"/>
          <ac:spMkLst>
            <pc:docMk/>
            <pc:sldMk cId="147180483" sldId="1138"/>
            <ac:spMk id="5" creationId="{8BA3D0FF-7AC4-4CD0-AF51-A2C31399AD49}"/>
          </ac:spMkLst>
        </pc:spChg>
        <pc:spChg chg="mod">
          <ac:chgData name="Arjan van der Meer" userId="008f28a2-684e-4523-b3ca-dcb37d9c3e5d" providerId="ADAL" clId="{44D73574-4316-4891-B5B8-DDD8C67FFD60}" dt="2021-11-10T09:07:57.497" v="1241" actId="20577"/>
          <ac:spMkLst>
            <pc:docMk/>
            <pc:sldMk cId="147180483" sldId="1138"/>
            <ac:spMk id="6" creationId="{870AA5AF-7A31-4DA4-B6D5-2818B6C68B5D}"/>
          </ac:spMkLst>
        </pc:spChg>
        <pc:spChg chg="add del mod">
          <ac:chgData name="Arjan van der Meer" userId="008f28a2-684e-4523-b3ca-dcb37d9c3e5d" providerId="ADAL" clId="{44D73574-4316-4891-B5B8-DDD8C67FFD60}" dt="2021-11-10T09:08:22.949" v="1243" actId="478"/>
          <ac:spMkLst>
            <pc:docMk/>
            <pc:sldMk cId="147180483" sldId="1138"/>
            <ac:spMk id="9" creationId="{3D1581BA-9E4B-43AA-A009-34CEBB800DDE}"/>
          </ac:spMkLst>
        </pc:spChg>
        <pc:spChg chg="add del mod">
          <ac:chgData name="Arjan van der Meer" userId="008f28a2-684e-4523-b3ca-dcb37d9c3e5d" providerId="ADAL" clId="{44D73574-4316-4891-B5B8-DDD8C67FFD60}" dt="2021-11-10T09:08:22.949" v="1243" actId="478"/>
          <ac:spMkLst>
            <pc:docMk/>
            <pc:sldMk cId="147180483" sldId="1138"/>
            <ac:spMk id="10" creationId="{88B023CE-6C26-4178-AB46-FD8D3EA11EE0}"/>
          </ac:spMkLst>
        </pc:spChg>
        <pc:spChg chg="add del mod">
          <ac:chgData name="Arjan van der Meer" userId="008f28a2-684e-4523-b3ca-dcb37d9c3e5d" providerId="ADAL" clId="{44D73574-4316-4891-B5B8-DDD8C67FFD60}" dt="2021-11-10T09:08:22.949" v="1243" actId="478"/>
          <ac:spMkLst>
            <pc:docMk/>
            <pc:sldMk cId="147180483" sldId="1138"/>
            <ac:spMk id="11" creationId="{C2DA5E3C-D8F5-40EB-85ED-C0C493BCF26A}"/>
          </ac:spMkLst>
        </pc:spChg>
        <pc:spChg chg="add del mod">
          <ac:chgData name="Arjan van der Meer" userId="008f28a2-684e-4523-b3ca-dcb37d9c3e5d" providerId="ADAL" clId="{44D73574-4316-4891-B5B8-DDD8C67FFD60}" dt="2021-11-10T09:08:22.949" v="1243" actId="478"/>
          <ac:spMkLst>
            <pc:docMk/>
            <pc:sldMk cId="147180483" sldId="1138"/>
            <ac:spMk id="13" creationId="{C57EDFC4-F768-421A-A0F9-A666271F1799}"/>
          </ac:spMkLst>
        </pc:spChg>
        <pc:spChg chg="mod">
          <ac:chgData name="Arjan van der Meer" userId="008f28a2-684e-4523-b3ca-dcb37d9c3e5d" providerId="ADAL" clId="{44D73574-4316-4891-B5B8-DDD8C67FFD60}" dt="2021-11-10T09:08:19.835" v="1242"/>
          <ac:spMkLst>
            <pc:docMk/>
            <pc:sldMk cId="147180483" sldId="1138"/>
            <ac:spMk id="16" creationId="{782E7DC0-BB21-4B46-BC0F-A6DC609D3E8A}"/>
          </ac:spMkLst>
        </pc:spChg>
        <pc:spChg chg="mod">
          <ac:chgData name="Arjan van der Meer" userId="008f28a2-684e-4523-b3ca-dcb37d9c3e5d" providerId="ADAL" clId="{44D73574-4316-4891-B5B8-DDD8C67FFD60}" dt="2021-11-10T09:08:19.835" v="1242"/>
          <ac:spMkLst>
            <pc:docMk/>
            <pc:sldMk cId="147180483" sldId="1138"/>
            <ac:spMk id="20" creationId="{FC86A257-87F5-486A-A048-5602069851B9}"/>
          </ac:spMkLst>
        </pc:spChg>
        <pc:spChg chg="mod">
          <ac:chgData name="Arjan van der Meer" userId="008f28a2-684e-4523-b3ca-dcb37d9c3e5d" providerId="ADAL" clId="{44D73574-4316-4891-B5B8-DDD8C67FFD60}" dt="2021-11-10T09:08:19.835" v="1242"/>
          <ac:spMkLst>
            <pc:docMk/>
            <pc:sldMk cId="147180483" sldId="1138"/>
            <ac:spMk id="21" creationId="{5003CE27-D010-4586-8CB6-F4644F01EBA8}"/>
          </ac:spMkLst>
        </pc:spChg>
        <pc:spChg chg="mod">
          <ac:chgData name="Arjan van der Meer" userId="008f28a2-684e-4523-b3ca-dcb37d9c3e5d" providerId="ADAL" clId="{44D73574-4316-4891-B5B8-DDD8C67FFD60}" dt="2021-11-10T09:08:19.835" v="1242"/>
          <ac:spMkLst>
            <pc:docMk/>
            <pc:sldMk cId="147180483" sldId="1138"/>
            <ac:spMk id="22" creationId="{848232A5-0586-4427-B4DD-336E7D26D910}"/>
          </ac:spMkLst>
        </pc:spChg>
        <pc:spChg chg="mod">
          <ac:chgData name="Arjan van der Meer" userId="008f28a2-684e-4523-b3ca-dcb37d9c3e5d" providerId="ADAL" clId="{44D73574-4316-4891-B5B8-DDD8C67FFD60}" dt="2021-11-10T09:08:19.835" v="1242"/>
          <ac:spMkLst>
            <pc:docMk/>
            <pc:sldMk cId="147180483" sldId="1138"/>
            <ac:spMk id="23" creationId="{75528CFE-E710-4251-9D1D-0D4BBFCBFC2A}"/>
          </ac:spMkLst>
        </pc:spChg>
        <pc:spChg chg="mod">
          <ac:chgData name="Arjan van der Meer" userId="008f28a2-684e-4523-b3ca-dcb37d9c3e5d" providerId="ADAL" clId="{44D73574-4316-4891-B5B8-DDD8C67FFD60}" dt="2021-11-10T09:08:19.835" v="1242"/>
          <ac:spMkLst>
            <pc:docMk/>
            <pc:sldMk cId="147180483" sldId="1138"/>
            <ac:spMk id="24" creationId="{FA621C7F-0808-42DC-A816-AD91848C0BFF}"/>
          </ac:spMkLst>
        </pc:spChg>
        <pc:spChg chg="add mod">
          <ac:chgData name="Arjan van der Meer" userId="008f28a2-684e-4523-b3ca-dcb37d9c3e5d" providerId="ADAL" clId="{44D73574-4316-4891-B5B8-DDD8C67FFD60}" dt="2021-11-12T15:01:48.892" v="2077" actId="164"/>
          <ac:spMkLst>
            <pc:docMk/>
            <pc:sldMk cId="147180483" sldId="1138"/>
            <ac:spMk id="25" creationId="{2CD04040-7502-4A10-9561-7F6898D711EE}"/>
          </ac:spMkLst>
        </pc:spChg>
        <pc:spChg chg="add mod">
          <ac:chgData name="Arjan van der Meer" userId="008f28a2-684e-4523-b3ca-dcb37d9c3e5d" providerId="ADAL" clId="{44D73574-4316-4891-B5B8-DDD8C67FFD60}" dt="2021-11-12T15:01:48.892" v="2077" actId="164"/>
          <ac:spMkLst>
            <pc:docMk/>
            <pc:sldMk cId="147180483" sldId="1138"/>
            <ac:spMk id="28" creationId="{E3483678-514B-423F-A990-932DAC675BDB}"/>
          </ac:spMkLst>
        </pc:spChg>
        <pc:spChg chg="add mod">
          <ac:chgData name="Arjan van der Meer" userId="008f28a2-684e-4523-b3ca-dcb37d9c3e5d" providerId="ADAL" clId="{44D73574-4316-4891-B5B8-DDD8C67FFD60}" dt="2021-11-12T15:01:48.892" v="2077" actId="164"/>
          <ac:spMkLst>
            <pc:docMk/>
            <pc:sldMk cId="147180483" sldId="1138"/>
            <ac:spMk id="29" creationId="{39CB23F7-208D-4444-B789-74589DD6EB08}"/>
          </ac:spMkLst>
        </pc:spChg>
        <pc:spChg chg="add mod">
          <ac:chgData name="Arjan van der Meer" userId="008f28a2-684e-4523-b3ca-dcb37d9c3e5d" providerId="ADAL" clId="{44D73574-4316-4891-B5B8-DDD8C67FFD60}" dt="2021-11-12T15:01:48.892" v="2077" actId="164"/>
          <ac:spMkLst>
            <pc:docMk/>
            <pc:sldMk cId="147180483" sldId="1138"/>
            <ac:spMk id="30" creationId="{C5DC2A8D-21C6-4D8F-97B7-50D76B80BC2C}"/>
          </ac:spMkLst>
        </pc:spChg>
        <pc:spChg chg="add del mod">
          <ac:chgData name="Arjan van der Meer" userId="008f28a2-684e-4523-b3ca-dcb37d9c3e5d" providerId="ADAL" clId="{44D73574-4316-4891-B5B8-DDD8C67FFD60}" dt="2021-11-10T09:15:07.086" v="1249" actId="478"/>
          <ac:spMkLst>
            <pc:docMk/>
            <pc:sldMk cId="147180483" sldId="1138"/>
            <ac:spMk id="33" creationId="{80A88D0C-0687-4362-B22E-D9A87EB1A7B0}"/>
          </ac:spMkLst>
        </pc:spChg>
        <pc:spChg chg="add del mod">
          <ac:chgData name="Arjan van der Meer" userId="008f28a2-684e-4523-b3ca-dcb37d9c3e5d" providerId="ADAL" clId="{44D73574-4316-4891-B5B8-DDD8C67FFD60}" dt="2021-11-10T09:15:05.286" v="1247" actId="478"/>
          <ac:spMkLst>
            <pc:docMk/>
            <pc:sldMk cId="147180483" sldId="1138"/>
            <ac:spMk id="35" creationId="{89C7FC99-603A-496B-863B-9061CAB6BBBE}"/>
          </ac:spMkLst>
        </pc:spChg>
        <pc:spChg chg="add mod">
          <ac:chgData name="Arjan van der Meer" userId="008f28a2-684e-4523-b3ca-dcb37d9c3e5d" providerId="ADAL" clId="{44D73574-4316-4891-B5B8-DDD8C67FFD60}" dt="2021-11-12T15:01:48.892" v="2077" actId="164"/>
          <ac:spMkLst>
            <pc:docMk/>
            <pc:sldMk cId="147180483" sldId="1138"/>
            <ac:spMk id="41" creationId="{2150E8DC-374C-4DAC-8316-2EE166C42F65}"/>
          </ac:spMkLst>
        </pc:spChg>
        <pc:spChg chg="add mod">
          <ac:chgData name="Arjan van der Meer" userId="008f28a2-684e-4523-b3ca-dcb37d9c3e5d" providerId="ADAL" clId="{44D73574-4316-4891-B5B8-DDD8C67FFD60}" dt="2021-11-12T15:01:48.892" v="2077" actId="164"/>
          <ac:spMkLst>
            <pc:docMk/>
            <pc:sldMk cId="147180483" sldId="1138"/>
            <ac:spMk id="44" creationId="{8B2ABE26-B772-4FC0-844E-760135C32886}"/>
          </ac:spMkLst>
        </pc:spChg>
        <pc:spChg chg="add mod">
          <ac:chgData name="Arjan van der Meer" userId="008f28a2-684e-4523-b3ca-dcb37d9c3e5d" providerId="ADAL" clId="{44D73574-4316-4891-B5B8-DDD8C67FFD60}" dt="2021-11-12T15:01:48.892" v="2077" actId="164"/>
          <ac:spMkLst>
            <pc:docMk/>
            <pc:sldMk cId="147180483" sldId="1138"/>
            <ac:spMk id="45" creationId="{F09BB88C-FD5B-4DD5-94F8-193941B11AA4}"/>
          </ac:spMkLst>
        </pc:spChg>
        <pc:spChg chg="add mod">
          <ac:chgData name="Arjan van der Meer" userId="008f28a2-684e-4523-b3ca-dcb37d9c3e5d" providerId="ADAL" clId="{44D73574-4316-4891-B5B8-DDD8C67FFD60}" dt="2021-11-12T15:01:48.892" v="2077" actId="164"/>
          <ac:spMkLst>
            <pc:docMk/>
            <pc:sldMk cId="147180483" sldId="1138"/>
            <ac:spMk id="46" creationId="{3222D791-D20C-4EF9-90DC-96E0D8AE7901}"/>
          </ac:spMkLst>
        </pc:spChg>
        <pc:spChg chg="add mod">
          <ac:chgData name="Arjan van der Meer" userId="008f28a2-684e-4523-b3ca-dcb37d9c3e5d" providerId="ADAL" clId="{44D73574-4316-4891-B5B8-DDD8C67FFD60}" dt="2021-11-10T09:47:22.587" v="1467" actId="1076"/>
          <ac:spMkLst>
            <pc:docMk/>
            <pc:sldMk cId="147180483" sldId="1138"/>
            <ac:spMk id="49" creationId="{4BF0517C-DCA4-4588-9A23-C3BCB34BB041}"/>
          </ac:spMkLst>
        </pc:spChg>
        <pc:spChg chg="add mod">
          <ac:chgData name="Arjan van der Meer" userId="008f28a2-684e-4523-b3ca-dcb37d9c3e5d" providerId="ADAL" clId="{44D73574-4316-4891-B5B8-DDD8C67FFD60}" dt="2021-11-10T09:47:22.587" v="1467" actId="1076"/>
          <ac:spMkLst>
            <pc:docMk/>
            <pc:sldMk cId="147180483" sldId="1138"/>
            <ac:spMk id="52" creationId="{8E7DFBE5-DC53-4E92-930D-013F341CA29B}"/>
          </ac:spMkLst>
        </pc:spChg>
        <pc:spChg chg="add mod">
          <ac:chgData name="Arjan van der Meer" userId="008f28a2-684e-4523-b3ca-dcb37d9c3e5d" providerId="ADAL" clId="{44D73574-4316-4891-B5B8-DDD8C67FFD60}" dt="2021-11-10T09:47:22.587" v="1467" actId="1076"/>
          <ac:spMkLst>
            <pc:docMk/>
            <pc:sldMk cId="147180483" sldId="1138"/>
            <ac:spMk id="53" creationId="{1BC41FF4-8B16-4E12-898F-654448716372}"/>
          </ac:spMkLst>
        </pc:spChg>
        <pc:spChg chg="add del mod">
          <ac:chgData name="Arjan van der Meer" userId="008f28a2-684e-4523-b3ca-dcb37d9c3e5d" providerId="ADAL" clId="{44D73574-4316-4891-B5B8-DDD8C67FFD60}" dt="2021-11-10T09:21:03.702" v="1259" actId="478"/>
          <ac:spMkLst>
            <pc:docMk/>
            <pc:sldMk cId="147180483" sldId="1138"/>
            <ac:spMk id="54" creationId="{6E072028-2A20-4DEA-9D28-BC32B49E8256}"/>
          </ac:spMkLst>
        </pc:spChg>
        <pc:spChg chg="add mod">
          <ac:chgData name="Arjan van der Meer" userId="008f28a2-684e-4523-b3ca-dcb37d9c3e5d" providerId="ADAL" clId="{44D73574-4316-4891-B5B8-DDD8C67FFD60}" dt="2021-11-10T09:47:22.587" v="1467" actId="1076"/>
          <ac:spMkLst>
            <pc:docMk/>
            <pc:sldMk cId="147180483" sldId="1138"/>
            <ac:spMk id="57" creationId="{EE722753-A9B0-460D-BF9F-AB46C3600AF0}"/>
          </ac:spMkLst>
        </pc:spChg>
        <pc:spChg chg="add mod">
          <ac:chgData name="Arjan van der Meer" userId="008f28a2-684e-4523-b3ca-dcb37d9c3e5d" providerId="ADAL" clId="{44D73574-4316-4891-B5B8-DDD8C67FFD60}" dt="2021-11-10T09:47:22.587" v="1467" actId="1076"/>
          <ac:spMkLst>
            <pc:docMk/>
            <pc:sldMk cId="147180483" sldId="1138"/>
            <ac:spMk id="60" creationId="{FDE0E99B-DC40-4B55-BADA-8E2A0E22E6F5}"/>
          </ac:spMkLst>
        </pc:spChg>
        <pc:spChg chg="add del mod">
          <ac:chgData name="Arjan van der Meer" userId="008f28a2-684e-4523-b3ca-dcb37d9c3e5d" providerId="ADAL" clId="{44D73574-4316-4891-B5B8-DDD8C67FFD60}" dt="2021-11-10T09:21:09.117" v="1261" actId="478"/>
          <ac:spMkLst>
            <pc:docMk/>
            <pc:sldMk cId="147180483" sldId="1138"/>
            <ac:spMk id="61" creationId="{FBCD22FD-E436-4C96-87D8-42484D6FC64F}"/>
          </ac:spMkLst>
        </pc:spChg>
        <pc:spChg chg="add mod">
          <ac:chgData name="Arjan van der Meer" userId="008f28a2-684e-4523-b3ca-dcb37d9c3e5d" providerId="ADAL" clId="{44D73574-4316-4891-B5B8-DDD8C67FFD60}" dt="2021-11-10T09:47:22.587" v="1467" actId="1076"/>
          <ac:spMkLst>
            <pc:docMk/>
            <pc:sldMk cId="147180483" sldId="1138"/>
            <ac:spMk id="62" creationId="{DDF484CF-D5BC-46B8-8550-EE1F4224EAE7}"/>
          </ac:spMkLst>
        </pc:spChg>
        <pc:spChg chg="add mod">
          <ac:chgData name="Arjan van der Meer" userId="008f28a2-684e-4523-b3ca-dcb37d9c3e5d" providerId="ADAL" clId="{44D73574-4316-4891-B5B8-DDD8C67FFD60}" dt="2021-11-10T09:47:14.214" v="1466" actId="1076"/>
          <ac:spMkLst>
            <pc:docMk/>
            <pc:sldMk cId="147180483" sldId="1138"/>
            <ac:spMk id="65" creationId="{A2A5F851-B8FD-4269-A038-036288A5004F}"/>
          </ac:spMkLst>
        </pc:spChg>
        <pc:spChg chg="add mod">
          <ac:chgData name="Arjan van der Meer" userId="008f28a2-684e-4523-b3ca-dcb37d9c3e5d" providerId="ADAL" clId="{44D73574-4316-4891-B5B8-DDD8C67FFD60}" dt="2021-11-10T09:47:14.214" v="1466" actId="1076"/>
          <ac:spMkLst>
            <pc:docMk/>
            <pc:sldMk cId="147180483" sldId="1138"/>
            <ac:spMk id="66" creationId="{9FF1AD3B-9FB9-4B04-AADE-500BAF8BED3B}"/>
          </ac:spMkLst>
        </pc:spChg>
        <pc:spChg chg="add mod">
          <ac:chgData name="Arjan van der Meer" userId="008f28a2-684e-4523-b3ca-dcb37d9c3e5d" providerId="ADAL" clId="{44D73574-4316-4891-B5B8-DDD8C67FFD60}" dt="2021-11-10T09:47:14.214" v="1466" actId="1076"/>
          <ac:spMkLst>
            <pc:docMk/>
            <pc:sldMk cId="147180483" sldId="1138"/>
            <ac:spMk id="67" creationId="{40E0DFD8-C3D1-45DA-98C9-7BCF647971C2}"/>
          </ac:spMkLst>
        </pc:spChg>
        <pc:spChg chg="add mod">
          <ac:chgData name="Arjan van der Meer" userId="008f28a2-684e-4523-b3ca-dcb37d9c3e5d" providerId="ADAL" clId="{44D73574-4316-4891-B5B8-DDD8C67FFD60}" dt="2021-11-10T09:47:14.214" v="1466" actId="1076"/>
          <ac:spMkLst>
            <pc:docMk/>
            <pc:sldMk cId="147180483" sldId="1138"/>
            <ac:spMk id="75" creationId="{710DD3F0-D474-4A99-883C-B5FABFFF59CC}"/>
          </ac:spMkLst>
        </pc:spChg>
        <pc:spChg chg="add mod">
          <ac:chgData name="Arjan van der Meer" userId="008f28a2-684e-4523-b3ca-dcb37d9c3e5d" providerId="ADAL" clId="{44D73574-4316-4891-B5B8-DDD8C67FFD60}" dt="2021-11-10T09:47:14.214" v="1466" actId="1076"/>
          <ac:spMkLst>
            <pc:docMk/>
            <pc:sldMk cId="147180483" sldId="1138"/>
            <ac:spMk id="82" creationId="{2D855DD3-4ED2-4C63-A41C-901ED0AF543C}"/>
          </ac:spMkLst>
        </pc:spChg>
        <pc:spChg chg="add mod">
          <ac:chgData name="Arjan van der Meer" userId="008f28a2-684e-4523-b3ca-dcb37d9c3e5d" providerId="ADAL" clId="{44D73574-4316-4891-B5B8-DDD8C67FFD60}" dt="2021-11-10T09:47:14.214" v="1466" actId="1076"/>
          <ac:spMkLst>
            <pc:docMk/>
            <pc:sldMk cId="147180483" sldId="1138"/>
            <ac:spMk id="83" creationId="{06163454-8919-4DC9-8530-A55EFE7003D7}"/>
          </ac:spMkLst>
        </pc:spChg>
        <pc:spChg chg="add mod">
          <ac:chgData name="Arjan van der Meer" userId="008f28a2-684e-4523-b3ca-dcb37d9c3e5d" providerId="ADAL" clId="{44D73574-4316-4891-B5B8-DDD8C67FFD60}" dt="2021-11-10T09:47:14.214" v="1466" actId="1076"/>
          <ac:spMkLst>
            <pc:docMk/>
            <pc:sldMk cId="147180483" sldId="1138"/>
            <ac:spMk id="84" creationId="{FD9602BC-1FC0-4E5C-986A-3475C39B1016}"/>
          </ac:spMkLst>
        </pc:spChg>
        <pc:spChg chg="add mod">
          <ac:chgData name="Arjan van der Meer" userId="008f28a2-684e-4523-b3ca-dcb37d9c3e5d" providerId="ADAL" clId="{44D73574-4316-4891-B5B8-DDD8C67FFD60}" dt="2021-11-10T09:47:14.214" v="1466" actId="1076"/>
          <ac:spMkLst>
            <pc:docMk/>
            <pc:sldMk cId="147180483" sldId="1138"/>
            <ac:spMk id="85" creationId="{8BB4BDD2-C127-452F-990E-6B8C71855B83}"/>
          </ac:spMkLst>
        </pc:spChg>
        <pc:spChg chg="add mod">
          <ac:chgData name="Arjan van der Meer" userId="008f28a2-684e-4523-b3ca-dcb37d9c3e5d" providerId="ADAL" clId="{44D73574-4316-4891-B5B8-DDD8C67FFD60}" dt="2021-11-10T09:47:01.442" v="1464" actId="1076"/>
          <ac:spMkLst>
            <pc:docMk/>
            <pc:sldMk cId="147180483" sldId="1138"/>
            <ac:spMk id="86" creationId="{F8CCF6BC-0488-4B1A-BB96-FB02426A16E6}"/>
          </ac:spMkLst>
        </pc:spChg>
        <pc:spChg chg="add mod">
          <ac:chgData name="Arjan van der Meer" userId="008f28a2-684e-4523-b3ca-dcb37d9c3e5d" providerId="ADAL" clId="{44D73574-4316-4891-B5B8-DDD8C67FFD60}" dt="2021-11-10T09:47:01.442" v="1464" actId="1076"/>
          <ac:spMkLst>
            <pc:docMk/>
            <pc:sldMk cId="147180483" sldId="1138"/>
            <ac:spMk id="87" creationId="{E6BB8DF5-AA2D-4D17-8FDB-498C36D4536B}"/>
          </ac:spMkLst>
        </pc:spChg>
        <pc:spChg chg="add mod">
          <ac:chgData name="Arjan van der Meer" userId="008f28a2-684e-4523-b3ca-dcb37d9c3e5d" providerId="ADAL" clId="{44D73574-4316-4891-B5B8-DDD8C67FFD60}" dt="2021-11-10T09:47:01.442" v="1464" actId="1076"/>
          <ac:spMkLst>
            <pc:docMk/>
            <pc:sldMk cId="147180483" sldId="1138"/>
            <ac:spMk id="88" creationId="{7CAEEEF5-C202-48C1-8C0E-858A2C3B6768}"/>
          </ac:spMkLst>
        </pc:spChg>
        <pc:spChg chg="add mod">
          <ac:chgData name="Arjan van der Meer" userId="008f28a2-684e-4523-b3ca-dcb37d9c3e5d" providerId="ADAL" clId="{44D73574-4316-4891-B5B8-DDD8C67FFD60}" dt="2021-11-10T09:47:01.442" v="1464" actId="1076"/>
          <ac:spMkLst>
            <pc:docMk/>
            <pc:sldMk cId="147180483" sldId="1138"/>
            <ac:spMk id="91" creationId="{8F24A9A1-A532-433D-B87F-97959FD738C7}"/>
          </ac:spMkLst>
        </pc:spChg>
        <pc:spChg chg="add del mod">
          <ac:chgData name="Arjan van der Meer" userId="008f28a2-684e-4523-b3ca-dcb37d9c3e5d" providerId="ADAL" clId="{44D73574-4316-4891-B5B8-DDD8C67FFD60}" dt="2021-11-10T09:38:30.738" v="1385" actId="478"/>
          <ac:spMkLst>
            <pc:docMk/>
            <pc:sldMk cId="147180483" sldId="1138"/>
            <ac:spMk id="94" creationId="{1C55B76F-8A3A-4F34-859C-169ABA4BF149}"/>
          </ac:spMkLst>
        </pc:spChg>
        <pc:spChg chg="add del mod">
          <ac:chgData name="Arjan van der Meer" userId="008f28a2-684e-4523-b3ca-dcb37d9c3e5d" providerId="ADAL" clId="{44D73574-4316-4891-B5B8-DDD8C67FFD60}" dt="2021-11-10T09:38:41.077" v="1387" actId="478"/>
          <ac:spMkLst>
            <pc:docMk/>
            <pc:sldMk cId="147180483" sldId="1138"/>
            <ac:spMk id="95" creationId="{C32813DA-8D42-4814-9EDF-F6DF1982AB40}"/>
          </ac:spMkLst>
        </pc:spChg>
        <pc:spChg chg="add mod">
          <ac:chgData name="Arjan van der Meer" userId="008f28a2-684e-4523-b3ca-dcb37d9c3e5d" providerId="ADAL" clId="{44D73574-4316-4891-B5B8-DDD8C67FFD60}" dt="2021-11-10T09:47:04.434" v="1465" actId="1076"/>
          <ac:spMkLst>
            <pc:docMk/>
            <pc:sldMk cId="147180483" sldId="1138"/>
            <ac:spMk id="96" creationId="{5B12B736-A49B-4329-867C-0F19976889A6}"/>
          </ac:spMkLst>
        </pc:spChg>
        <pc:spChg chg="add del mod">
          <ac:chgData name="Arjan van der Meer" userId="008f28a2-684e-4523-b3ca-dcb37d9c3e5d" providerId="ADAL" clId="{44D73574-4316-4891-B5B8-DDD8C67FFD60}" dt="2021-11-10T09:38:42.940" v="1388" actId="478"/>
          <ac:spMkLst>
            <pc:docMk/>
            <pc:sldMk cId="147180483" sldId="1138"/>
            <ac:spMk id="97" creationId="{8113E220-FBF6-4651-B5E5-2E3BBD70C899}"/>
          </ac:spMkLst>
        </pc:spChg>
        <pc:spChg chg="add mod">
          <ac:chgData name="Arjan van der Meer" userId="008f28a2-684e-4523-b3ca-dcb37d9c3e5d" providerId="ADAL" clId="{44D73574-4316-4891-B5B8-DDD8C67FFD60}" dt="2021-11-10T09:47:01.442" v="1464" actId="1076"/>
          <ac:spMkLst>
            <pc:docMk/>
            <pc:sldMk cId="147180483" sldId="1138"/>
            <ac:spMk id="98" creationId="{1C0119DC-98CE-480E-B9C3-78A7C41FAE37}"/>
          </ac:spMkLst>
        </pc:spChg>
        <pc:spChg chg="add mod">
          <ac:chgData name="Arjan van der Meer" userId="008f28a2-684e-4523-b3ca-dcb37d9c3e5d" providerId="ADAL" clId="{44D73574-4316-4891-B5B8-DDD8C67FFD60}" dt="2021-11-10T09:47:01.442" v="1464" actId="1076"/>
          <ac:spMkLst>
            <pc:docMk/>
            <pc:sldMk cId="147180483" sldId="1138"/>
            <ac:spMk id="99" creationId="{EF23DF16-C6E0-4AA1-B463-15264D12029F}"/>
          </ac:spMkLst>
        </pc:spChg>
        <pc:spChg chg="add mod">
          <ac:chgData name="Arjan van der Meer" userId="008f28a2-684e-4523-b3ca-dcb37d9c3e5d" providerId="ADAL" clId="{44D73574-4316-4891-B5B8-DDD8C67FFD60}" dt="2021-11-10T09:47:01.442" v="1464" actId="1076"/>
          <ac:spMkLst>
            <pc:docMk/>
            <pc:sldMk cId="147180483" sldId="1138"/>
            <ac:spMk id="100" creationId="{BAD40780-0F69-41F4-945B-4A7BD8E4C702}"/>
          </ac:spMkLst>
        </pc:spChg>
        <pc:spChg chg="add mod">
          <ac:chgData name="Arjan van der Meer" userId="008f28a2-684e-4523-b3ca-dcb37d9c3e5d" providerId="ADAL" clId="{44D73574-4316-4891-B5B8-DDD8C67FFD60}" dt="2021-11-10T09:41:59.935" v="1457" actId="1076"/>
          <ac:spMkLst>
            <pc:docMk/>
            <pc:sldMk cId="147180483" sldId="1138"/>
            <ac:spMk id="104" creationId="{0E20029B-1385-4AC6-9224-F7DBE5867B67}"/>
          </ac:spMkLst>
        </pc:spChg>
        <pc:spChg chg="add mod">
          <ac:chgData name="Arjan van der Meer" userId="008f28a2-684e-4523-b3ca-dcb37d9c3e5d" providerId="ADAL" clId="{44D73574-4316-4891-B5B8-DDD8C67FFD60}" dt="2021-11-10T09:48:11.889" v="1500" actId="20577"/>
          <ac:spMkLst>
            <pc:docMk/>
            <pc:sldMk cId="147180483" sldId="1138"/>
            <ac:spMk id="108" creationId="{C9364FB2-EEF3-4A7B-9801-A858BFCD30A0}"/>
          </ac:spMkLst>
        </pc:spChg>
        <pc:spChg chg="add mod">
          <ac:chgData name="Arjan van der Meer" userId="008f28a2-684e-4523-b3ca-dcb37d9c3e5d" providerId="ADAL" clId="{44D73574-4316-4891-B5B8-DDD8C67FFD60}" dt="2021-11-10T09:51:09.012" v="1535" actId="1076"/>
          <ac:spMkLst>
            <pc:docMk/>
            <pc:sldMk cId="147180483" sldId="1138"/>
            <ac:spMk id="111" creationId="{EC27D411-F38E-495E-9BF1-DC6ED1BA02EE}"/>
          </ac:spMkLst>
        </pc:spChg>
        <pc:spChg chg="add mod">
          <ac:chgData name="Arjan van der Meer" userId="008f28a2-684e-4523-b3ca-dcb37d9c3e5d" providerId="ADAL" clId="{44D73574-4316-4891-B5B8-DDD8C67FFD60}" dt="2021-11-10T09:52:08.171" v="1572" actId="20577"/>
          <ac:spMkLst>
            <pc:docMk/>
            <pc:sldMk cId="147180483" sldId="1138"/>
            <ac:spMk id="115" creationId="{2B08D37D-CEB2-4D4C-AEE8-486F812E4C3D}"/>
          </ac:spMkLst>
        </pc:spChg>
        <pc:grpChg chg="add mod">
          <ac:chgData name="Arjan van der Meer" userId="008f28a2-684e-4523-b3ca-dcb37d9c3e5d" providerId="ADAL" clId="{44D73574-4316-4891-B5B8-DDD8C67FFD60}" dt="2021-11-12T15:01:48.892" v="2077" actId="164"/>
          <ac:grpSpMkLst>
            <pc:docMk/>
            <pc:sldMk cId="147180483" sldId="1138"/>
            <ac:grpSpMk id="5" creationId="{C9ECA9A8-4D94-4B6A-AC01-169694B549AF}"/>
          </ac:grpSpMkLst>
        </pc:grpChg>
        <pc:grpChg chg="add mod">
          <ac:chgData name="Arjan van der Meer" userId="008f28a2-684e-4523-b3ca-dcb37d9c3e5d" providerId="ADAL" clId="{44D73574-4316-4891-B5B8-DDD8C67FFD60}" dt="2021-11-10T09:40:58.743" v="1403" actId="1076"/>
          <ac:grpSpMkLst>
            <pc:docMk/>
            <pc:sldMk cId="147180483" sldId="1138"/>
            <ac:grpSpMk id="15" creationId="{361D6B99-D5D3-429E-BCEC-55AF2368BB0E}"/>
          </ac:grpSpMkLst>
        </pc:grpChg>
        <pc:picChg chg="add del mod">
          <ac:chgData name="Arjan van der Meer" userId="008f28a2-684e-4523-b3ca-dcb37d9c3e5d" providerId="ADAL" clId="{44D73574-4316-4891-B5B8-DDD8C67FFD60}" dt="2021-11-10T09:08:22.949" v="1243" actId="478"/>
          <ac:picMkLst>
            <pc:docMk/>
            <pc:sldMk cId="147180483" sldId="1138"/>
            <ac:picMk id="7" creationId="{4A93F98E-3B74-4E0A-A908-A149542E3ED3}"/>
          </ac:picMkLst>
        </pc:picChg>
        <pc:picChg chg="add del mod">
          <ac:chgData name="Arjan van der Meer" userId="008f28a2-684e-4523-b3ca-dcb37d9c3e5d" providerId="ADAL" clId="{44D73574-4316-4891-B5B8-DDD8C67FFD60}" dt="2021-11-10T09:08:22.949" v="1243" actId="478"/>
          <ac:picMkLst>
            <pc:docMk/>
            <pc:sldMk cId="147180483" sldId="1138"/>
            <ac:picMk id="8" creationId="{271507A6-A7D3-4727-A2DD-A27C9D2DADF9}"/>
          </ac:picMkLst>
        </pc:picChg>
        <pc:picChg chg="add del mod">
          <ac:chgData name="Arjan van der Meer" userId="008f28a2-684e-4523-b3ca-dcb37d9c3e5d" providerId="ADAL" clId="{44D73574-4316-4891-B5B8-DDD8C67FFD60}" dt="2021-11-10T09:08:22.949" v="1243" actId="478"/>
          <ac:picMkLst>
            <pc:docMk/>
            <pc:sldMk cId="147180483" sldId="1138"/>
            <ac:picMk id="12" creationId="{6C2162DE-4424-4847-8234-02492FA8A15F}"/>
          </ac:picMkLst>
        </pc:picChg>
        <pc:picChg chg="add del mod">
          <ac:chgData name="Arjan van der Meer" userId="008f28a2-684e-4523-b3ca-dcb37d9c3e5d" providerId="ADAL" clId="{44D73574-4316-4891-B5B8-DDD8C67FFD60}" dt="2021-11-10T09:08:22.949" v="1243" actId="478"/>
          <ac:picMkLst>
            <pc:docMk/>
            <pc:sldMk cId="147180483" sldId="1138"/>
            <ac:picMk id="14" creationId="{CA1E7BF7-BB18-44A8-A918-8761896D55D9}"/>
          </ac:picMkLst>
        </pc:picChg>
        <pc:picChg chg="mod">
          <ac:chgData name="Arjan van der Meer" userId="008f28a2-684e-4523-b3ca-dcb37d9c3e5d" providerId="ADAL" clId="{44D73574-4316-4891-B5B8-DDD8C67FFD60}" dt="2021-11-10T09:08:19.835" v="1242"/>
          <ac:picMkLst>
            <pc:docMk/>
            <pc:sldMk cId="147180483" sldId="1138"/>
            <ac:picMk id="17" creationId="{DF42E091-7D4C-43BC-A29E-56E5B5651DFC}"/>
          </ac:picMkLst>
        </pc:picChg>
        <pc:picChg chg="mod">
          <ac:chgData name="Arjan van der Meer" userId="008f28a2-684e-4523-b3ca-dcb37d9c3e5d" providerId="ADAL" clId="{44D73574-4316-4891-B5B8-DDD8C67FFD60}" dt="2021-11-10T09:08:19.835" v="1242"/>
          <ac:picMkLst>
            <pc:docMk/>
            <pc:sldMk cId="147180483" sldId="1138"/>
            <ac:picMk id="18" creationId="{11478DE6-C439-4762-BE46-62A83B858A37}"/>
          </ac:picMkLst>
        </pc:picChg>
        <pc:picChg chg="mod">
          <ac:chgData name="Arjan van der Meer" userId="008f28a2-684e-4523-b3ca-dcb37d9c3e5d" providerId="ADAL" clId="{44D73574-4316-4891-B5B8-DDD8C67FFD60}" dt="2021-11-10T09:08:19.835" v="1242"/>
          <ac:picMkLst>
            <pc:docMk/>
            <pc:sldMk cId="147180483" sldId="1138"/>
            <ac:picMk id="19" creationId="{ADF2EDD0-1512-4340-A94F-DB735FEEECEA}"/>
          </ac:picMkLst>
        </pc:picChg>
        <pc:picChg chg="add mod">
          <ac:chgData name="Arjan van der Meer" userId="008f28a2-684e-4523-b3ca-dcb37d9c3e5d" providerId="ADAL" clId="{44D73574-4316-4891-B5B8-DDD8C67FFD60}" dt="2021-11-10T09:14:59.014" v="1245"/>
          <ac:picMkLst>
            <pc:docMk/>
            <pc:sldMk cId="147180483" sldId="1138"/>
            <ac:picMk id="40" creationId="{A52A77B8-0E26-4291-9C70-7E09FF82B99C}"/>
          </ac:picMkLst>
        </pc:picChg>
        <pc:cxnChg chg="add mod">
          <ac:chgData name="Arjan van der Meer" userId="008f28a2-684e-4523-b3ca-dcb37d9c3e5d" providerId="ADAL" clId="{44D73574-4316-4891-B5B8-DDD8C67FFD60}" dt="2021-11-12T15:01:48.892" v="2077" actId="164"/>
          <ac:cxnSpMkLst>
            <pc:docMk/>
            <pc:sldMk cId="147180483" sldId="1138"/>
            <ac:cxnSpMk id="26" creationId="{6EA0D60F-AEE1-4E54-9842-1958072F2E70}"/>
          </ac:cxnSpMkLst>
        </pc:cxnChg>
        <pc:cxnChg chg="add mod">
          <ac:chgData name="Arjan van der Meer" userId="008f28a2-684e-4523-b3ca-dcb37d9c3e5d" providerId="ADAL" clId="{44D73574-4316-4891-B5B8-DDD8C67FFD60}" dt="2021-11-12T15:01:48.892" v="2077" actId="164"/>
          <ac:cxnSpMkLst>
            <pc:docMk/>
            <pc:sldMk cId="147180483" sldId="1138"/>
            <ac:cxnSpMk id="27" creationId="{4E257FE9-A699-491B-B3E1-07B58BFAB805}"/>
          </ac:cxnSpMkLst>
        </pc:cxnChg>
        <pc:cxnChg chg="add mod">
          <ac:chgData name="Arjan van der Meer" userId="008f28a2-684e-4523-b3ca-dcb37d9c3e5d" providerId="ADAL" clId="{44D73574-4316-4891-B5B8-DDD8C67FFD60}" dt="2021-11-12T15:01:48.892" v="2077" actId="164"/>
          <ac:cxnSpMkLst>
            <pc:docMk/>
            <pc:sldMk cId="147180483" sldId="1138"/>
            <ac:cxnSpMk id="31" creationId="{788B60C2-14FA-4D9B-ADE5-54DDA1616D19}"/>
          </ac:cxnSpMkLst>
        </pc:cxnChg>
        <pc:cxnChg chg="add mod">
          <ac:chgData name="Arjan van der Meer" userId="008f28a2-684e-4523-b3ca-dcb37d9c3e5d" providerId="ADAL" clId="{44D73574-4316-4891-B5B8-DDD8C67FFD60}" dt="2021-11-12T15:01:48.892" v="2077" actId="164"/>
          <ac:cxnSpMkLst>
            <pc:docMk/>
            <pc:sldMk cId="147180483" sldId="1138"/>
            <ac:cxnSpMk id="32" creationId="{049F90D1-8458-41BD-A193-FFA4539353DC}"/>
          </ac:cxnSpMkLst>
        </pc:cxnChg>
        <pc:cxnChg chg="add del mod">
          <ac:chgData name="Arjan van der Meer" userId="008f28a2-684e-4523-b3ca-dcb37d9c3e5d" providerId="ADAL" clId="{44D73574-4316-4891-B5B8-DDD8C67FFD60}" dt="2021-11-10T09:15:06.205" v="1248" actId="478"/>
          <ac:cxnSpMkLst>
            <pc:docMk/>
            <pc:sldMk cId="147180483" sldId="1138"/>
            <ac:cxnSpMk id="34" creationId="{FBA7BEEB-6D9D-4EAD-9C36-E2294141AA17}"/>
          </ac:cxnSpMkLst>
        </pc:cxnChg>
        <pc:cxnChg chg="add del mod">
          <ac:chgData name="Arjan van der Meer" userId="008f28a2-684e-4523-b3ca-dcb37d9c3e5d" providerId="ADAL" clId="{44D73574-4316-4891-B5B8-DDD8C67FFD60}" dt="2021-11-10T09:15:08.021" v="1250" actId="478"/>
          <ac:cxnSpMkLst>
            <pc:docMk/>
            <pc:sldMk cId="147180483" sldId="1138"/>
            <ac:cxnSpMk id="36" creationId="{62A9C2D8-F685-4EBD-AD6B-BC74D6D2F52C}"/>
          </ac:cxnSpMkLst>
        </pc:cxnChg>
        <pc:cxnChg chg="add del mod">
          <ac:chgData name="Arjan van der Meer" userId="008f28a2-684e-4523-b3ca-dcb37d9c3e5d" providerId="ADAL" clId="{44D73574-4316-4891-B5B8-DDD8C67FFD60}" dt="2021-11-10T09:15:08.630" v="1251" actId="478"/>
          <ac:cxnSpMkLst>
            <pc:docMk/>
            <pc:sldMk cId="147180483" sldId="1138"/>
            <ac:cxnSpMk id="37" creationId="{E1359AF2-10EC-42DD-877C-9775D37A9EF3}"/>
          </ac:cxnSpMkLst>
        </pc:cxnChg>
        <pc:cxnChg chg="add del mod">
          <ac:chgData name="Arjan van der Meer" userId="008f28a2-684e-4523-b3ca-dcb37d9c3e5d" providerId="ADAL" clId="{44D73574-4316-4891-B5B8-DDD8C67FFD60}" dt="2021-11-10T09:15:09.534" v="1252" actId="478"/>
          <ac:cxnSpMkLst>
            <pc:docMk/>
            <pc:sldMk cId="147180483" sldId="1138"/>
            <ac:cxnSpMk id="38" creationId="{B7B41A11-F1C7-4C66-B45B-F9EC2AC951DF}"/>
          </ac:cxnSpMkLst>
        </pc:cxnChg>
        <pc:cxnChg chg="add del mod">
          <ac:chgData name="Arjan van der Meer" userId="008f28a2-684e-4523-b3ca-dcb37d9c3e5d" providerId="ADAL" clId="{44D73574-4316-4891-B5B8-DDD8C67FFD60}" dt="2021-11-10T09:15:04.058" v="1246" actId="478"/>
          <ac:cxnSpMkLst>
            <pc:docMk/>
            <pc:sldMk cId="147180483" sldId="1138"/>
            <ac:cxnSpMk id="39" creationId="{18DA5925-CCC5-4B06-8F1E-E7A1E458891F}"/>
          </ac:cxnSpMkLst>
        </pc:cxnChg>
        <pc:cxnChg chg="add mod">
          <ac:chgData name="Arjan van der Meer" userId="008f28a2-684e-4523-b3ca-dcb37d9c3e5d" providerId="ADAL" clId="{44D73574-4316-4891-B5B8-DDD8C67FFD60}" dt="2021-11-12T15:01:48.892" v="2077" actId="164"/>
          <ac:cxnSpMkLst>
            <pc:docMk/>
            <pc:sldMk cId="147180483" sldId="1138"/>
            <ac:cxnSpMk id="42" creationId="{995D56B7-8F67-45D6-AD4D-6B10301E2B5C}"/>
          </ac:cxnSpMkLst>
        </pc:cxnChg>
        <pc:cxnChg chg="add mod">
          <ac:chgData name="Arjan van der Meer" userId="008f28a2-684e-4523-b3ca-dcb37d9c3e5d" providerId="ADAL" clId="{44D73574-4316-4891-B5B8-DDD8C67FFD60}" dt="2021-11-12T15:01:48.892" v="2077" actId="164"/>
          <ac:cxnSpMkLst>
            <pc:docMk/>
            <pc:sldMk cId="147180483" sldId="1138"/>
            <ac:cxnSpMk id="43" creationId="{4ACD888B-497A-48CA-8C72-A1D52E529F03}"/>
          </ac:cxnSpMkLst>
        </pc:cxnChg>
        <pc:cxnChg chg="add mod">
          <ac:chgData name="Arjan van der Meer" userId="008f28a2-684e-4523-b3ca-dcb37d9c3e5d" providerId="ADAL" clId="{44D73574-4316-4891-B5B8-DDD8C67FFD60}" dt="2021-11-12T15:01:48.892" v="2077" actId="164"/>
          <ac:cxnSpMkLst>
            <pc:docMk/>
            <pc:sldMk cId="147180483" sldId="1138"/>
            <ac:cxnSpMk id="47" creationId="{8E8F90C8-F8A8-456B-968F-2BCBCBE3E57B}"/>
          </ac:cxnSpMkLst>
        </pc:cxnChg>
        <pc:cxnChg chg="add mod">
          <ac:chgData name="Arjan van der Meer" userId="008f28a2-684e-4523-b3ca-dcb37d9c3e5d" providerId="ADAL" clId="{44D73574-4316-4891-B5B8-DDD8C67FFD60}" dt="2021-11-12T15:01:48.892" v="2077" actId="164"/>
          <ac:cxnSpMkLst>
            <pc:docMk/>
            <pc:sldMk cId="147180483" sldId="1138"/>
            <ac:cxnSpMk id="48" creationId="{293188AB-17B0-45C8-BEEE-301B5EEDC829}"/>
          </ac:cxnSpMkLst>
        </pc:cxnChg>
        <pc:cxnChg chg="add mod">
          <ac:chgData name="Arjan van der Meer" userId="008f28a2-684e-4523-b3ca-dcb37d9c3e5d" providerId="ADAL" clId="{44D73574-4316-4891-B5B8-DDD8C67FFD60}" dt="2021-11-10T09:47:22.587" v="1467" actId="1076"/>
          <ac:cxnSpMkLst>
            <pc:docMk/>
            <pc:sldMk cId="147180483" sldId="1138"/>
            <ac:cxnSpMk id="50" creationId="{F7179981-A58F-4238-A070-980BDDB24D39}"/>
          </ac:cxnSpMkLst>
        </pc:cxnChg>
        <pc:cxnChg chg="add mod">
          <ac:chgData name="Arjan van der Meer" userId="008f28a2-684e-4523-b3ca-dcb37d9c3e5d" providerId="ADAL" clId="{44D73574-4316-4891-B5B8-DDD8C67FFD60}" dt="2021-11-10T09:47:22.587" v="1467" actId="1076"/>
          <ac:cxnSpMkLst>
            <pc:docMk/>
            <pc:sldMk cId="147180483" sldId="1138"/>
            <ac:cxnSpMk id="51" creationId="{38C282A3-B153-44FF-AAF6-7B3ABD8278B2}"/>
          </ac:cxnSpMkLst>
        </pc:cxnChg>
        <pc:cxnChg chg="add del mod">
          <ac:chgData name="Arjan van der Meer" userId="008f28a2-684e-4523-b3ca-dcb37d9c3e5d" providerId="ADAL" clId="{44D73574-4316-4891-B5B8-DDD8C67FFD60}" dt="2021-11-10T09:21:01.503" v="1258" actId="478"/>
          <ac:cxnSpMkLst>
            <pc:docMk/>
            <pc:sldMk cId="147180483" sldId="1138"/>
            <ac:cxnSpMk id="55" creationId="{EC6A43CC-11DD-4F4C-9B7E-ED33C6708689}"/>
          </ac:cxnSpMkLst>
        </pc:cxnChg>
        <pc:cxnChg chg="add mod">
          <ac:chgData name="Arjan van der Meer" userId="008f28a2-684e-4523-b3ca-dcb37d9c3e5d" providerId="ADAL" clId="{44D73574-4316-4891-B5B8-DDD8C67FFD60}" dt="2021-11-10T09:47:22.587" v="1467" actId="1076"/>
          <ac:cxnSpMkLst>
            <pc:docMk/>
            <pc:sldMk cId="147180483" sldId="1138"/>
            <ac:cxnSpMk id="56" creationId="{C36E73D3-EB98-417C-A1E2-1D042E1ED383}"/>
          </ac:cxnSpMkLst>
        </pc:cxnChg>
        <pc:cxnChg chg="add del mod">
          <ac:chgData name="Arjan van der Meer" userId="008f28a2-684e-4523-b3ca-dcb37d9c3e5d" providerId="ADAL" clId="{44D73574-4316-4891-B5B8-DDD8C67FFD60}" dt="2021-11-10T09:21:06.740" v="1260" actId="478"/>
          <ac:cxnSpMkLst>
            <pc:docMk/>
            <pc:sldMk cId="147180483" sldId="1138"/>
            <ac:cxnSpMk id="58" creationId="{ACDB9718-2DC4-480D-8D8C-B6976B214EB1}"/>
          </ac:cxnSpMkLst>
        </pc:cxnChg>
        <pc:cxnChg chg="add mod">
          <ac:chgData name="Arjan van der Meer" userId="008f28a2-684e-4523-b3ca-dcb37d9c3e5d" providerId="ADAL" clId="{44D73574-4316-4891-B5B8-DDD8C67FFD60}" dt="2021-11-10T09:47:22.587" v="1467" actId="1076"/>
          <ac:cxnSpMkLst>
            <pc:docMk/>
            <pc:sldMk cId="147180483" sldId="1138"/>
            <ac:cxnSpMk id="59" creationId="{4886554A-783C-43BE-BD14-CEA89DA0A3C3}"/>
          </ac:cxnSpMkLst>
        </pc:cxnChg>
        <pc:cxnChg chg="add mod">
          <ac:chgData name="Arjan van der Meer" userId="008f28a2-684e-4523-b3ca-dcb37d9c3e5d" providerId="ADAL" clId="{44D73574-4316-4891-B5B8-DDD8C67FFD60}" dt="2021-11-10T09:47:22.587" v="1467" actId="1076"/>
          <ac:cxnSpMkLst>
            <pc:docMk/>
            <pc:sldMk cId="147180483" sldId="1138"/>
            <ac:cxnSpMk id="63" creationId="{D0B951D7-83B5-4121-A7F6-8127BFD95C75}"/>
          </ac:cxnSpMkLst>
        </pc:cxnChg>
        <pc:cxnChg chg="add mod">
          <ac:chgData name="Arjan van der Meer" userId="008f28a2-684e-4523-b3ca-dcb37d9c3e5d" providerId="ADAL" clId="{44D73574-4316-4891-B5B8-DDD8C67FFD60}" dt="2021-11-10T09:47:22.587" v="1467" actId="1076"/>
          <ac:cxnSpMkLst>
            <pc:docMk/>
            <pc:sldMk cId="147180483" sldId="1138"/>
            <ac:cxnSpMk id="64" creationId="{F6B74241-6574-499D-8348-48E120C83B34}"/>
          </ac:cxnSpMkLst>
        </pc:cxnChg>
        <pc:cxnChg chg="add mod">
          <ac:chgData name="Arjan van der Meer" userId="008f28a2-684e-4523-b3ca-dcb37d9c3e5d" providerId="ADAL" clId="{44D73574-4316-4891-B5B8-DDD8C67FFD60}" dt="2021-11-10T09:47:14.214" v="1466" actId="1076"/>
          <ac:cxnSpMkLst>
            <pc:docMk/>
            <pc:sldMk cId="147180483" sldId="1138"/>
            <ac:cxnSpMk id="68" creationId="{D7BD52C5-848D-4FB6-90B0-7F27074DA249}"/>
          </ac:cxnSpMkLst>
        </pc:cxnChg>
        <pc:cxnChg chg="add mod">
          <ac:chgData name="Arjan van der Meer" userId="008f28a2-684e-4523-b3ca-dcb37d9c3e5d" providerId="ADAL" clId="{44D73574-4316-4891-B5B8-DDD8C67FFD60}" dt="2021-11-10T09:47:14.214" v="1466" actId="1076"/>
          <ac:cxnSpMkLst>
            <pc:docMk/>
            <pc:sldMk cId="147180483" sldId="1138"/>
            <ac:cxnSpMk id="72" creationId="{B328A346-A1FC-4943-8C51-C7FABC55C70F}"/>
          </ac:cxnSpMkLst>
        </pc:cxnChg>
        <pc:cxnChg chg="add mod">
          <ac:chgData name="Arjan van der Meer" userId="008f28a2-684e-4523-b3ca-dcb37d9c3e5d" providerId="ADAL" clId="{44D73574-4316-4891-B5B8-DDD8C67FFD60}" dt="2021-11-10T09:47:14.214" v="1466" actId="1076"/>
          <ac:cxnSpMkLst>
            <pc:docMk/>
            <pc:sldMk cId="147180483" sldId="1138"/>
            <ac:cxnSpMk id="76" creationId="{0018BED5-6D92-4221-BDD6-6859573602E0}"/>
          </ac:cxnSpMkLst>
        </pc:cxnChg>
        <pc:cxnChg chg="add mod">
          <ac:chgData name="Arjan van der Meer" userId="008f28a2-684e-4523-b3ca-dcb37d9c3e5d" providerId="ADAL" clId="{44D73574-4316-4891-B5B8-DDD8C67FFD60}" dt="2021-11-10T09:47:14.214" v="1466" actId="1076"/>
          <ac:cxnSpMkLst>
            <pc:docMk/>
            <pc:sldMk cId="147180483" sldId="1138"/>
            <ac:cxnSpMk id="79" creationId="{D7B6B4AD-61AF-4ED1-9E5A-2DDFC761AF14}"/>
          </ac:cxnSpMkLst>
        </pc:cxnChg>
        <pc:cxnChg chg="add mod">
          <ac:chgData name="Arjan van der Meer" userId="008f28a2-684e-4523-b3ca-dcb37d9c3e5d" providerId="ADAL" clId="{44D73574-4316-4891-B5B8-DDD8C67FFD60}" dt="2021-11-10T09:47:01.442" v="1464" actId="1076"/>
          <ac:cxnSpMkLst>
            <pc:docMk/>
            <pc:sldMk cId="147180483" sldId="1138"/>
            <ac:cxnSpMk id="89" creationId="{AC509A46-F0EC-453F-B874-B2E13A846DAD}"/>
          </ac:cxnSpMkLst>
        </pc:cxnChg>
        <pc:cxnChg chg="add mod">
          <ac:chgData name="Arjan van der Meer" userId="008f28a2-684e-4523-b3ca-dcb37d9c3e5d" providerId="ADAL" clId="{44D73574-4316-4891-B5B8-DDD8C67FFD60}" dt="2021-11-10T09:47:01.442" v="1464" actId="1076"/>
          <ac:cxnSpMkLst>
            <pc:docMk/>
            <pc:sldMk cId="147180483" sldId="1138"/>
            <ac:cxnSpMk id="90" creationId="{3ADF9F33-797F-4FC7-9892-D4D5EAB977EA}"/>
          </ac:cxnSpMkLst>
        </pc:cxnChg>
        <pc:cxnChg chg="add mod">
          <ac:chgData name="Arjan van der Meer" userId="008f28a2-684e-4523-b3ca-dcb37d9c3e5d" providerId="ADAL" clId="{44D73574-4316-4891-B5B8-DDD8C67FFD60}" dt="2021-11-10T09:47:01.442" v="1464" actId="1076"/>
          <ac:cxnSpMkLst>
            <pc:docMk/>
            <pc:sldMk cId="147180483" sldId="1138"/>
            <ac:cxnSpMk id="92" creationId="{6F935FB7-56EE-4301-BBD4-27044B18659F}"/>
          </ac:cxnSpMkLst>
        </pc:cxnChg>
        <pc:cxnChg chg="add mod">
          <ac:chgData name="Arjan van der Meer" userId="008f28a2-684e-4523-b3ca-dcb37d9c3e5d" providerId="ADAL" clId="{44D73574-4316-4891-B5B8-DDD8C67FFD60}" dt="2021-11-10T09:47:01.442" v="1464" actId="1076"/>
          <ac:cxnSpMkLst>
            <pc:docMk/>
            <pc:sldMk cId="147180483" sldId="1138"/>
            <ac:cxnSpMk id="93" creationId="{8987A050-7140-49C3-9C1C-3C47A7C9EE5A}"/>
          </ac:cxnSpMkLst>
        </pc:cxnChg>
        <pc:cxnChg chg="add mod">
          <ac:chgData name="Arjan van der Meer" userId="008f28a2-684e-4523-b3ca-dcb37d9c3e5d" providerId="ADAL" clId="{44D73574-4316-4891-B5B8-DDD8C67FFD60}" dt="2021-11-10T09:47:01.442" v="1464" actId="1076"/>
          <ac:cxnSpMkLst>
            <pc:docMk/>
            <pc:sldMk cId="147180483" sldId="1138"/>
            <ac:cxnSpMk id="101" creationId="{20FA2FF6-CC88-4E1F-91E8-F0326CE86B4D}"/>
          </ac:cxnSpMkLst>
        </pc:cxnChg>
        <pc:cxnChg chg="add mod">
          <ac:chgData name="Arjan van der Meer" userId="008f28a2-684e-4523-b3ca-dcb37d9c3e5d" providerId="ADAL" clId="{44D73574-4316-4891-B5B8-DDD8C67FFD60}" dt="2021-11-10T09:47:14.214" v="1466" actId="1076"/>
          <ac:cxnSpMkLst>
            <pc:docMk/>
            <pc:sldMk cId="147180483" sldId="1138"/>
            <ac:cxnSpMk id="102" creationId="{CE65D218-3E6A-4E4C-9797-000999161DAD}"/>
          </ac:cxnSpMkLst>
        </pc:cxnChg>
        <pc:cxnChg chg="add mod">
          <ac:chgData name="Arjan van der Meer" userId="008f28a2-684e-4523-b3ca-dcb37d9c3e5d" providerId="ADAL" clId="{44D73574-4316-4891-B5B8-DDD8C67FFD60}" dt="2021-11-10T09:42:06.663" v="1459" actId="1076"/>
          <ac:cxnSpMkLst>
            <pc:docMk/>
            <pc:sldMk cId="147180483" sldId="1138"/>
            <ac:cxnSpMk id="103" creationId="{59405CD1-8D56-46FA-A0A6-6E25B80BEA61}"/>
          </ac:cxnSpMkLst>
        </pc:cxnChg>
        <pc:cxnChg chg="add mod">
          <ac:chgData name="Arjan van der Meer" userId="008f28a2-684e-4523-b3ca-dcb37d9c3e5d" providerId="ADAL" clId="{44D73574-4316-4891-B5B8-DDD8C67FFD60}" dt="2021-11-10T09:47:37.120" v="1471" actId="1076"/>
          <ac:cxnSpMkLst>
            <pc:docMk/>
            <pc:sldMk cId="147180483" sldId="1138"/>
            <ac:cxnSpMk id="106" creationId="{1E831BDD-1278-441F-908B-A13B522F9282}"/>
          </ac:cxnSpMkLst>
        </pc:cxnChg>
        <pc:cxnChg chg="add mod">
          <ac:chgData name="Arjan van der Meer" userId="008f28a2-684e-4523-b3ca-dcb37d9c3e5d" providerId="ADAL" clId="{44D73574-4316-4891-B5B8-DDD8C67FFD60}" dt="2021-11-10T09:48:22.669" v="1503" actId="14100"/>
          <ac:cxnSpMkLst>
            <pc:docMk/>
            <pc:sldMk cId="147180483" sldId="1138"/>
            <ac:cxnSpMk id="109" creationId="{46F17DA8-0F2C-473E-9EAA-07DD9576A5AD}"/>
          </ac:cxnSpMkLst>
        </pc:cxnChg>
        <pc:cxnChg chg="add mod">
          <ac:chgData name="Arjan van der Meer" userId="008f28a2-684e-4523-b3ca-dcb37d9c3e5d" providerId="ADAL" clId="{44D73574-4316-4891-B5B8-DDD8C67FFD60}" dt="2021-11-10T09:51:44.005" v="1542" actId="1076"/>
          <ac:cxnSpMkLst>
            <pc:docMk/>
            <pc:sldMk cId="147180483" sldId="1138"/>
            <ac:cxnSpMk id="112" creationId="{1CDBDCA0-B482-40E7-B686-6732DD7FECD9}"/>
          </ac:cxnSpMkLst>
        </pc:cxnChg>
      </pc:sldChg>
      <pc:sldChg chg="addSp delSp modSp add mod ord delAnim modAnim modShow addCm delCm modCm">
        <pc:chgData name="Arjan van der Meer" userId="008f28a2-684e-4523-b3ca-dcb37d9c3e5d" providerId="ADAL" clId="{44D73574-4316-4891-B5B8-DDD8C67FFD60}" dt="2021-11-17T10:10:28.504" v="2843" actId="1592"/>
        <pc:sldMkLst>
          <pc:docMk/>
          <pc:sldMk cId="2131368487" sldId="1139"/>
        </pc:sldMkLst>
        <pc:spChg chg="mod">
          <ac:chgData name="Arjan van der Meer" userId="008f28a2-684e-4523-b3ca-dcb37d9c3e5d" providerId="ADAL" clId="{44D73574-4316-4891-B5B8-DDD8C67FFD60}" dt="2021-11-12T14:34:36.806" v="2058" actId="164"/>
          <ac:spMkLst>
            <pc:docMk/>
            <pc:sldMk cId="2131368487" sldId="1139"/>
            <ac:spMk id="25" creationId="{2CD04040-7502-4A10-9561-7F6898D711EE}"/>
          </ac:spMkLst>
        </pc:spChg>
        <pc:spChg chg="del mod">
          <ac:chgData name="Arjan van der Meer" userId="008f28a2-684e-4523-b3ca-dcb37d9c3e5d" providerId="ADAL" clId="{44D73574-4316-4891-B5B8-DDD8C67FFD60}" dt="2021-11-12T13:30:55.838" v="1794" actId="478"/>
          <ac:spMkLst>
            <pc:docMk/>
            <pc:sldMk cId="2131368487" sldId="1139"/>
            <ac:spMk id="28" creationId="{E3483678-514B-423F-A990-932DAC675BDB}"/>
          </ac:spMkLst>
        </pc:spChg>
        <pc:spChg chg="mod">
          <ac:chgData name="Arjan van der Meer" userId="008f28a2-684e-4523-b3ca-dcb37d9c3e5d" providerId="ADAL" clId="{44D73574-4316-4891-B5B8-DDD8C67FFD60}" dt="2021-11-12T14:34:36.806" v="2058" actId="164"/>
          <ac:spMkLst>
            <pc:docMk/>
            <pc:sldMk cId="2131368487" sldId="1139"/>
            <ac:spMk id="29" creationId="{39CB23F7-208D-4444-B789-74589DD6EB08}"/>
          </ac:spMkLst>
        </pc:spChg>
        <pc:spChg chg="mod">
          <ac:chgData name="Arjan van der Meer" userId="008f28a2-684e-4523-b3ca-dcb37d9c3e5d" providerId="ADAL" clId="{44D73574-4316-4891-B5B8-DDD8C67FFD60}" dt="2021-11-12T14:34:36.806" v="2058" actId="164"/>
          <ac:spMkLst>
            <pc:docMk/>
            <pc:sldMk cId="2131368487" sldId="1139"/>
            <ac:spMk id="30" creationId="{C5DC2A8D-21C6-4D8F-97B7-50D76B80BC2C}"/>
          </ac:spMkLst>
        </pc:spChg>
        <pc:spChg chg="add del">
          <ac:chgData name="Arjan van der Meer" userId="008f28a2-684e-4523-b3ca-dcb37d9c3e5d" providerId="ADAL" clId="{44D73574-4316-4891-B5B8-DDD8C67FFD60}" dt="2021-11-12T13:00:36.471" v="1660" actId="478"/>
          <ac:spMkLst>
            <pc:docMk/>
            <pc:sldMk cId="2131368487" sldId="1139"/>
            <ac:spMk id="36" creationId="{8A951229-B5D7-4D50-86EB-929F09667A1D}"/>
          </ac:spMkLst>
        </pc:spChg>
        <pc:spChg chg="mod">
          <ac:chgData name="Arjan van der Meer" userId="008f28a2-684e-4523-b3ca-dcb37d9c3e5d" providerId="ADAL" clId="{44D73574-4316-4891-B5B8-DDD8C67FFD60}" dt="2021-11-12T14:34:36.806" v="2058" actId="164"/>
          <ac:spMkLst>
            <pc:docMk/>
            <pc:sldMk cId="2131368487" sldId="1139"/>
            <ac:spMk id="41" creationId="{2150E8DC-374C-4DAC-8316-2EE166C42F65}"/>
          </ac:spMkLst>
        </pc:spChg>
        <pc:spChg chg="del">
          <ac:chgData name="Arjan van der Meer" userId="008f28a2-684e-4523-b3ca-dcb37d9c3e5d" providerId="ADAL" clId="{44D73574-4316-4891-B5B8-DDD8C67FFD60}" dt="2021-11-12T13:21:45.015" v="1755" actId="478"/>
          <ac:spMkLst>
            <pc:docMk/>
            <pc:sldMk cId="2131368487" sldId="1139"/>
            <ac:spMk id="44" creationId="{8B2ABE26-B772-4FC0-844E-760135C32886}"/>
          </ac:spMkLst>
        </pc:spChg>
        <pc:spChg chg="del">
          <ac:chgData name="Arjan van der Meer" userId="008f28a2-684e-4523-b3ca-dcb37d9c3e5d" providerId="ADAL" clId="{44D73574-4316-4891-B5B8-DDD8C67FFD60}" dt="2021-11-12T13:21:43.320" v="1754" actId="478"/>
          <ac:spMkLst>
            <pc:docMk/>
            <pc:sldMk cId="2131368487" sldId="1139"/>
            <ac:spMk id="45" creationId="{F09BB88C-FD5B-4DD5-94F8-193941B11AA4}"/>
          </ac:spMkLst>
        </pc:spChg>
        <pc:spChg chg="del">
          <ac:chgData name="Arjan van der Meer" userId="008f28a2-684e-4523-b3ca-dcb37d9c3e5d" providerId="ADAL" clId="{44D73574-4316-4891-B5B8-DDD8C67FFD60}" dt="2021-11-12T13:21:47.226" v="1756" actId="478"/>
          <ac:spMkLst>
            <pc:docMk/>
            <pc:sldMk cId="2131368487" sldId="1139"/>
            <ac:spMk id="46" creationId="{3222D791-D20C-4EF9-90DC-96E0D8AE7901}"/>
          </ac:spMkLst>
        </pc:spChg>
        <pc:spChg chg="del">
          <ac:chgData name="Arjan van der Meer" userId="008f28a2-684e-4523-b3ca-dcb37d9c3e5d" providerId="ADAL" clId="{44D73574-4316-4891-B5B8-DDD8C67FFD60}" dt="2021-11-12T13:33:15.258" v="1813" actId="478"/>
          <ac:spMkLst>
            <pc:docMk/>
            <pc:sldMk cId="2131368487" sldId="1139"/>
            <ac:spMk id="49" creationId="{4BF0517C-DCA4-4588-9A23-C3BCB34BB041}"/>
          </ac:spMkLst>
        </pc:spChg>
        <pc:spChg chg="del">
          <ac:chgData name="Arjan van der Meer" userId="008f28a2-684e-4523-b3ca-dcb37d9c3e5d" providerId="ADAL" clId="{44D73574-4316-4891-B5B8-DDD8C67FFD60}" dt="2021-11-12T13:33:15.258" v="1813" actId="478"/>
          <ac:spMkLst>
            <pc:docMk/>
            <pc:sldMk cId="2131368487" sldId="1139"/>
            <ac:spMk id="52" creationId="{8E7DFBE5-DC53-4E92-930D-013F341CA29B}"/>
          </ac:spMkLst>
        </pc:spChg>
        <pc:spChg chg="del">
          <ac:chgData name="Arjan van der Meer" userId="008f28a2-684e-4523-b3ca-dcb37d9c3e5d" providerId="ADAL" clId="{44D73574-4316-4891-B5B8-DDD8C67FFD60}" dt="2021-11-12T13:33:15.258" v="1813" actId="478"/>
          <ac:spMkLst>
            <pc:docMk/>
            <pc:sldMk cId="2131368487" sldId="1139"/>
            <ac:spMk id="53" creationId="{1BC41FF4-8B16-4E12-898F-654448716372}"/>
          </ac:spMkLst>
        </pc:spChg>
        <pc:spChg chg="del">
          <ac:chgData name="Arjan van der Meer" userId="008f28a2-684e-4523-b3ca-dcb37d9c3e5d" providerId="ADAL" clId="{44D73574-4316-4891-B5B8-DDD8C67FFD60}" dt="2021-11-12T13:33:15.258" v="1813" actId="478"/>
          <ac:spMkLst>
            <pc:docMk/>
            <pc:sldMk cId="2131368487" sldId="1139"/>
            <ac:spMk id="57" creationId="{EE722753-A9B0-460D-BF9F-AB46C3600AF0}"/>
          </ac:spMkLst>
        </pc:spChg>
        <pc:spChg chg="del">
          <ac:chgData name="Arjan van der Meer" userId="008f28a2-684e-4523-b3ca-dcb37d9c3e5d" providerId="ADAL" clId="{44D73574-4316-4891-B5B8-DDD8C67FFD60}" dt="2021-11-12T13:33:15.258" v="1813" actId="478"/>
          <ac:spMkLst>
            <pc:docMk/>
            <pc:sldMk cId="2131368487" sldId="1139"/>
            <ac:spMk id="60" creationId="{FDE0E99B-DC40-4B55-BADA-8E2A0E22E6F5}"/>
          </ac:spMkLst>
        </pc:spChg>
        <pc:spChg chg="del">
          <ac:chgData name="Arjan van der Meer" userId="008f28a2-684e-4523-b3ca-dcb37d9c3e5d" providerId="ADAL" clId="{44D73574-4316-4891-B5B8-DDD8C67FFD60}" dt="2021-11-12T13:33:15.258" v="1813" actId="478"/>
          <ac:spMkLst>
            <pc:docMk/>
            <pc:sldMk cId="2131368487" sldId="1139"/>
            <ac:spMk id="62" creationId="{DDF484CF-D5BC-46B8-8550-EE1F4224EAE7}"/>
          </ac:spMkLst>
        </pc:spChg>
        <pc:spChg chg="del">
          <ac:chgData name="Arjan van der Meer" userId="008f28a2-684e-4523-b3ca-dcb37d9c3e5d" providerId="ADAL" clId="{44D73574-4316-4891-B5B8-DDD8C67FFD60}" dt="2021-11-12T13:34:18.495" v="1818" actId="478"/>
          <ac:spMkLst>
            <pc:docMk/>
            <pc:sldMk cId="2131368487" sldId="1139"/>
            <ac:spMk id="65" creationId="{A2A5F851-B8FD-4269-A038-036288A5004F}"/>
          </ac:spMkLst>
        </pc:spChg>
        <pc:spChg chg="del">
          <ac:chgData name="Arjan van der Meer" userId="008f28a2-684e-4523-b3ca-dcb37d9c3e5d" providerId="ADAL" clId="{44D73574-4316-4891-B5B8-DDD8C67FFD60}" dt="2021-11-12T13:34:18.495" v="1818" actId="478"/>
          <ac:spMkLst>
            <pc:docMk/>
            <pc:sldMk cId="2131368487" sldId="1139"/>
            <ac:spMk id="66" creationId="{9FF1AD3B-9FB9-4B04-AADE-500BAF8BED3B}"/>
          </ac:spMkLst>
        </pc:spChg>
        <pc:spChg chg="del">
          <ac:chgData name="Arjan van der Meer" userId="008f28a2-684e-4523-b3ca-dcb37d9c3e5d" providerId="ADAL" clId="{44D73574-4316-4891-B5B8-DDD8C67FFD60}" dt="2021-11-12T13:34:18.495" v="1818" actId="478"/>
          <ac:spMkLst>
            <pc:docMk/>
            <pc:sldMk cId="2131368487" sldId="1139"/>
            <ac:spMk id="67" creationId="{40E0DFD8-C3D1-45DA-98C9-7BCF647971C2}"/>
          </ac:spMkLst>
        </pc:spChg>
        <pc:spChg chg="del">
          <ac:chgData name="Arjan van der Meer" userId="008f28a2-684e-4523-b3ca-dcb37d9c3e5d" providerId="ADAL" clId="{44D73574-4316-4891-B5B8-DDD8C67FFD60}" dt="2021-11-12T13:34:18.495" v="1818" actId="478"/>
          <ac:spMkLst>
            <pc:docMk/>
            <pc:sldMk cId="2131368487" sldId="1139"/>
            <ac:spMk id="75" creationId="{710DD3F0-D474-4A99-883C-B5FABFFF59CC}"/>
          </ac:spMkLst>
        </pc:spChg>
        <pc:spChg chg="add mod">
          <ac:chgData name="Arjan van der Meer" userId="008f28a2-684e-4523-b3ca-dcb37d9c3e5d" providerId="ADAL" clId="{44D73574-4316-4891-B5B8-DDD8C67FFD60}" dt="2021-11-12T14:34:36.806" v="2058" actId="164"/>
          <ac:spMkLst>
            <pc:docMk/>
            <pc:sldMk cId="2131368487" sldId="1139"/>
            <ac:spMk id="80" creationId="{2D7F04C4-B974-418F-844F-048F40B852A6}"/>
          </ac:spMkLst>
        </pc:spChg>
        <pc:spChg chg="del">
          <ac:chgData name="Arjan van der Meer" userId="008f28a2-684e-4523-b3ca-dcb37d9c3e5d" providerId="ADAL" clId="{44D73574-4316-4891-B5B8-DDD8C67FFD60}" dt="2021-11-12T13:34:18.495" v="1818" actId="478"/>
          <ac:spMkLst>
            <pc:docMk/>
            <pc:sldMk cId="2131368487" sldId="1139"/>
            <ac:spMk id="82" creationId="{2D855DD3-4ED2-4C63-A41C-901ED0AF543C}"/>
          </ac:spMkLst>
        </pc:spChg>
        <pc:spChg chg="del">
          <ac:chgData name="Arjan van der Meer" userId="008f28a2-684e-4523-b3ca-dcb37d9c3e5d" providerId="ADAL" clId="{44D73574-4316-4891-B5B8-DDD8C67FFD60}" dt="2021-11-12T13:34:22.683" v="1820" actId="478"/>
          <ac:spMkLst>
            <pc:docMk/>
            <pc:sldMk cId="2131368487" sldId="1139"/>
            <ac:spMk id="83" creationId="{06163454-8919-4DC9-8530-A55EFE7003D7}"/>
          </ac:spMkLst>
        </pc:spChg>
        <pc:spChg chg="del">
          <ac:chgData name="Arjan van der Meer" userId="008f28a2-684e-4523-b3ca-dcb37d9c3e5d" providerId="ADAL" clId="{44D73574-4316-4891-B5B8-DDD8C67FFD60}" dt="2021-11-12T13:34:18.495" v="1818" actId="478"/>
          <ac:spMkLst>
            <pc:docMk/>
            <pc:sldMk cId="2131368487" sldId="1139"/>
            <ac:spMk id="84" creationId="{FD9602BC-1FC0-4E5C-986A-3475C39B1016}"/>
          </ac:spMkLst>
        </pc:spChg>
        <pc:spChg chg="del">
          <ac:chgData name="Arjan van der Meer" userId="008f28a2-684e-4523-b3ca-dcb37d9c3e5d" providerId="ADAL" clId="{44D73574-4316-4891-B5B8-DDD8C67FFD60}" dt="2021-11-12T13:34:21.118" v="1819" actId="478"/>
          <ac:spMkLst>
            <pc:docMk/>
            <pc:sldMk cId="2131368487" sldId="1139"/>
            <ac:spMk id="85" creationId="{8BB4BDD2-C127-452F-990E-6B8C71855B83}"/>
          </ac:spMkLst>
        </pc:spChg>
        <pc:spChg chg="del">
          <ac:chgData name="Arjan van der Meer" userId="008f28a2-684e-4523-b3ca-dcb37d9c3e5d" providerId="ADAL" clId="{44D73574-4316-4891-B5B8-DDD8C67FFD60}" dt="2021-11-12T13:34:32.644" v="1824" actId="478"/>
          <ac:spMkLst>
            <pc:docMk/>
            <pc:sldMk cId="2131368487" sldId="1139"/>
            <ac:spMk id="86" creationId="{F8CCF6BC-0488-4B1A-BB96-FB02426A16E6}"/>
          </ac:spMkLst>
        </pc:spChg>
        <pc:spChg chg="del">
          <ac:chgData name="Arjan van der Meer" userId="008f28a2-684e-4523-b3ca-dcb37d9c3e5d" providerId="ADAL" clId="{44D73574-4316-4891-B5B8-DDD8C67FFD60}" dt="2021-11-12T13:34:32.644" v="1824" actId="478"/>
          <ac:spMkLst>
            <pc:docMk/>
            <pc:sldMk cId="2131368487" sldId="1139"/>
            <ac:spMk id="87" creationId="{E6BB8DF5-AA2D-4D17-8FDB-498C36D4536B}"/>
          </ac:spMkLst>
        </pc:spChg>
        <pc:spChg chg="del">
          <ac:chgData name="Arjan van der Meer" userId="008f28a2-684e-4523-b3ca-dcb37d9c3e5d" providerId="ADAL" clId="{44D73574-4316-4891-B5B8-DDD8C67FFD60}" dt="2021-11-12T13:34:32.644" v="1824" actId="478"/>
          <ac:spMkLst>
            <pc:docMk/>
            <pc:sldMk cId="2131368487" sldId="1139"/>
            <ac:spMk id="88" creationId="{7CAEEEF5-C202-48C1-8C0E-858A2C3B6768}"/>
          </ac:spMkLst>
        </pc:spChg>
        <pc:spChg chg="del">
          <ac:chgData name="Arjan van der Meer" userId="008f28a2-684e-4523-b3ca-dcb37d9c3e5d" providerId="ADAL" clId="{44D73574-4316-4891-B5B8-DDD8C67FFD60}" dt="2021-11-12T13:34:32.644" v="1824" actId="478"/>
          <ac:spMkLst>
            <pc:docMk/>
            <pc:sldMk cId="2131368487" sldId="1139"/>
            <ac:spMk id="91" creationId="{8F24A9A1-A532-433D-B87F-97959FD738C7}"/>
          </ac:spMkLst>
        </pc:spChg>
        <pc:spChg chg="del">
          <ac:chgData name="Arjan van der Meer" userId="008f28a2-684e-4523-b3ca-dcb37d9c3e5d" providerId="ADAL" clId="{44D73574-4316-4891-B5B8-DDD8C67FFD60}" dt="2021-11-12T13:34:32.644" v="1824" actId="478"/>
          <ac:spMkLst>
            <pc:docMk/>
            <pc:sldMk cId="2131368487" sldId="1139"/>
            <ac:spMk id="96" creationId="{5B12B736-A49B-4329-867C-0F19976889A6}"/>
          </ac:spMkLst>
        </pc:spChg>
        <pc:spChg chg="del">
          <ac:chgData name="Arjan van der Meer" userId="008f28a2-684e-4523-b3ca-dcb37d9c3e5d" providerId="ADAL" clId="{44D73574-4316-4891-B5B8-DDD8C67FFD60}" dt="2021-11-12T13:34:32.644" v="1824" actId="478"/>
          <ac:spMkLst>
            <pc:docMk/>
            <pc:sldMk cId="2131368487" sldId="1139"/>
            <ac:spMk id="98" creationId="{1C0119DC-98CE-480E-B9C3-78A7C41FAE37}"/>
          </ac:spMkLst>
        </pc:spChg>
        <pc:spChg chg="del">
          <ac:chgData name="Arjan van der Meer" userId="008f28a2-684e-4523-b3ca-dcb37d9c3e5d" providerId="ADAL" clId="{44D73574-4316-4891-B5B8-DDD8C67FFD60}" dt="2021-11-12T13:34:32.644" v="1824" actId="478"/>
          <ac:spMkLst>
            <pc:docMk/>
            <pc:sldMk cId="2131368487" sldId="1139"/>
            <ac:spMk id="99" creationId="{EF23DF16-C6E0-4AA1-B463-15264D12029F}"/>
          </ac:spMkLst>
        </pc:spChg>
        <pc:spChg chg="del">
          <ac:chgData name="Arjan van der Meer" userId="008f28a2-684e-4523-b3ca-dcb37d9c3e5d" providerId="ADAL" clId="{44D73574-4316-4891-B5B8-DDD8C67FFD60}" dt="2021-11-12T13:34:32.644" v="1824" actId="478"/>
          <ac:spMkLst>
            <pc:docMk/>
            <pc:sldMk cId="2131368487" sldId="1139"/>
            <ac:spMk id="100" creationId="{BAD40780-0F69-41F4-945B-4A7BD8E4C702}"/>
          </ac:spMkLst>
        </pc:spChg>
        <pc:spChg chg="mod">
          <ac:chgData name="Arjan van der Meer" userId="008f28a2-684e-4523-b3ca-dcb37d9c3e5d" providerId="ADAL" clId="{44D73574-4316-4891-B5B8-DDD8C67FFD60}" dt="2021-11-12T14:34:50.758" v="2061" actId="1076"/>
          <ac:spMkLst>
            <pc:docMk/>
            <pc:sldMk cId="2131368487" sldId="1139"/>
            <ac:spMk id="104" creationId="{0E20029B-1385-4AC6-9224-F7DBE5867B67}"/>
          </ac:spMkLst>
        </pc:spChg>
        <pc:spChg chg="mod">
          <ac:chgData name="Arjan van der Meer" userId="008f28a2-684e-4523-b3ca-dcb37d9c3e5d" providerId="ADAL" clId="{44D73574-4316-4891-B5B8-DDD8C67FFD60}" dt="2021-11-12T14:35:00.623" v="2064" actId="1076"/>
          <ac:spMkLst>
            <pc:docMk/>
            <pc:sldMk cId="2131368487" sldId="1139"/>
            <ac:spMk id="108" creationId="{C9364FB2-EEF3-4A7B-9801-A858BFCD30A0}"/>
          </ac:spMkLst>
        </pc:spChg>
        <pc:spChg chg="mod">
          <ac:chgData name="Arjan van der Meer" userId="008f28a2-684e-4523-b3ca-dcb37d9c3e5d" providerId="ADAL" clId="{44D73574-4316-4891-B5B8-DDD8C67FFD60}" dt="2021-11-12T14:35:28.034" v="2069" actId="1076"/>
          <ac:spMkLst>
            <pc:docMk/>
            <pc:sldMk cId="2131368487" sldId="1139"/>
            <ac:spMk id="111" creationId="{EC27D411-F38E-495E-9BF1-DC6ED1BA02EE}"/>
          </ac:spMkLst>
        </pc:spChg>
        <pc:spChg chg="mod">
          <ac:chgData name="Arjan van der Meer" userId="008f28a2-684e-4523-b3ca-dcb37d9c3e5d" providerId="ADAL" clId="{44D73574-4316-4891-B5B8-DDD8C67FFD60}" dt="2021-11-12T14:35:44.800" v="2073" actId="1076"/>
          <ac:spMkLst>
            <pc:docMk/>
            <pc:sldMk cId="2131368487" sldId="1139"/>
            <ac:spMk id="115" creationId="{2B08D37D-CEB2-4D4C-AEE8-486F812E4C3D}"/>
          </ac:spMkLst>
        </pc:spChg>
        <pc:spChg chg="add mod">
          <ac:chgData name="Arjan van der Meer" userId="008f28a2-684e-4523-b3ca-dcb37d9c3e5d" providerId="ADAL" clId="{44D73574-4316-4891-B5B8-DDD8C67FFD60}" dt="2021-11-12T14:34:36.806" v="2058" actId="164"/>
          <ac:spMkLst>
            <pc:docMk/>
            <pc:sldMk cId="2131368487" sldId="1139"/>
            <ac:spMk id="116" creationId="{41829312-EBDE-4C64-A458-87BAAD8501E2}"/>
          </ac:spMkLst>
        </pc:spChg>
        <pc:spChg chg="add mod">
          <ac:chgData name="Arjan van der Meer" userId="008f28a2-684e-4523-b3ca-dcb37d9c3e5d" providerId="ADAL" clId="{44D73574-4316-4891-B5B8-DDD8C67FFD60}" dt="2021-11-12T14:34:36.806" v="2058" actId="164"/>
          <ac:spMkLst>
            <pc:docMk/>
            <pc:sldMk cId="2131368487" sldId="1139"/>
            <ac:spMk id="117" creationId="{CDF8A47C-976A-4450-BA6B-4E19136F7D7D}"/>
          </ac:spMkLst>
        </pc:spChg>
        <pc:spChg chg="add mod">
          <ac:chgData name="Arjan van der Meer" userId="008f28a2-684e-4523-b3ca-dcb37d9c3e5d" providerId="ADAL" clId="{44D73574-4316-4891-B5B8-DDD8C67FFD60}" dt="2021-11-12T14:34:36.806" v="2058" actId="164"/>
          <ac:spMkLst>
            <pc:docMk/>
            <pc:sldMk cId="2131368487" sldId="1139"/>
            <ac:spMk id="140" creationId="{33BDEA5D-5510-47F4-97AD-241DEFA257A6}"/>
          </ac:spMkLst>
        </pc:spChg>
        <pc:spChg chg="add mod">
          <ac:chgData name="Arjan van der Meer" userId="008f28a2-684e-4523-b3ca-dcb37d9c3e5d" providerId="ADAL" clId="{44D73574-4316-4891-B5B8-DDD8C67FFD60}" dt="2021-11-12T14:34:36.806" v="2058" actId="164"/>
          <ac:spMkLst>
            <pc:docMk/>
            <pc:sldMk cId="2131368487" sldId="1139"/>
            <ac:spMk id="147" creationId="{951441D0-7DA8-46BD-B98C-7A95330415DE}"/>
          </ac:spMkLst>
        </pc:spChg>
        <pc:spChg chg="add mod">
          <ac:chgData name="Arjan van der Meer" userId="008f28a2-684e-4523-b3ca-dcb37d9c3e5d" providerId="ADAL" clId="{44D73574-4316-4891-B5B8-DDD8C67FFD60}" dt="2021-11-12T14:34:36.806" v="2058" actId="164"/>
          <ac:spMkLst>
            <pc:docMk/>
            <pc:sldMk cId="2131368487" sldId="1139"/>
            <ac:spMk id="148" creationId="{32FC5F8C-8BE0-4DE5-98D0-31260F565A14}"/>
          </ac:spMkLst>
        </pc:spChg>
        <pc:spChg chg="add mod">
          <ac:chgData name="Arjan van der Meer" userId="008f28a2-684e-4523-b3ca-dcb37d9c3e5d" providerId="ADAL" clId="{44D73574-4316-4891-B5B8-DDD8C67FFD60}" dt="2021-11-12T14:34:36.806" v="2058" actId="164"/>
          <ac:spMkLst>
            <pc:docMk/>
            <pc:sldMk cId="2131368487" sldId="1139"/>
            <ac:spMk id="149" creationId="{9909A32D-4594-48E6-8B0A-6C166A4888D6}"/>
          </ac:spMkLst>
        </pc:spChg>
        <pc:spChg chg="add mod">
          <ac:chgData name="Arjan van der Meer" userId="008f28a2-684e-4523-b3ca-dcb37d9c3e5d" providerId="ADAL" clId="{44D73574-4316-4891-B5B8-DDD8C67FFD60}" dt="2021-11-12T14:34:36.806" v="2058" actId="164"/>
          <ac:spMkLst>
            <pc:docMk/>
            <pc:sldMk cId="2131368487" sldId="1139"/>
            <ac:spMk id="152" creationId="{585297FF-0D8E-47C0-96FE-33F2E06E7EC0}"/>
          </ac:spMkLst>
        </pc:spChg>
        <pc:spChg chg="add mod">
          <ac:chgData name="Arjan van der Meer" userId="008f28a2-684e-4523-b3ca-dcb37d9c3e5d" providerId="ADAL" clId="{44D73574-4316-4891-B5B8-DDD8C67FFD60}" dt="2021-11-12T14:34:36.806" v="2058" actId="164"/>
          <ac:spMkLst>
            <pc:docMk/>
            <pc:sldMk cId="2131368487" sldId="1139"/>
            <ac:spMk id="159" creationId="{0750F960-961F-47A6-A663-E1308A11B975}"/>
          </ac:spMkLst>
        </pc:spChg>
        <pc:spChg chg="add mod">
          <ac:chgData name="Arjan van der Meer" userId="008f28a2-684e-4523-b3ca-dcb37d9c3e5d" providerId="ADAL" clId="{44D73574-4316-4891-B5B8-DDD8C67FFD60}" dt="2021-11-12T14:34:36.806" v="2058" actId="164"/>
          <ac:spMkLst>
            <pc:docMk/>
            <pc:sldMk cId="2131368487" sldId="1139"/>
            <ac:spMk id="164" creationId="{F87036DC-EC9E-49E3-8436-27CE8AB086E1}"/>
          </ac:spMkLst>
        </pc:spChg>
        <pc:spChg chg="add mod">
          <ac:chgData name="Arjan van der Meer" userId="008f28a2-684e-4523-b3ca-dcb37d9c3e5d" providerId="ADAL" clId="{44D73574-4316-4891-B5B8-DDD8C67FFD60}" dt="2021-11-12T14:34:36.806" v="2058" actId="164"/>
          <ac:spMkLst>
            <pc:docMk/>
            <pc:sldMk cId="2131368487" sldId="1139"/>
            <ac:spMk id="172" creationId="{B7D31BDD-60BA-4AA2-90CE-38F85CDB91A6}"/>
          </ac:spMkLst>
        </pc:spChg>
        <pc:spChg chg="add mod">
          <ac:chgData name="Arjan van der Meer" userId="008f28a2-684e-4523-b3ca-dcb37d9c3e5d" providerId="ADAL" clId="{44D73574-4316-4891-B5B8-DDD8C67FFD60}" dt="2021-11-12T14:34:36.806" v="2058" actId="164"/>
          <ac:spMkLst>
            <pc:docMk/>
            <pc:sldMk cId="2131368487" sldId="1139"/>
            <ac:spMk id="173" creationId="{2BC7DCBA-6DAE-4EA6-AD98-53E9D9FE78FD}"/>
          </ac:spMkLst>
        </pc:spChg>
        <pc:spChg chg="add mod">
          <ac:chgData name="Arjan van der Meer" userId="008f28a2-684e-4523-b3ca-dcb37d9c3e5d" providerId="ADAL" clId="{44D73574-4316-4891-B5B8-DDD8C67FFD60}" dt="2021-11-12T14:34:36.806" v="2058" actId="164"/>
          <ac:spMkLst>
            <pc:docMk/>
            <pc:sldMk cId="2131368487" sldId="1139"/>
            <ac:spMk id="174" creationId="{D7564DA1-0D3D-4A61-BCA8-6BBBF1A2CBF0}"/>
          </ac:spMkLst>
        </pc:spChg>
        <pc:spChg chg="add mod">
          <ac:chgData name="Arjan van der Meer" userId="008f28a2-684e-4523-b3ca-dcb37d9c3e5d" providerId="ADAL" clId="{44D73574-4316-4891-B5B8-DDD8C67FFD60}" dt="2021-11-12T14:34:36.806" v="2058" actId="164"/>
          <ac:spMkLst>
            <pc:docMk/>
            <pc:sldMk cId="2131368487" sldId="1139"/>
            <ac:spMk id="175" creationId="{9C308449-6578-4AA2-A6A7-7958151C6A11}"/>
          </ac:spMkLst>
        </pc:spChg>
        <pc:spChg chg="add mod">
          <ac:chgData name="Arjan van der Meer" userId="008f28a2-684e-4523-b3ca-dcb37d9c3e5d" providerId="ADAL" clId="{44D73574-4316-4891-B5B8-DDD8C67FFD60}" dt="2021-11-12T14:34:36.806" v="2058" actId="164"/>
          <ac:spMkLst>
            <pc:docMk/>
            <pc:sldMk cId="2131368487" sldId="1139"/>
            <ac:spMk id="176" creationId="{9A8A85E5-EF42-4FE9-83E7-C0FC06DFB6D9}"/>
          </ac:spMkLst>
        </pc:spChg>
        <pc:spChg chg="add mod">
          <ac:chgData name="Arjan van der Meer" userId="008f28a2-684e-4523-b3ca-dcb37d9c3e5d" providerId="ADAL" clId="{44D73574-4316-4891-B5B8-DDD8C67FFD60}" dt="2021-11-12T14:34:36.806" v="2058" actId="164"/>
          <ac:spMkLst>
            <pc:docMk/>
            <pc:sldMk cId="2131368487" sldId="1139"/>
            <ac:spMk id="179" creationId="{25374CB8-C53D-495C-AF21-2B95CA349170}"/>
          </ac:spMkLst>
        </pc:spChg>
        <pc:spChg chg="add mod">
          <ac:chgData name="Arjan van der Meer" userId="008f28a2-684e-4523-b3ca-dcb37d9c3e5d" providerId="ADAL" clId="{44D73574-4316-4891-B5B8-DDD8C67FFD60}" dt="2021-11-12T14:34:01.129" v="2049" actId="164"/>
          <ac:spMkLst>
            <pc:docMk/>
            <pc:sldMk cId="2131368487" sldId="1139"/>
            <ac:spMk id="181" creationId="{15C63F7E-D127-4016-9C9D-704B72B02B6A}"/>
          </ac:spMkLst>
        </pc:spChg>
        <pc:spChg chg="add mod">
          <ac:chgData name="Arjan van der Meer" userId="008f28a2-684e-4523-b3ca-dcb37d9c3e5d" providerId="ADAL" clId="{44D73574-4316-4891-B5B8-DDD8C67FFD60}" dt="2021-11-12T14:34:01.129" v="2049" actId="164"/>
          <ac:spMkLst>
            <pc:docMk/>
            <pc:sldMk cId="2131368487" sldId="1139"/>
            <ac:spMk id="184" creationId="{C1E65D98-22D7-418A-9945-BB4563E897D3}"/>
          </ac:spMkLst>
        </pc:spChg>
        <pc:spChg chg="add mod">
          <ac:chgData name="Arjan van der Meer" userId="008f28a2-684e-4523-b3ca-dcb37d9c3e5d" providerId="ADAL" clId="{44D73574-4316-4891-B5B8-DDD8C67FFD60}" dt="2021-11-12T14:34:01.129" v="2049" actId="164"/>
          <ac:spMkLst>
            <pc:docMk/>
            <pc:sldMk cId="2131368487" sldId="1139"/>
            <ac:spMk id="186" creationId="{8F77C12E-5303-4DC5-B9BE-3EB1BFB9A425}"/>
          </ac:spMkLst>
        </pc:spChg>
        <pc:spChg chg="add del mod">
          <ac:chgData name="Arjan van der Meer" userId="008f28a2-684e-4523-b3ca-dcb37d9c3e5d" providerId="ADAL" clId="{44D73574-4316-4891-B5B8-DDD8C67FFD60}" dt="2021-11-12T13:38:55.595" v="1837" actId="478"/>
          <ac:spMkLst>
            <pc:docMk/>
            <pc:sldMk cId="2131368487" sldId="1139"/>
            <ac:spMk id="188" creationId="{FCB32968-AA60-4953-A5BA-D33DCEE4B6BC}"/>
          </ac:spMkLst>
        </pc:spChg>
        <pc:spChg chg="add del mod">
          <ac:chgData name="Arjan van der Meer" userId="008f28a2-684e-4523-b3ca-dcb37d9c3e5d" providerId="ADAL" clId="{44D73574-4316-4891-B5B8-DDD8C67FFD60}" dt="2021-11-12T13:39:08.011" v="1843" actId="478"/>
          <ac:spMkLst>
            <pc:docMk/>
            <pc:sldMk cId="2131368487" sldId="1139"/>
            <ac:spMk id="190" creationId="{714F1E3A-6DB2-4668-90A7-A06601922275}"/>
          </ac:spMkLst>
        </pc:spChg>
        <pc:spChg chg="add mod">
          <ac:chgData name="Arjan van der Meer" userId="008f28a2-684e-4523-b3ca-dcb37d9c3e5d" providerId="ADAL" clId="{44D73574-4316-4891-B5B8-DDD8C67FFD60}" dt="2021-11-12T14:34:01.129" v="2049" actId="164"/>
          <ac:spMkLst>
            <pc:docMk/>
            <pc:sldMk cId="2131368487" sldId="1139"/>
            <ac:spMk id="191" creationId="{DE8791A0-28A0-4315-BDA2-A8C692B03910}"/>
          </ac:spMkLst>
        </pc:spChg>
        <pc:spChg chg="add mod">
          <ac:chgData name="Arjan van der Meer" userId="008f28a2-684e-4523-b3ca-dcb37d9c3e5d" providerId="ADAL" clId="{44D73574-4316-4891-B5B8-DDD8C67FFD60}" dt="2021-11-12T14:34:01.129" v="2049" actId="164"/>
          <ac:spMkLst>
            <pc:docMk/>
            <pc:sldMk cId="2131368487" sldId="1139"/>
            <ac:spMk id="194" creationId="{99D46C5F-5F54-469B-9425-1C13EA823FDB}"/>
          </ac:spMkLst>
        </pc:spChg>
        <pc:spChg chg="add mod">
          <ac:chgData name="Arjan van der Meer" userId="008f28a2-684e-4523-b3ca-dcb37d9c3e5d" providerId="ADAL" clId="{44D73574-4316-4891-B5B8-DDD8C67FFD60}" dt="2021-11-12T14:34:01.129" v="2049" actId="164"/>
          <ac:spMkLst>
            <pc:docMk/>
            <pc:sldMk cId="2131368487" sldId="1139"/>
            <ac:spMk id="196" creationId="{5EDB2488-0CE0-4734-9660-646A1522F632}"/>
          </ac:spMkLst>
        </pc:spChg>
        <pc:spChg chg="add mod">
          <ac:chgData name="Arjan van der Meer" userId="008f28a2-684e-4523-b3ca-dcb37d9c3e5d" providerId="ADAL" clId="{44D73574-4316-4891-B5B8-DDD8C67FFD60}" dt="2021-11-12T14:34:01.129" v="2049" actId="164"/>
          <ac:spMkLst>
            <pc:docMk/>
            <pc:sldMk cId="2131368487" sldId="1139"/>
            <ac:spMk id="197" creationId="{F702C3AB-1DC6-4769-9437-B89E8C0CA2B5}"/>
          </ac:spMkLst>
        </pc:spChg>
        <pc:spChg chg="add del mod">
          <ac:chgData name="Arjan van der Meer" userId="008f28a2-684e-4523-b3ca-dcb37d9c3e5d" providerId="ADAL" clId="{44D73574-4316-4891-B5B8-DDD8C67FFD60}" dt="2021-11-12T13:39:00.036" v="1840" actId="478"/>
          <ac:spMkLst>
            <pc:docMk/>
            <pc:sldMk cId="2131368487" sldId="1139"/>
            <ac:spMk id="198" creationId="{C26843ED-C194-44BF-B502-2505AB0702A9}"/>
          </ac:spMkLst>
        </pc:spChg>
        <pc:spChg chg="add mod">
          <ac:chgData name="Arjan van der Meer" userId="008f28a2-684e-4523-b3ca-dcb37d9c3e5d" providerId="ADAL" clId="{44D73574-4316-4891-B5B8-DDD8C67FFD60}" dt="2021-11-12T14:34:01.129" v="2049" actId="164"/>
          <ac:spMkLst>
            <pc:docMk/>
            <pc:sldMk cId="2131368487" sldId="1139"/>
            <ac:spMk id="203" creationId="{E75F1030-F47A-4888-86E9-D566E57C8634}"/>
          </ac:spMkLst>
        </pc:spChg>
        <pc:spChg chg="add mod">
          <ac:chgData name="Arjan van der Meer" userId="008f28a2-684e-4523-b3ca-dcb37d9c3e5d" providerId="ADAL" clId="{44D73574-4316-4891-B5B8-DDD8C67FFD60}" dt="2021-11-12T14:34:01.129" v="2049" actId="164"/>
          <ac:spMkLst>
            <pc:docMk/>
            <pc:sldMk cId="2131368487" sldId="1139"/>
            <ac:spMk id="206" creationId="{B6E13D8D-503B-48D2-8132-53B8EF2EFD2F}"/>
          </ac:spMkLst>
        </pc:spChg>
        <pc:spChg chg="add mod">
          <ac:chgData name="Arjan van der Meer" userId="008f28a2-684e-4523-b3ca-dcb37d9c3e5d" providerId="ADAL" clId="{44D73574-4316-4891-B5B8-DDD8C67FFD60}" dt="2021-11-12T14:34:01.129" v="2049" actId="164"/>
          <ac:spMkLst>
            <pc:docMk/>
            <pc:sldMk cId="2131368487" sldId="1139"/>
            <ac:spMk id="207" creationId="{213179C2-0D7C-4B80-9077-2C4BFEB5A995}"/>
          </ac:spMkLst>
        </pc:spChg>
        <pc:spChg chg="add mod">
          <ac:chgData name="Arjan van der Meer" userId="008f28a2-684e-4523-b3ca-dcb37d9c3e5d" providerId="ADAL" clId="{44D73574-4316-4891-B5B8-DDD8C67FFD60}" dt="2021-11-12T14:34:01.129" v="2049" actId="164"/>
          <ac:spMkLst>
            <pc:docMk/>
            <pc:sldMk cId="2131368487" sldId="1139"/>
            <ac:spMk id="208" creationId="{60DD8144-4688-4AFD-AEBF-23A1459C28E2}"/>
          </ac:spMkLst>
        </pc:spChg>
        <pc:spChg chg="add mod">
          <ac:chgData name="Arjan van der Meer" userId="008f28a2-684e-4523-b3ca-dcb37d9c3e5d" providerId="ADAL" clId="{44D73574-4316-4891-B5B8-DDD8C67FFD60}" dt="2021-11-12T14:34:01.129" v="2049" actId="164"/>
          <ac:spMkLst>
            <pc:docMk/>
            <pc:sldMk cId="2131368487" sldId="1139"/>
            <ac:spMk id="209" creationId="{FFB6AF95-7BBC-4711-90B5-45A1C66783F8}"/>
          </ac:spMkLst>
        </pc:spChg>
        <pc:spChg chg="add del mod">
          <ac:chgData name="Arjan van der Meer" userId="008f28a2-684e-4523-b3ca-dcb37d9c3e5d" providerId="ADAL" clId="{44D73574-4316-4891-B5B8-DDD8C67FFD60}" dt="2021-11-12T13:39:04.212" v="1842" actId="478"/>
          <ac:spMkLst>
            <pc:docMk/>
            <pc:sldMk cId="2131368487" sldId="1139"/>
            <ac:spMk id="210" creationId="{F6101127-D7CA-40D4-B4CA-D2F78D3A3E63}"/>
          </ac:spMkLst>
        </pc:spChg>
        <pc:spChg chg="add del mod">
          <ac:chgData name="Arjan van der Meer" userId="008f28a2-684e-4523-b3ca-dcb37d9c3e5d" providerId="ADAL" clId="{44D73574-4316-4891-B5B8-DDD8C67FFD60}" dt="2021-11-12T13:39:02.387" v="1841" actId="478"/>
          <ac:spMkLst>
            <pc:docMk/>
            <pc:sldMk cId="2131368487" sldId="1139"/>
            <ac:spMk id="211" creationId="{82898A47-7F2B-411C-B91F-C5562BBA06BC}"/>
          </ac:spMkLst>
        </pc:spChg>
        <pc:spChg chg="add mod">
          <ac:chgData name="Arjan van der Meer" userId="008f28a2-684e-4523-b3ca-dcb37d9c3e5d" providerId="ADAL" clId="{44D73574-4316-4891-B5B8-DDD8C67FFD60}" dt="2021-11-12T14:34:01.129" v="2049" actId="164"/>
          <ac:spMkLst>
            <pc:docMk/>
            <pc:sldMk cId="2131368487" sldId="1139"/>
            <ac:spMk id="212" creationId="{B413BF52-0580-4F86-8FBA-8748979D9984}"/>
          </ac:spMkLst>
        </pc:spChg>
        <pc:spChg chg="add mod">
          <ac:chgData name="Arjan van der Meer" userId="008f28a2-684e-4523-b3ca-dcb37d9c3e5d" providerId="ADAL" clId="{44D73574-4316-4891-B5B8-DDD8C67FFD60}" dt="2021-11-12T14:34:01.129" v="2049" actId="164"/>
          <ac:spMkLst>
            <pc:docMk/>
            <pc:sldMk cId="2131368487" sldId="1139"/>
            <ac:spMk id="215" creationId="{A95770DC-9471-4DB7-A9DE-9DBB8536F0DC}"/>
          </ac:spMkLst>
        </pc:spChg>
        <pc:spChg chg="add mod">
          <ac:chgData name="Arjan van der Meer" userId="008f28a2-684e-4523-b3ca-dcb37d9c3e5d" providerId="ADAL" clId="{44D73574-4316-4891-B5B8-DDD8C67FFD60}" dt="2021-11-12T14:33:35.609" v="2043" actId="164"/>
          <ac:spMkLst>
            <pc:docMk/>
            <pc:sldMk cId="2131368487" sldId="1139"/>
            <ac:spMk id="217" creationId="{89AE62CC-6C16-402B-9857-8B351310EB89}"/>
          </ac:spMkLst>
        </pc:spChg>
        <pc:spChg chg="add mod">
          <ac:chgData name="Arjan van der Meer" userId="008f28a2-684e-4523-b3ca-dcb37d9c3e5d" providerId="ADAL" clId="{44D73574-4316-4891-B5B8-DDD8C67FFD60}" dt="2021-11-12T14:33:35.609" v="2043" actId="164"/>
          <ac:spMkLst>
            <pc:docMk/>
            <pc:sldMk cId="2131368487" sldId="1139"/>
            <ac:spMk id="218" creationId="{F5FE6CC2-C093-40B7-8E1A-8396398931AD}"/>
          </ac:spMkLst>
        </pc:spChg>
        <pc:spChg chg="add mod">
          <ac:chgData name="Arjan van der Meer" userId="008f28a2-684e-4523-b3ca-dcb37d9c3e5d" providerId="ADAL" clId="{44D73574-4316-4891-B5B8-DDD8C67FFD60}" dt="2021-11-12T14:33:35.609" v="2043" actId="164"/>
          <ac:spMkLst>
            <pc:docMk/>
            <pc:sldMk cId="2131368487" sldId="1139"/>
            <ac:spMk id="219" creationId="{045A3D2B-B417-4654-BF09-F13F23C34E67}"/>
          </ac:spMkLst>
        </pc:spChg>
        <pc:spChg chg="add mod">
          <ac:chgData name="Arjan van der Meer" userId="008f28a2-684e-4523-b3ca-dcb37d9c3e5d" providerId="ADAL" clId="{44D73574-4316-4891-B5B8-DDD8C67FFD60}" dt="2021-11-12T14:33:35.609" v="2043" actId="164"/>
          <ac:spMkLst>
            <pc:docMk/>
            <pc:sldMk cId="2131368487" sldId="1139"/>
            <ac:spMk id="220" creationId="{2FB26B6E-011D-4FAF-8DC5-A4FD02653D37}"/>
          </ac:spMkLst>
        </pc:spChg>
        <pc:spChg chg="add mod">
          <ac:chgData name="Arjan van der Meer" userId="008f28a2-684e-4523-b3ca-dcb37d9c3e5d" providerId="ADAL" clId="{44D73574-4316-4891-B5B8-DDD8C67FFD60}" dt="2021-11-12T14:33:35.609" v="2043" actId="164"/>
          <ac:spMkLst>
            <pc:docMk/>
            <pc:sldMk cId="2131368487" sldId="1139"/>
            <ac:spMk id="221" creationId="{2553E93F-FB1C-4A8F-9597-49C1AEF5F8A1}"/>
          </ac:spMkLst>
        </pc:spChg>
        <pc:spChg chg="add mod">
          <ac:chgData name="Arjan van der Meer" userId="008f28a2-684e-4523-b3ca-dcb37d9c3e5d" providerId="ADAL" clId="{44D73574-4316-4891-B5B8-DDD8C67FFD60}" dt="2021-11-12T14:33:35.609" v="2043" actId="164"/>
          <ac:spMkLst>
            <pc:docMk/>
            <pc:sldMk cId="2131368487" sldId="1139"/>
            <ac:spMk id="233" creationId="{EFE7799D-F9F4-4F87-B0B9-5D87E8705DE2}"/>
          </ac:spMkLst>
        </pc:spChg>
        <pc:spChg chg="add mod">
          <ac:chgData name="Arjan van der Meer" userId="008f28a2-684e-4523-b3ca-dcb37d9c3e5d" providerId="ADAL" clId="{44D73574-4316-4891-B5B8-DDD8C67FFD60}" dt="2021-11-12T14:33:35.609" v="2043" actId="164"/>
          <ac:spMkLst>
            <pc:docMk/>
            <pc:sldMk cId="2131368487" sldId="1139"/>
            <ac:spMk id="234" creationId="{F3BF0A61-45B8-4A4B-A8AD-E792DD3484A2}"/>
          </ac:spMkLst>
        </pc:spChg>
        <pc:spChg chg="add mod">
          <ac:chgData name="Arjan van der Meer" userId="008f28a2-684e-4523-b3ca-dcb37d9c3e5d" providerId="ADAL" clId="{44D73574-4316-4891-B5B8-DDD8C67FFD60}" dt="2021-11-12T14:33:35.609" v="2043" actId="164"/>
          <ac:spMkLst>
            <pc:docMk/>
            <pc:sldMk cId="2131368487" sldId="1139"/>
            <ac:spMk id="235" creationId="{49FCD083-43A1-416E-9125-A1C8E10AC341}"/>
          </ac:spMkLst>
        </pc:spChg>
        <pc:spChg chg="add mod">
          <ac:chgData name="Arjan van der Meer" userId="008f28a2-684e-4523-b3ca-dcb37d9c3e5d" providerId="ADAL" clId="{44D73574-4316-4891-B5B8-DDD8C67FFD60}" dt="2021-11-12T14:33:20.319" v="2042" actId="164"/>
          <ac:spMkLst>
            <pc:docMk/>
            <pc:sldMk cId="2131368487" sldId="1139"/>
            <ac:spMk id="236" creationId="{3CE2270D-D206-49BC-82EF-894EAA6FB7BB}"/>
          </ac:spMkLst>
        </pc:spChg>
        <pc:spChg chg="add mod">
          <ac:chgData name="Arjan van der Meer" userId="008f28a2-684e-4523-b3ca-dcb37d9c3e5d" providerId="ADAL" clId="{44D73574-4316-4891-B5B8-DDD8C67FFD60}" dt="2021-11-12T14:33:35.609" v="2043" actId="164"/>
          <ac:spMkLst>
            <pc:docMk/>
            <pc:sldMk cId="2131368487" sldId="1139"/>
            <ac:spMk id="237" creationId="{AF32E60B-B0D6-44B9-8E17-9453C5B18D99}"/>
          </ac:spMkLst>
        </pc:spChg>
        <pc:spChg chg="add mod">
          <ac:chgData name="Arjan van der Meer" userId="008f28a2-684e-4523-b3ca-dcb37d9c3e5d" providerId="ADAL" clId="{44D73574-4316-4891-B5B8-DDD8C67FFD60}" dt="2021-11-12T14:33:20.319" v="2042" actId="164"/>
          <ac:spMkLst>
            <pc:docMk/>
            <pc:sldMk cId="2131368487" sldId="1139"/>
            <ac:spMk id="240" creationId="{1BFD2576-3355-428C-850A-39E03081F299}"/>
          </ac:spMkLst>
        </pc:spChg>
        <pc:spChg chg="add del mod">
          <ac:chgData name="Arjan van der Meer" userId="008f28a2-684e-4523-b3ca-dcb37d9c3e5d" providerId="ADAL" clId="{44D73574-4316-4891-B5B8-DDD8C67FFD60}" dt="2021-11-12T13:47:08.250" v="1905" actId="478"/>
          <ac:spMkLst>
            <pc:docMk/>
            <pc:sldMk cId="2131368487" sldId="1139"/>
            <ac:spMk id="241" creationId="{1BDEE7EC-8E71-41A6-9E60-402746B51561}"/>
          </ac:spMkLst>
        </pc:spChg>
        <pc:spChg chg="add mod">
          <ac:chgData name="Arjan van der Meer" userId="008f28a2-684e-4523-b3ca-dcb37d9c3e5d" providerId="ADAL" clId="{44D73574-4316-4891-B5B8-DDD8C67FFD60}" dt="2021-11-12T14:33:20.319" v="2042" actId="164"/>
          <ac:spMkLst>
            <pc:docMk/>
            <pc:sldMk cId="2131368487" sldId="1139"/>
            <ac:spMk id="242" creationId="{3BCCC267-C018-45D4-91E4-227675ABCF75}"/>
          </ac:spMkLst>
        </pc:spChg>
        <pc:spChg chg="add mod">
          <ac:chgData name="Arjan van der Meer" userId="008f28a2-684e-4523-b3ca-dcb37d9c3e5d" providerId="ADAL" clId="{44D73574-4316-4891-B5B8-DDD8C67FFD60}" dt="2021-11-12T14:33:20.319" v="2042" actId="164"/>
          <ac:spMkLst>
            <pc:docMk/>
            <pc:sldMk cId="2131368487" sldId="1139"/>
            <ac:spMk id="243" creationId="{E6E5323D-D54E-4EDC-8E6A-DE97E67EE6EA}"/>
          </ac:spMkLst>
        </pc:spChg>
        <pc:spChg chg="add del mod">
          <ac:chgData name="Arjan van der Meer" userId="008f28a2-684e-4523-b3ca-dcb37d9c3e5d" providerId="ADAL" clId="{44D73574-4316-4891-B5B8-DDD8C67FFD60}" dt="2021-11-12T13:47:05.838" v="1902" actId="478"/>
          <ac:spMkLst>
            <pc:docMk/>
            <pc:sldMk cId="2131368487" sldId="1139"/>
            <ac:spMk id="244" creationId="{F6123027-3AFF-462B-9C17-282560516F54}"/>
          </ac:spMkLst>
        </pc:spChg>
        <pc:spChg chg="add del mod">
          <ac:chgData name="Arjan van der Meer" userId="008f28a2-684e-4523-b3ca-dcb37d9c3e5d" providerId="ADAL" clId="{44D73574-4316-4891-B5B8-DDD8C67FFD60}" dt="2021-11-12T13:47:02.691" v="1901" actId="478"/>
          <ac:spMkLst>
            <pc:docMk/>
            <pc:sldMk cId="2131368487" sldId="1139"/>
            <ac:spMk id="251" creationId="{A5252C76-B447-4EB3-AF83-EAF7B42EBB98}"/>
          </ac:spMkLst>
        </pc:spChg>
        <pc:spChg chg="add mod">
          <ac:chgData name="Arjan van der Meer" userId="008f28a2-684e-4523-b3ca-dcb37d9c3e5d" providerId="ADAL" clId="{44D73574-4316-4891-B5B8-DDD8C67FFD60}" dt="2021-11-12T14:33:20.319" v="2042" actId="164"/>
          <ac:spMkLst>
            <pc:docMk/>
            <pc:sldMk cId="2131368487" sldId="1139"/>
            <ac:spMk id="252" creationId="{8D25B27C-6AB3-4D79-96F5-F13111655F69}"/>
          </ac:spMkLst>
        </pc:spChg>
        <pc:spChg chg="add mod">
          <ac:chgData name="Arjan van der Meer" userId="008f28a2-684e-4523-b3ca-dcb37d9c3e5d" providerId="ADAL" clId="{44D73574-4316-4891-B5B8-DDD8C67FFD60}" dt="2021-11-12T14:33:20.319" v="2042" actId="164"/>
          <ac:spMkLst>
            <pc:docMk/>
            <pc:sldMk cId="2131368487" sldId="1139"/>
            <ac:spMk id="253" creationId="{264C83DE-A40F-4022-A31B-A3CED1CC13A5}"/>
          </ac:spMkLst>
        </pc:spChg>
        <pc:spChg chg="add del mod">
          <ac:chgData name="Arjan van der Meer" userId="008f28a2-684e-4523-b3ca-dcb37d9c3e5d" providerId="ADAL" clId="{44D73574-4316-4891-B5B8-DDD8C67FFD60}" dt="2021-11-12T13:47:00.914" v="1900" actId="478"/>
          <ac:spMkLst>
            <pc:docMk/>
            <pc:sldMk cId="2131368487" sldId="1139"/>
            <ac:spMk id="254" creationId="{122A926D-0678-4CFE-9DFD-54DFB1160050}"/>
          </ac:spMkLst>
        </pc:spChg>
        <pc:spChg chg="add mod">
          <ac:chgData name="Arjan van der Meer" userId="008f28a2-684e-4523-b3ca-dcb37d9c3e5d" providerId="ADAL" clId="{44D73574-4316-4891-B5B8-DDD8C67FFD60}" dt="2021-11-12T14:33:35.609" v="2043" actId="164"/>
          <ac:spMkLst>
            <pc:docMk/>
            <pc:sldMk cId="2131368487" sldId="1139"/>
            <ac:spMk id="271" creationId="{EEFBBB8C-3B17-4702-9DCE-111D12126208}"/>
          </ac:spMkLst>
        </pc:spChg>
        <pc:spChg chg="mod">
          <ac:chgData name="Arjan van der Meer" userId="008f28a2-684e-4523-b3ca-dcb37d9c3e5d" providerId="ADAL" clId="{44D73574-4316-4891-B5B8-DDD8C67FFD60}" dt="2021-11-12T15:01:52.545" v="2078"/>
          <ac:spMkLst>
            <pc:docMk/>
            <pc:sldMk cId="2131368487" sldId="1139"/>
            <ac:spMk id="283" creationId="{D436A019-A304-4EF7-848C-36F78D51DC27}"/>
          </ac:spMkLst>
        </pc:spChg>
        <pc:spChg chg="mod">
          <ac:chgData name="Arjan van der Meer" userId="008f28a2-684e-4523-b3ca-dcb37d9c3e5d" providerId="ADAL" clId="{44D73574-4316-4891-B5B8-DDD8C67FFD60}" dt="2021-11-12T15:01:52.545" v="2078"/>
          <ac:spMkLst>
            <pc:docMk/>
            <pc:sldMk cId="2131368487" sldId="1139"/>
            <ac:spMk id="286" creationId="{26229C1C-3FCA-4A77-BDC3-CA8F71BB3150}"/>
          </ac:spMkLst>
        </pc:spChg>
        <pc:spChg chg="mod">
          <ac:chgData name="Arjan van der Meer" userId="008f28a2-684e-4523-b3ca-dcb37d9c3e5d" providerId="ADAL" clId="{44D73574-4316-4891-B5B8-DDD8C67FFD60}" dt="2021-11-12T15:01:52.545" v="2078"/>
          <ac:spMkLst>
            <pc:docMk/>
            <pc:sldMk cId="2131368487" sldId="1139"/>
            <ac:spMk id="287" creationId="{491F5122-E399-427A-BE94-39005EB4134C}"/>
          </ac:spMkLst>
        </pc:spChg>
        <pc:spChg chg="mod">
          <ac:chgData name="Arjan van der Meer" userId="008f28a2-684e-4523-b3ca-dcb37d9c3e5d" providerId="ADAL" clId="{44D73574-4316-4891-B5B8-DDD8C67FFD60}" dt="2021-11-12T15:01:52.545" v="2078"/>
          <ac:spMkLst>
            <pc:docMk/>
            <pc:sldMk cId="2131368487" sldId="1139"/>
            <ac:spMk id="288" creationId="{4C47DC61-D862-4BD1-8629-1BF216E85ADB}"/>
          </ac:spMkLst>
        </pc:spChg>
        <pc:spChg chg="mod">
          <ac:chgData name="Arjan van der Meer" userId="008f28a2-684e-4523-b3ca-dcb37d9c3e5d" providerId="ADAL" clId="{44D73574-4316-4891-B5B8-DDD8C67FFD60}" dt="2021-11-12T15:01:52.545" v="2078"/>
          <ac:spMkLst>
            <pc:docMk/>
            <pc:sldMk cId="2131368487" sldId="1139"/>
            <ac:spMk id="291" creationId="{2B6A0853-9622-4171-B61C-F8E13FF70E20}"/>
          </ac:spMkLst>
        </pc:spChg>
        <pc:spChg chg="mod">
          <ac:chgData name="Arjan van der Meer" userId="008f28a2-684e-4523-b3ca-dcb37d9c3e5d" providerId="ADAL" clId="{44D73574-4316-4891-B5B8-DDD8C67FFD60}" dt="2021-11-12T15:01:52.545" v="2078"/>
          <ac:spMkLst>
            <pc:docMk/>
            <pc:sldMk cId="2131368487" sldId="1139"/>
            <ac:spMk id="294" creationId="{6BEE3695-EA93-4859-A7C4-1EC198BFE84F}"/>
          </ac:spMkLst>
        </pc:spChg>
        <pc:spChg chg="mod">
          <ac:chgData name="Arjan van der Meer" userId="008f28a2-684e-4523-b3ca-dcb37d9c3e5d" providerId="ADAL" clId="{44D73574-4316-4891-B5B8-DDD8C67FFD60}" dt="2021-11-12T15:01:52.545" v="2078"/>
          <ac:spMkLst>
            <pc:docMk/>
            <pc:sldMk cId="2131368487" sldId="1139"/>
            <ac:spMk id="295" creationId="{FF70925E-683A-4C7B-9FF6-01497E8FBEDE}"/>
          </ac:spMkLst>
        </pc:spChg>
        <pc:spChg chg="mod">
          <ac:chgData name="Arjan van der Meer" userId="008f28a2-684e-4523-b3ca-dcb37d9c3e5d" providerId="ADAL" clId="{44D73574-4316-4891-B5B8-DDD8C67FFD60}" dt="2021-11-12T15:01:52.545" v="2078"/>
          <ac:spMkLst>
            <pc:docMk/>
            <pc:sldMk cId="2131368487" sldId="1139"/>
            <ac:spMk id="296" creationId="{4CE909CB-39AB-4353-B28E-619C946119EB}"/>
          </ac:spMkLst>
        </pc:spChg>
        <pc:grpChg chg="add mod">
          <ac:chgData name="Arjan van der Meer" userId="008f28a2-684e-4523-b3ca-dcb37d9c3e5d" providerId="ADAL" clId="{44D73574-4316-4891-B5B8-DDD8C67FFD60}" dt="2021-11-12T14:35:32.345" v="2070" actId="1076"/>
          <ac:grpSpMkLst>
            <pc:docMk/>
            <pc:sldMk cId="2131368487" sldId="1139"/>
            <ac:grpSpMk id="272" creationId="{4E4D1234-49F3-43D6-9A2E-FB73A56D021A}"/>
          </ac:grpSpMkLst>
        </pc:grpChg>
        <pc:grpChg chg="add mod">
          <ac:chgData name="Arjan van der Meer" userId="008f28a2-684e-4523-b3ca-dcb37d9c3e5d" providerId="ADAL" clId="{44D73574-4316-4891-B5B8-DDD8C67FFD60}" dt="2021-11-12T14:35:21.357" v="2067" actId="1076"/>
          <ac:grpSpMkLst>
            <pc:docMk/>
            <pc:sldMk cId="2131368487" sldId="1139"/>
            <ac:grpSpMk id="273" creationId="{5EC35627-CB96-4678-A533-54E22C0E135F}"/>
          </ac:grpSpMkLst>
        </pc:grpChg>
        <pc:grpChg chg="add mod">
          <ac:chgData name="Arjan van der Meer" userId="008f28a2-684e-4523-b3ca-dcb37d9c3e5d" providerId="ADAL" clId="{44D73574-4316-4891-B5B8-DDD8C67FFD60}" dt="2021-11-12T14:34:11.825" v="2051" actId="1076"/>
          <ac:grpSpMkLst>
            <pc:docMk/>
            <pc:sldMk cId="2131368487" sldId="1139"/>
            <ac:grpSpMk id="274" creationId="{D823978E-005B-46F0-884A-C81C1EC8DAFC}"/>
          </ac:grpSpMkLst>
        </pc:grpChg>
        <pc:grpChg chg="add mod">
          <ac:chgData name="Arjan van der Meer" userId="008f28a2-684e-4523-b3ca-dcb37d9c3e5d" providerId="ADAL" clId="{44D73574-4316-4891-B5B8-DDD8C67FFD60}" dt="2021-11-12T14:34:39.706" v="2059" actId="1076"/>
          <ac:grpSpMkLst>
            <pc:docMk/>
            <pc:sldMk cId="2131368487" sldId="1139"/>
            <ac:grpSpMk id="276" creationId="{62B5265F-B73A-41ED-8E91-6966C87C7434}"/>
          </ac:grpSpMkLst>
        </pc:grpChg>
        <pc:grpChg chg="add mod">
          <ac:chgData name="Arjan van der Meer" userId="008f28a2-684e-4523-b3ca-dcb37d9c3e5d" providerId="ADAL" clId="{44D73574-4316-4891-B5B8-DDD8C67FFD60}" dt="2021-11-12T15:02:46.275" v="2081" actId="1076"/>
          <ac:grpSpMkLst>
            <pc:docMk/>
            <pc:sldMk cId="2131368487" sldId="1139"/>
            <ac:grpSpMk id="282" creationId="{D43FE75D-F710-4059-86EA-5E32B01ACAC7}"/>
          </ac:grpSpMkLst>
        </pc:grpChg>
        <pc:cxnChg chg="add del mod">
          <ac:chgData name="Arjan van der Meer" userId="008f28a2-684e-4523-b3ca-dcb37d9c3e5d" providerId="ADAL" clId="{44D73574-4316-4891-B5B8-DDD8C67FFD60}" dt="2021-11-12T12:53:36.103" v="1649" actId="478"/>
          <ac:cxnSpMkLst>
            <pc:docMk/>
            <pc:sldMk cId="2131368487" sldId="1139"/>
            <ac:cxnSpMk id="13" creationId="{D393C291-43CD-49C4-8E48-6E934F433303}"/>
          </ac:cxnSpMkLst>
        </pc:cxnChg>
        <pc:cxnChg chg="mod">
          <ac:chgData name="Arjan van der Meer" userId="008f28a2-684e-4523-b3ca-dcb37d9c3e5d" providerId="ADAL" clId="{44D73574-4316-4891-B5B8-DDD8C67FFD60}" dt="2021-11-12T14:34:36.806" v="2058" actId="164"/>
          <ac:cxnSpMkLst>
            <pc:docMk/>
            <pc:sldMk cId="2131368487" sldId="1139"/>
            <ac:cxnSpMk id="26" creationId="{6EA0D60F-AEE1-4E54-9842-1958072F2E70}"/>
          </ac:cxnSpMkLst>
        </pc:cxnChg>
        <pc:cxnChg chg="mod">
          <ac:chgData name="Arjan van der Meer" userId="008f28a2-684e-4523-b3ca-dcb37d9c3e5d" providerId="ADAL" clId="{44D73574-4316-4891-B5B8-DDD8C67FFD60}" dt="2021-11-12T14:34:36.806" v="2058" actId="164"/>
          <ac:cxnSpMkLst>
            <pc:docMk/>
            <pc:sldMk cId="2131368487" sldId="1139"/>
            <ac:cxnSpMk id="27" creationId="{4E257FE9-A699-491B-B3E1-07B58BFAB805}"/>
          </ac:cxnSpMkLst>
        </pc:cxnChg>
        <pc:cxnChg chg="del mod">
          <ac:chgData name="Arjan van der Meer" userId="008f28a2-684e-4523-b3ca-dcb37d9c3e5d" providerId="ADAL" clId="{44D73574-4316-4891-B5B8-DDD8C67FFD60}" dt="2021-11-12T13:08:39.478" v="1721" actId="478"/>
          <ac:cxnSpMkLst>
            <pc:docMk/>
            <pc:sldMk cId="2131368487" sldId="1139"/>
            <ac:cxnSpMk id="31" creationId="{788B60C2-14FA-4D9B-ADE5-54DDA1616D19}"/>
          </ac:cxnSpMkLst>
        </pc:cxnChg>
        <pc:cxnChg chg="mod">
          <ac:chgData name="Arjan van der Meer" userId="008f28a2-684e-4523-b3ca-dcb37d9c3e5d" providerId="ADAL" clId="{44D73574-4316-4891-B5B8-DDD8C67FFD60}" dt="2021-11-12T14:34:36.806" v="2058" actId="164"/>
          <ac:cxnSpMkLst>
            <pc:docMk/>
            <pc:sldMk cId="2131368487" sldId="1139"/>
            <ac:cxnSpMk id="32" creationId="{049F90D1-8458-41BD-A193-FFA4539353DC}"/>
          </ac:cxnSpMkLst>
        </pc:cxnChg>
        <pc:cxnChg chg="add del mod">
          <ac:chgData name="Arjan van der Meer" userId="008f28a2-684e-4523-b3ca-dcb37d9c3e5d" providerId="ADAL" clId="{44D73574-4316-4891-B5B8-DDD8C67FFD60}" dt="2021-11-12T12:53:56.479" v="1651" actId="478"/>
          <ac:cxnSpMkLst>
            <pc:docMk/>
            <pc:sldMk cId="2131368487" sldId="1139"/>
            <ac:cxnSpMk id="33" creationId="{0467C594-6E56-44B1-8EFE-7604DC4B3854}"/>
          </ac:cxnSpMkLst>
        </pc:cxnChg>
        <pc:cxnChg chg="add del mod">
          <ac:chgData name="Arjan van der Meer" userId="008f28a2-684e-4523-b3ca-dcb37d9c3e5d" providerId="ADAL" clId="{44D73574-4316-4891-B5B8-DDD8C67FFD60}" dt="2021-11-12T12:54:20.560" v="1653" actId="478"/>
          <ac:cxnSpMkLst>
            <pc:docMk/>
            <pc:sldMk cId="2131368487" sldId="1139"/>
            <ac:cxnSpMk id="35" creationId="{822BC4A8-88D7-41F4-950C-EE48D4BED639}"/>
          </ac:cxnSpMkLst>
        </pc:cxnChg>
        <pc:cxnChg chg="del">
          <ac:chgData name="Arjan van der Meer" userId="008f28a2-684e-4523-b3ca-dcb37d9c3e5d" providerId="ADAL" clId="{44D73574-4316-4891-B5B8-DDD8C67FFD60}" dt="2021-11-12T13:21:51.861" v="1757" actId="478"/>
          <ac:cxnSpMkLst>
            <pc:docMk/>
            <pc:sldMk cId="2131368487" sldId="1139"/>
            <ac:cxnSpMk id="42" creationId="{995D56B7-8F67-45D6-AD4D-6B10301E2B5C}"/>
          </ac:cxnSpMkLst>
        </pc:cxnChg>
        <pc:cxnChg chg="del">
          <ac:chgData name="Arjan van der Meer" userId="008f28a2-684e-4523-b3ca-dcb37d9c3e5d" providerId="ADAL" clId="{44D73574-4316-4891-B5B8-DDD8C67FFD60}" dt="2021-11-12T13:21:52.785" v="1758" actId="478"/>
          <ac:cxnSpMkLst>
            <pc:docMk/>
            <pc:sldMk cId="2131368487" sldId="1139"/>
            <ac:cxnSpMk id="43" creationId="{4ACD888B-497A-48CA-8C72-A1D52E529F03}"/>
          </ac:cxnSpMkLst>
        </pc:cxnChg>
        <pc:cxnChg chg="del">
          <ac:chgData name="Arjan van der Meer" userId="008f28a2-684e-4523-b3ca-dcb37d9c3e5d" providerId="ADAL" clId="{44D73574-4316-4891-B5B8-DDD8C67FFD60}" dt="2021-11-12T13:21:53.814" v="1759" actId="478"/>
          <ac:cxnSpMkLst>
            <pc:docMk/>
            <pc:sldMk cId="2131368487" sldId="1139"/>
            <ac:cxnSpMk id="47" creationId="{8E8F90C8-F8A8-456B-968F-2BCBCBE3E57B}"/>
          </ac:cxnSpMkLst>
        </pc:cxnChg>
        <pc:cxnChg chg="mod">
          <ac:chgData name="Arjan van der Meer" userId="008f28a2-684e-4523-b3ca-dcb37d9c3e5d" providerId="ADAL" clId="{44D73574-4316-4891-B5B8-DDD8C67FFD60}" dt="2021-11-12T14:34:36.806" v="2058" actId="164"/>
          <ac:cxnSpMkLst>
            <pc:docMk/>
            <pc:sldMk cId="2131368487" sldId="1139"/>
            <ac:cxnSpMk id="48" creationId="{293188AB-17B0-45C8-BEEE-301B5EEDC829}"/>
          </ac:cxnSpMkLst>
        </pc:cxnChg>
        <pc:cxnChg chg="del">
          <ac:chgData name="Arjan van der Meer" userId="008f28a2-684e-4523-b3ca-dcb37d9c3e5d" providerId="ADAL" clId="{44D73574-4316-4891-B5B8-DDD8C67FFD60}" dt="2021-11-12T13:33:15.258" v="1813" actId="478"/>
          <ac:cxnSpMkLst>
            <pc:docMk/>
            <pc:sldMk cId="2131368487" sldId="1139"/>
            <ac:cxnSpMk id="50" creationId="{F7179981-A58F-4238-A070-980BDDB24D39}"/>
          </ac:cxnSpMkLst>
        </pc:cxnChg>
        <pc:cxnChg chg="del">
          <ac:chgData name="Arjan van der Meer" userId="008f28a2-684e-4523-b3ca-dcb37d9c3e5d" providerId="ADAL" clId="{44D73574-4316-4891-B5B8-DDD8C67FFD60}" dt="2021-11-12T13:33:15.258" v="1813" actId="478"/>
          <ac:cxnSpMkLst>
            <pc:docMk/>
            <pc:sldMk cId="2131368487" sldId="1139"/>
            <ac:cxnSpMk id="51" creationId="{38C282A3-B153-44FF-AAF6-7B3ABD8278B2}"/>
          </ac:cxnSpMkLst>
        </pc:cxnChg>
        <pc:cxnChg chg="del">
          <ac:chgData name="Arjan van der Meer" userId="008f28a2-684e-4523-b3ca-dcb37d9c3e5d" providerId="ADAL" clId="{44D73574-4316-4891-B5B8-DDD8C67FFD60}" dt="2021-11-12T13:33:15.258" v="1813" actId="478"/>
          <ac:cxnSpMkLst>
            <pc:docMk/>
            <pc:sldMk cId="2131368487" sldId="1139"/>
            <ac:cxnSpMk id="56" creationId="{C36E73D3-EB98-417C-A1E2-1D042E1ED383}"/>
          </ac:cxnSpMkLst>
        </pc:cxnChg>
        <pc:cxnChg chg="del">
          <ac:chgData name="Arjan van der Meer" userId="008f28a2-684e-4523-b3ca-dcb37d9c3e5d" providerId="ADAL" clId="{44D73574-4316-4891-B5B8-DDD8C67FFD60}" dt="2021-11-12T13:33:15.258" v="1813" actId="478"/>
          <ac:cxnSpMkLst>
            <pc:docMk/>
            <pc:sldMk cId="2131368487" sldId="1139"/>
            <ac:cxnSpMk id="59" creationId="{4886554A-783C-43BE-BD14-CEA89DA0A3C3}"/>
          </ac:cxnSpMkLst>
        </pc:cxnChg>
        <pc:cxnChg chg="del">
          <ac:chgData name="Arjan van der Meer" userId="008f28a2-684e-4523-b3ca-dcb37d9c3e5d" providerId="ADAL" clId="{44D73574-4316-4891-B5B8-DDD8C67FFD60}" dt="2021-11-12T13:33:15.258" v="1813" actId="478"/>
          <ac:cxnSpMkLst>
            <pc:docMk/>
            <pc:sldMk cId="2131368487" sldId="1139"/>
            <ac:cxnSpMk id="63" creationId="{D0B951D7-83B5-4121-A7F6-8127BFD95C75}"/>
          </ac:cxnSpMkLst>
        </pc:cxnChg>
        <pc:cxnChg chg="del">
          <ac:chgData name="Arjan van der Meer" userId="008f28a2-684e-4523-b3ca-dcb37d9c3e5d" providerId="ADAL" clId="{44D73574-4316-4891-B5B8-DDD8C67FFD60}" dt="2021-11-12T13:33:15.258" v="1813" actId="478"/>
          <ac:cxnSpMkLst>
            <pc:docMk/>
            <pc:sldMk cId="2131368487" sldId="1139"/>
            <ac:cxnSpMk id="64" creationId="{F6B74241-6574-499D-8348-48E120C83B34}"/>
          </ac:cxnSpMkLst>
        </pc:cxnChg>
        <pc:cxnChg chg="del mod">
          <ac:chgData name="Arjan van der Meer" userId="008f28a2-684e-4523-b3ca-dcb37d9c3e5d" providerId="ADAL" clId="{44D73574-4316-4891-B5B8-DDD8C67FFD60}" dt="2021-11-12T13:34:18.495" v="1818" actId="478"/>
          <ac:cxnSpMkLst>
            <pc:docMk/>
            <pc:sldMk cId="2131368487" sldId="1139"/>
            <ac:cxnSpMk id="68" creationId="{D7BD52C5-848D-4FB6-90B0-7F27074DA249}"/>
          </ac:cxnSpMkLst>
        </pc:cxnChg>
        <pc:cxnChg chg="add del mod">
          <ac:chgData name="Arjan van der Meer" userId="008f28a2-684e-4523-b3ca-dcb37d9c3e5d" providerId="ADAL" clId="{44D73574-4316-4891-B5B8-DDD8C67FFD60}" dt="2021-11-12T13:01:38.822" v="1667" actId="478"/>
          <ac:cxnSpMkLst>
            <pc:docMk/>
            <pc:sldMk cId="2131368487" sldId="1139"/>
            <ac:cxnSpMk id="71" creationId="{F69259DF-16D4-4797-950F-2537440CF58D}"/>
          </ac:cxnSpMkLst>
        </pc:cxnChg>
        <pc:cxnChg chg="del mod">
          <ac:chgData name="Arjan van der Meer" userId="008f28a2-684e-4523-b3ca-dcb37d9c3e5d" providerId="ADAL" clId="{44D73574-4316-4891-B5B8-DDD8C67FFD60}" dt="2021-11-12T13:34:18.495" v="1818" actId="478"/>
          <ac:cxnSpMkLst>
            <pc:docMk/>
            <pc:sldMk cId="2131368487" sldId="1139"/>
            <ac:cxnSpMk id="72" creationId="{B328A346-A1FC-4943-8C51-C7FABC55C70F}"/>
          </ac:cxnSpMkLst>
        </pc:cxnChg>
        <pc:cxnChg chg="add del mod">
          <ac:chgData name="Arjan van der Meer" userId="008f28a2-684e-4523-b3ca-dcb37d9c3e5d" providerId="ADAL" clId="{44D73574-4316-4891-B5B8-DDD8C67FFD60}" dt="2021-11-12T13:02:42.206" v="1669" actId="478"/>
          <ac:cxnSpMkLst>
            <pc:docMk/>
            <pc:sldMk cId="2131368487" sldId="1139"/>
            <ac:cxnSpMk id="74" creationId="{73B9DFAC-32D6-493A-8443-A4795C38DE8C}"/>
          </ac:cxnSpMkLst>
        </pc:cxnChg>
        <pc:cxnChg chg="del mod">
          <ac:chgData name="Arjan van der Meer" userId="008f28a2-684e-4523-b3ca-dcb37d9c3e5d" providerId="ADAL" clId="{44D73574-4316-4891-B5B8-DDD8C67FFD60}" dt="2021-11-12T13:34:18.495" v="1818" actId="478"/>
          <ac:cxnSpMkLst>
            <pc:docMk/>
            <pc:sldMk cId="2131368487" sldId="1139"/>
            <ac:cxnSpMk id="76" creationId="{0018BED5-6D92-4221-BDD6-6859573602E0}"/>
          </ac:cxnSpMkLst>
        </pc:cxnChg>
        <pc:cxnChg chg="del mod">
          <ac:chgData name="Arjan van der Meer" userId="008f28a2-684e-4523-b3ca-dcb37d9c3e5d" providerId="ADAL" clId="{44D73574-4316-4891-B5B8-DDD8C67FFD60}" dt="2021-11-12T13:34:18.495" v="1818" actId="478"/>
          <ac:cxnSpMkLst>
            <pc:docMk/>
            <pc:sldMk cId="2131368487" sldId="1139"/>
            <ac:cxnSpMk id="79" creationId="{D7B6B4AD-61AF-4ED1-9E5A-2DDFC761AF14}"/>
          </ac:cxnSpMkLst>
        </pc:cxnChg>
        <pc:cxnChg chg="add mod">
          <ac:chgData name="Arjan van der Meer" userId="008f28a2-684e-4523-b3ca-dcb37d9c3e5d" providerId="ADAL" clId="{44D73574-4316-4891-B5B8-DDD8C67FFD60}" dt="2021-11-12T14:34:36.806" v="2058" actId="164"/>
          <ac:cxnSpMkLst>
            <pc:docMk/>
            <pc:sldMk cId="2131368487" sldId="1139"/>
            <ac:cxnSpMk id="81" creationId="{BFA7D46F-2EA6-4626-A198-C8FB365BEE65}"/>
          </ac:cxnSpMkLst>
        </pc:cxnChg>
        <pc:cxnChg chg="del mod">
          <ac:chgData name="Arjan van der Meer" userId="008f28a2-684e-4523-b3ca-dcb37d9c3e5d" providerId="ADAL" clId="{44D73574-4316-4891-B5B8-DDD8C67FFD60}" dt="2021-11-12T13:34:32.644" v="1824" actId="478"/>
          <ac:cxnSpMkLst>
            <pc:docMk/>
            <pc:sldMk cId="2131368487" sldId="1139"/>
            <ac:cxnSpMk id="89" creationId="{AC509A46-F0EC-453F-B874-B2E13A846DAD}"/>
          </ac:cxnSpMkLst>
        </pc:cxnChg>
        <pc:cxnChg chg="del mod">
          <ac:chgData name="Arjan van der Meer" userId="008f28a2-684e-4523-b3ca-dcb37d9c3e5d" providerId="ADAL" clId="{44D73574-4316-4891-B5B8-DDD8C67FFD60}" dt="2021-11-12T13:34:32.644" v="1824" actId="478"/>
          <ac:cxnSpMkLst>
            <pc:docMk/>
            <pc:sldMk cId="2131368487" sldId="1139"/>
            <ac:cxnSpMk id="90" creationId="{3ADF9F33-797F-4FC7-9892-D4D5EAB977EA}"/>
          </ac:cxnSpMkLst>
        </pc:cxnChg>
        <pc:cxnChg chg="del mod">
          <ac:chgData name="Arjan van der Meer" userId="008f28a2-684e-4523-b3ca-dcb37d9c3e5d" providerId="ADAL" clId="{44D73574-4316-4891-B5B8-DDD8C67FFD60}" dt="2021-11-12T13:34:32.644" v="1824" actId="478"/>
          <ac:cxnSpMkLst>
            <pc:docMk/>
            <pc:sldMk cId="2131368487" sldId="1139"/>
            <ac:cxnSpMk id="92" creationId="{6F935FB7-56EE-4301-BBD4-27044B18659F}"/>
          </ac:cxnSpMkLst>
        </pc:cxnChg>
        <pc:cxnChg chg="del mod">
          <ac:chgData name="Arjan van der Meer" userId="008f28a2-684e-4523-b3ca-dcb37d9c3e5d" providerId="ADAL" clId="{44D73574-4316-4891-B5B8-DDD8C67FFD60}" dt="2021-11-12T13:34:32.644" v="1824" actId="478"/>
          <ac:cxnSpMkLst>
            <pc:docMk/>
            <pc:sldMk cId="2131368487" sldId="1139"/>
            <ac:cxnSpMk id="93" creationId="{8987A050-7140-49C3-9C1C-3C47A7C9EE5A}"/>
          </ac:cxnSpMkLst>
        </pc:cxnChg>
        <pc:cxnChg chg="add del mod">
          <ac:chgData name="Arjan van der Meer" userId="008f28a2-684e-4523-b3ca-dcb37d9c3e5d" providerId="ADAL" clId="{44D73574-4316-4891-B5B8-DDD8C67FFD60}" dt="2021-11-12T12:53:16.376" v="1647" actId="478"/>
          <ac:cxnSpMkLst>
            <pc:docMk/>
            <pc:sldMk cId="2131368487" sldId="1139"/>
            <ac:cxnSpMk id="94" creationId="{67643501-E1F7-42A3-BF73-387F481B99E6}"/>
          </ac:cxnSpMkLst>
        </pc:cxnChg>
        <pc:cxnChg chg="add del mod">
          <ac:chgData name="Arjan van der Meer" userId="008f28a2-684e-4523-b3ca-dcb37d9c3e5d" providerId="ADAL" clId="{44D73574-4316-4891-B5B8-DDD8C67FFD60}" dt="2021-11-12T13:01:19.431" v="1665" actId="478"/>
          <ac:cxnSpMkLst>
            <pc:docMk/>
            <pc:sldMk cId="2131368487" sldId="1139"/>
            <ac:cxnSpMk id="95" creationId="{D3E6AB8D-0C37-46C2-8FA8-789651D332F5}"/>
          </ac:cxnSpMkLst>
        </pc:cxnChg>
        <pc:cxnChg chg="del">
          <ac:chgData name="Arjan van der Meer" userId="008f28a2-684e-4523-b3ca-dcb37d9c3e5d" providerId="ADAL" clId="{44D73574-4316-4891-B5B8-DDD8C67FFD60}" dt="2021-11-12T13:34:32.644" v="1824" actId="478"/>
          <ac:cxnSpMkLst>
            <pc:docMk/>
            <pc:sldMk cId="2131368487" sldId="1139"/>
            <ac:cxnSpMk id="101" creationId="{20FA2FF6-CC88-4E1F-91E8-F0326CE86B4D}"/>
          </ac:cxnSpMkLst>
        </pc:cxnChg>
        <pc:cxnChg chg="del">
          <ac:chgData name="Arjan van der Meer" userId="008f28a2-684e-4523-b3ca-dcb37d9c3e5d" providerId="ADAL" clId="{44D73574-4316-4891-B5B8-DDD8C67FFD60}" dt="2021-11-12T13:34:18.495" v="1818" actId="478"/>
          <ac:cxnSpMkLst>
            <pc:docMk/>
            <pc:sldMk cId="2131368487" sldId="1139"/>
            <ac:cxnSpMk id="102" creationId="{CE65D218-3E6A-4E4C-9797-000999161DAD}"/>
          </ac:cxnSpMkLst>
        </pc:cxnChg>
        <pc:cxnChg chg="mod">
          <ac:chgData name="Arjan van der Meer" userId="008f28a2-684e-4523-b3ca-dcb37d9c3e5d" providerId="ADAL" clId="{44D73574-4316-4891-B5B8-DDD8C67FFD60}" dt="2021-11-12T14:34:52.928" v="2062" actId="1076"/>
          <ac:cxnSpMkLst>
            <pc:docMk/>
            <pc:sldMk cId="2131368487" sldId="1139"/>
            <ac:cxnSpMk id="103" creationId="{59405CD1-8D56-46FA-A0A6-6E25B80BEA61}"/>
          </ac:cxnSpMkLst>
        </pc:cxnChg>
        <pc:cxnChg chg="mod">
          <ac:chgData name="Arjan van der Meer" userId="008f28a2-684e-4523-b3ca-dcb37d9c3e5d" providerId="ADAL" clId="{44D73574-4316-4891-B5B8-DDD8C67FFD60}" dt="2021-11-12T14:34:56.641" v="2063" actId="1076"/>
          <ac:cxnSpMkLst>
            <pc:docMk/>
            <pc:sldMk cId="2131368487" sldId="1139"/>
            <ac:cxnSpMk id="106" creationId="{1E831BDD-1278-441F-908B-A13B522F9282}"/>
          </ac:cxnSpMkLst>
        </pc:cxnChg>
        <pc:cxnChg chg="del">
          <ac:chgData name="Arjan van der Meer" userId="008f28a2-684e-4523-b3ca-dcb37d9c3e5d" providerId="ADAL" clId="{44D73574-4316-4891-B5B8-DDD8C67FFD60}" dt="2021-11-12T13:34:27.547" v="1822" actId="478"/>
          <ac:cxnSpMkLst>
            <pc:docMk/>
            <pc:sldMk cId="2131368487" sldId="1139"/>
            <ac:cxnSpMk id="109" creationId="{46F17DA8-0F2C-473E-9EAA-07DD9576A5AD}"/>
          </ac:cxnSpMkLst>
        </pc:cxnChg>
        <pc:cxnChg chg="del">
          <ac:chgData name="Arjan van der Meer" userId="008f28a2-684e-4523-b3ca-dcb37d9c3e5d" providerId="ADAL" clId="{44D73574-4316-4891-B5B8-DDD8C67FFD60}" dt="2021-11-12T13:34:28.619" v="1823" actId="478"/>
          <ac:cxnSpMkLst>
            <pc:docMk/>
            <pc:sldMk cId="2131368487" sldId="1139"/>
            <ac:cxnSpMk id="112" creationId="{1CDBDCA0-B482-40E7-B686-6732DD7FECD9}"/>
          </ac:cxnSpMkLst>
        </pc:cxnChg>
        <pc:cxnChg chg="add mod">
          <ac:chgData name="Arjan van der Meer" userId="008f28a2-684e-4523-b3ca-dcb37d9c3e5d" providerId="ADAL" clId="{44D73574-4316-4891-B5B8-DDD8C67FFD60}" dt="2021-11-12T14:34:36.806" v="2058" actId="164"/>
          <ac:cxnSpMkLst>
            <pc:docMk/>
            <pc:sldMk cId="2131368487" sldId="1139"/>
            <ac:cxnSpMk id="119" creationId="{202261A8-E333-4F7D-AC17-E3E6B3F3E4A7}"/>
          </ac:cxnSpMkLst>
        </pc:cxnChg>
        <pc:cxnChg chg="add del mod">
          <ac:chgData name="Arjan van der Meer" userId="008f28a2-684e-4523-b3ca-dcb37d9c3e5d" providerId="ADAL" clId="{44D73574-4316-4891-B5B8-DDD8C67FFD60}" dt="2021-11-12T13:06:15.461" v="1699" actId="478"/>
          <ac:cxnSpMkLst>
            <pc:docMk/>
            <pc:sldMk cId="2131368487" sldId="1139"/>
            <ac:cxnSpMk id="121" creationId="{B38B898B-7AD7-4958-AE22-03266FF3ED34}"/>
          </ac:cxnSpMkLst>
        </pc:cxnChg>
        <pc:cxnChg chg="add del mod">
          <ac:chgData name="Arjan van der Meer" userId="008f28a2-684e-4523-b3ca-dcb37d9c3e5d" providerId="ADAL" clId="{44D73574-4316-4891-B5B8-DDD8C67FFD60}" dt="2021-11-12T13:06:54.997" v="1704" actId="478"/>
          <ac:cxnSpMkLst>
            <pc:docMk/>
            <pc:sldMk cId="2131368487" sldId="1139"/>
            <ac:cxnSpMk id="128" creationId="{1D44396B-5874-4A92-A53B-BF177DE74154}"/>
          </ac:cxnSpMkLst>
        </pc:cxnChg>
        <pc:cxnChg chg="add del mod">
          <ac:chgData name="Arjan van der Meer" userId="008f28a2-684e-4523-b3ca-dcb37d9c3e5d" providerId="ADAL" clId="{44D73574-4316-4891-B5B8-DDD8C67FFD60}" dt="2021-11-12T13:07:04.598" v="1706" actId="478"/>
          <ac:cxnSpMkLst>
            <pc:docMk/>
            <pc:sldMk cId="2131368487" sldId="1139"/>
            <ac:cxnSpMk id="130" creationId="{28309D83-7352-4509-9157-00BFE91FBFBD}"/>
          </ac:cxnSpMkLst>
        </pc:cxnChg>
        <pc:cxnChg chg="add mod">
          <ac:chgData name="Arjan van der Meer" userId="008f28a2-684e-4523-b3ca-dcb37d9c3e5d" providerId="ADAL" clId="{44D73574-4316-4891-B5B8-DDD8C67FFD60}" dt="2021-11-12T14:34:36.806" v="2058" actId="164"/>
          <ac:cxnSpMkLst>
            <pc:docMk/>
            <pc:sldMk cId="2131368487" sldId="1139"/>
            <ac:cxnSpMk id="132" creationId="{83C477DF-16DC-48A0-86AB-27884CC71EAC}"/>
          </ac:cxnSpMkLst>
        </pc:cxnChg>
        <pc:cxnChg chg="add mod">
          <ac:chgData name="Arjan van der Meer" userId="008f28a2-684e-4523-b3ca-dcb37d9c3e5d" providerId="ADAL" clId="{44D73574-4316-4891-B5B8-DDD8C67FFD60}" dt="2021-11-12T14:34:36.806" v="2058" actId="164"/>
          <ac:cxnSpMkLst>
            <pc:docMk/>
            <pc:sldMk cId="2131368487" sldId="1139"/>
            <ac:cxnSpMk id="146" creationId="{9CE4D54C-503D-4D58-8EE7-BE7922827F70}"/>
          </ac:cxnSpMkLst>
        </pc:cxnChg>
        <pc:cxnChg chg="add del mod">
          <ac:chgData name="Arjan van der Meer" userId="008f28a2-684e-4523-b3ca-dcb37d9c3e5d" providerId="ADAL" clId="{44D73574-4316-4891-B5B8-DDD8C67FFD60}" dt="2021-11-12T13:22:21.580" v="1765" actId="478"/>
          <ac:cxnSpMkLst>
            <pc:docMk/>
            <pc:sldMk cId="2131368487" sldId="1139"/>
            <ac:cxnSpMk id="154" creationId="{CF1E04EC-E8A9-4270-B0B1-EDDE8E9059CF}"/>
          </ac:cxnSpMkLst>
        </pc:cxnChg>
        <pc:cxnChg chg="add mod">
          <ac:chgData name="Arjan van der Meer" userId="008f28a2-684e-4523-b3ca-dcb37d9c3e5d" providerId="ADAL" clId="{44D73574-4316-4891-B5B8-DDD8C67FFD60}" dt="2021-11-12T14:34:36.806" v="2058" actId="164"/>
          <ac:cxnSpMkLst>
            <pc:docMk/>
            <pc:sldMk cId="2131368487" sldId="1139"/>
            <ac:cxnSpMk id="156" creationId="{27ACA482-417D-427D-8EFA-06609A5DAE7F}"/>
          </ac:cxnSpMkLst>
        </pc:cxnChg>
        <pc:cxnChg chg="add mod">
          <ac:chgData name="Arjan van der Meer" userId="008f28a2-684e-4523-b3ca-dcb37d9c3e5d" providerId="ADAL" clId="{44D73574-4316-4891-B5B8-DDD8C67FFD60}" dt="2021-11-12T14:34:36.806" v="2058" actId="164"/>
          <ac:cxnSpMkLst>
            <pc:docMk/>
            <pc:sldMk cId="2131368487" sldId="1139"/>
            <ac:cxnSpMk id="158" creationId="{B84280EF-9B12-4021-9540-8B6BA64E7ECD}"/>
          </ac:cxnSpMkLst>
        </pc:cxnChg>
        <pc:cxnChg chg="add mod">
          <ac:chgData name="Arjan van der Meer" userId="008f28a2-684e-4523-b3ca-dcb37d9c3e5d" providerId="ADAL" clId="{44D73574-4316-4891-B5B8-DDD8C67FFD60}" dt="2021-11-12T14:34:36.806" v="2058" actId="164"/>
          <ac:cxnSpMkLst>
            <pc:docMk/>
            <pc:sldMk cId="2131368487" sldId="1139"/>
            <ac:cxnSpMk id="161" creationId="{AACBDB1C-67E0-473D-B00E-3F81473686DF}"/>
          </ac:cxnSpMkLst>
        </pc:cxnChg>
        <pc:cxnChg chg="add mod">
          <ac:chgData name="Arjan van der Meer" userId="008f28a2-684e-4523-b3ca-dcb37d9c3e5d" providerId="ADAL" clId="{44D73574-4316-4891-B5B8-DDD8C67FFD60}" dt="2021-11-12T14:34:36.806" v="2058" actId="164"/>
          <ac:cxnSpMkLst>
            <pc:docMk/>
            <pc:sldMk cId="2131368487" sldId="1139"/>
            <ac:cxnSpMk id="163" creationId="{E80A9DEA-4B41-4FED-A506-13F7A53D6D1A}"/>
          </ac:cxnSpMkLst>
        </pc:cxnChg>
        <pc:cxnChg chg="add mod">
          <ac:chgData name="Arjan van der Meer" userId="008f28a2-684e-4523-b3ca-dcb37d9c3e5d" providerId="ADAL" clId="{44D73574-4316-4891-B5B8-DDD8C67FFD60}" dt="2021-11-12T14:34:36.806" v="2058" actId="164"/>
          <ac:cxnSpMkLst>
            <pc:docMk/>
            <pc:sldMk cId="2131368487" sldId="1139"/>
            <ac:cxnSpMk id="166" creationId="{D392F8E1-B122-44D0-8AD6-2AB002FF30B9}"/>
          </ac:cxnSpMkLst>
        </pc:cxnChg>
        <pc:cxnChg chg="add mod">
          <ac:chgData name="Arjan van der Meer" userId="008f28a2-684e-4523-b3ca-dcb37d9c3e5d" providerId="ADAL" clId="{44D73574-4316-4891-B5B8-DDD8C67FFD60}" dt="2021-11-12T14:34:36.806" v="2058" actId="164"/>
          <ac:cxnSpMkLst>
            <pc:docMk/>
            <pc:sldMk cId="2131368487" sldId="1139"/>
            <ac:cxnSpMk id="169" creationId="{DEE2FA65-52FC-4B5D-99DF-BA6C04630EFD}"/>
          </ac:cxnSpMkLst>
        </pc:cxnChg>
        <pc:cxnChg chg="add del mod">
          <ac:chgData name="Arjan van der Meer" userId="008f28a2-684e-4523-b3ca-dcb37d9c3e5d" providerId="ADAL" clId="{44D73574-4316-4891-B5B8-DDD8C67FFD60}" dt="2021-11-12T13:38:53.678" v="1835" actId="478"/>
          <ac:cxnSpMkLst>
            <pc:docMk/>
            <pc:sldMk cId="2131368487" sldId="1139"/>
            <ac:cxnSpMk id="182" creationId="{5BC1E1DB-3AC7-4DB5-AD44-2171B8AF79DC}"/>
          </ac:cxnSpMkLst>
        </pc:cxnChg>
        <pc:cxnChg chg="add mod">
          <ac:chgData name="Arjan van der Meer" userId="008f28a2-684e-4523-b3ca-dcb37d9c3e5d" providerId="ADAL" clId="{44D73574-4316-4891-B5B8-DDD8C67FFD60}" dt="2021-11-12T14:34:01.129" v="2049" actId="164"/>
          <ac:cxnSpMkLst>
            <pc:docMk/>
            <pc:sldMk cId="2131368487" sldId="1139"/>
            <ac:cxnSpMk id="183" creationId="{9DF24B76-5042-42EA-963F-F377EDFA21B2}"/>
          </ac:cxnSpMkLst>
        </pc:cxnChg>
        <pc:cxnChg chg="add mod">
          <ac:chgData name="Arjan van der Meer" userId="008f28a2-684e-4523-b3ca-dcb37d9c3e5d" providerId="ADAL" clId="{44D73574-4316-4891-B5B8-DDD8C67FFD60}" dt="2021-11-12T14:34:01.129" v="2049" actId="164"/>
          <ac:cxnSpMkLst>
            <pc:docMk/>
            <pc:sldMk cId="2131368487" sldId="1139"/>
            <ac:cxnSpMk id="185" creationId="{813367B6-2917-4FAB-8332-B99AD45127F9}"/>
          </ac:cxnSpMkLst>
        </pc:cxnChg>
        <pc:cxnChg chg="add mod">
          <ac:chgData name="Arjan van der Meer" userId="008f28a2-684e-4523-b3ca-dcb37d9c3e5d" providerId="ADAL" clId="{44D73574-4316-4891-B5B8-DDD8C67FFD60}" dt="2021-11-12T14:34:01.129" v="2049" actId="164"/>
          <ac:cxnSpMkLst>
            <pc:docMk/>
            <pc:sldMk cId="2131368487" sldId="1139"/>
            <ac:cxnSpMk id="187" creationId="{AD1F9FB2-806A-45CB-9A91-1A7758154A99}"/>
          </ac:cxnSpMkLst>
        </pc:cxnChg>
        <pc:cxnChg chg="add del mod">
          <ac:chgData name="Arjan van der Meer" userId="008f28a2-684e-4523-b3ca-dcb37d9c3e5d" providerId="ADAL" clId="{44D73574-4316-4891-B5B8-DDD8C67FFD60}" dt="2021-11-12T13:38:54.691" v="1836" actId="478"/>
          <ac:cxnSpMkLst>
            <pc:docMk/>
            <pc:sldMk cId="2131368487" sldId="1139"/>
            <ac:cxnSpMk id="189" creationId="{AE1E8B70-8D53-4326-ABC3-FB07FC47AB0C}"/>
          </ac:cxnSpMkLst>
        </pc:cxnChg>
        <pc:cxnChg chg="add mod">
          <ac:chgData name="Arjan van der Meer" userId="008f28a2-684e-4523-b3ca-dcb37d9c3e5d" providerId="ADAL" clId="{44D73574-4316-4891-B5B8-DDD8C67FFD60}" dt="2021-11-12T14:34:01.129" v="2049" actId="164"/>
          <ac:cxnSpMkLst>
            <pc:docMk/>
            <pc:sldMk cId="2131368487" sldId="1139"/>
            <ac:cxnSpMk id="192" creationId="{33F11DAD-33A3-4C49-B1AC-E750BF0C96D5}"/>
          </ac:cxnSpMkLst>
        </pc:cxnChg>
        <pc:cxnChg chg="add mod">
          <ac:chgData name="Arjan van der Meer" userId="008f28a2-684e-4523-b3ca-dcb37d9c3e5d" providerId="ADAL" clId="{44D73574-4316-4891-B5B8-DDD8C67FFD60}" dt="2021-11-12T14:34:01.129" v="2049" actId="164"/>
          <ac:cxnSpMkLst>
            <pc:docMk/>
            <pc:sldMk cId="2131368487" sldId="1139"/>
            <ac:cxnSpMk id="193" creationId="{B9C81701-512C-4C2B-B32C-A08EA7E06032}"/>
          </ac:cxnSpMkLst>
        </pc:cxnChg>
        <pc:cxnChg chg="add mod">
          <ac:chgData name="Arjan van der Meer" userId="008f28a2-684e-4523-b3ca-dcb37d9c3e5d" providerId="ADAL" clId="{44D73574-4316-4891-B5B8-DDD8C67FFD60}" dt="2021-11-12T14:34:01.129" v="2049" actId="164"/>
          <ac:cxnSpMkLst>
            <pc:docMk/>
            <pc:sldMk cId="2131368487" sldId="1139"/>
            <ac:cxnSpMk id="195" creationId="{FC8A08AD-B27E-409C-9C53-BB3345E4F874}"/>
          </ac:cxnSpMkLst>
        </pc:cxnChg>
        <pc:cxnChg chg="add del mod">
          <ac:chgData name="Arjan van der Meer" userId="008f28a2-684e-4523-b3ca-dcb37d9c3e5d" providerId="ADAL" clId="{44D73574-4316-4891-B5B8-DDD8C67FFD60}" dt="2021-11-12T13:38:58.251" v="1838" actId="478"/>
          <ac:cxnSpMkLst>
            <pc:docMk/>
            <pc:sldMk cId="2131368487" sldId="1139"/>
            <ac:cxnSpMk id="199" creationId="{7F564AD5-A9A2-4513-B363-0544FD4D1156}"/>
          </ac:cxnSpMkLst>
        </pc:cxnChg>
        <pc:cxnChg chg="add del mod">
          <ac:chgData name="Arjan van der Meer" userId="008f28a2-684e-4523-b3ca-dcb37d9c3e5d" providerId="ADAL" clId="{44D73574-4316-4891-B5B8-DDD8C67FFD60}" dt="2021-11-12T13:38:59.235" v="1839" actId="478"/>
          <ac:cxnSpMkLst>
            <pc:docMk/>
            <pc:sldMk cId="2131368487" sldId="1139"/>
            <ac:cxnSpMk id="200" creationId="{8D2626F5-D8DD-4F36-B986-EE7CAE2DF8AF}"/>
          </ac:cxnSpMkLst>
        </pc:cxnChg>
        <pc:cxnChg chg="add mod">
          <ac:chgData name="Arjan van der Meer" userId="008f28a2-684e-4523-b3ca-dcb37d9c3e5d" providerId="ADAL" clId="{44D73574-4316-4891-B5B8-DDD8C67FFD60}" dt="2021-11-12T14:34:01.129" v="2049" actId="164"/>
          <ac:cxnSpMkLst>
            <pc:docMk/>
            <pc:sldMk cId="2131368487" sldId="1139"/>
            <ac:cxnSpMk id="201" creationId="{5BECA47B-6BB6-418B-A315-2D7EDFC839FF}"/>
          </ac:cxnSpMkLst>
        </pc:cxnChg>
        <pc:cxnChg chg="add mod">
          <ac:chgData name="Arjan van der Meer" userId="008f28a2-684e-4523-b3ca-dcb37d9c3e5d" providerId="ADAL" clId="{44D73574-4316-4891-B5B8-DDD8C67FFD60}" dt="2021-11-12T14:34:01.129" v="2049" actId="164"/>
          <ac:cxnSpMkLst>
            <pc:docMk/>
            <pc:sldMk cId="2131368487" sldId="1139"/>
            <ac:cxnSpMk id="202" creationId="{F089E3FE-7FB8-4E07-8B4F-6A2501F9ACE5}"/>
          </ac:cxnSpMkLst>
        </pc:cxnChg>
        <pc:cxnChg chg="add mod">
          <ac:chgData name="Arjan van der Meer" userId="008f28a2-684e-4523-b3ca-dcb37d9c3e5d" providerId="ADAL" clId="{44D73574-4316-4891-B5B8-DDD8C67FFD60}" dt="2021-11-12T14:34:01.129" v="2049" actId="164"/>
          <ac:cxnSpMkLst>
            <pc:docMk/>
            <pc:sldMk cId="2131368487" sldId="1139"/>
            <ac:cxnSpMk id="204" creationId="{CE51B25A-9927-4D5A-8D33-3D9A0C0633F0}"/>
          </ac:cxnSpMkLst>
        </pc:cxnChg>
        <pc:cxnChg chg="add mod">
          <ac:chgData name="Arjan van der Meer" userId="008f28a2-684e-4523-b3ca-dcb37d9c3e5d" providerId="ADAL" clId="{44D73574-4316-4891-B5B8-DDD8C67FFD60}" dt="2021-11-12T14:34:01.129" v="2049" actId="164"/>
          <ac:cxnSpMkLst>
            <pc:docMk/>
            <pc:sldMk cId="2131368487" sldId="1139"/>
            <ac:cxnSpMk id="205" creationId="{F066417E-A38A-4C75-94C3-D46AD7BA8F04}"/>
          </ac:cxnSpMkLst>
        </pc:cxnChg>
        <pc:cxnChg chg="add mod">
          <ac:chgData name="Arjan van der Meer" userId="008f28a2-684e-4523-b3ca-dcb37d9c3e5d" providerId="ADAL" clId="{44D73574-4316-4891-B5B8-DDD8C67FFD60}" dt="2021-11-12T14:33:35.609" v="2043" actId="164"/>
          <ac:cxnSpMkLst>
            <pc:docMk/>
            <pc:sldMk cId="2131368487" sldId="1139"/>
            <ac:cxnSpMk id="223" creationId="{0916F2FF-5417-40A0-AE22-0027C87DB2E6}"/>
          </ac:cxnSpMkLst>
        </pc:cxnChg>
        <pc:cxnChg chg="add mod">
          <ac:chgData name="Arjan van der Meer" userId="008f28a2-684e-4523-b3ca-dcb37d9c3e5d" providerId="ADAL" clId="{44D73574-4316-4891-B5B8-DDD8C67FFD60}" dt="2021-11-12T14:33:35.609" v="2043" actId="164"/>
          <ac:cxnSpMkLst>
            <pc:docMk/>
            <pc:sldMk cId="2131368487" sldId="1139"/>
            <ac:cxnSpMk id="225" creationId="{8EEB35E3-143A-475A-B8EB-3A0DB2994B64}"/>
          </ac:cxnSpMkLst>
        </pc:cxnChg>
        <pc:cxnChg chg="add mod">
          <ac:chgData name="Arjan van der Meer" userId="008f28a2-684e-4523-b3ca-dcb37d9c3e5d" providerId="ADAL" clId="{44D73574-4316-4891-B5B8-DDD8C67FFD60}" dt="2021-11-12T14:33:35.609" v="2043" actId="164"/>
          <ac:cxnSpMkLst>
            <pc:docMk/>
            <pc:sldMk cId="2131368487" sldId="1139"/>
            <ac:cxnSpMk id="227" creationId="{EDF9FFAF-36F5-4307-9032-107C9A39CD1C}"/>
          </ac:cxnSpMkLst>
        </pc:cxnChg>
        <pc:cxnChg chg="add mod">
          <ac:chgData name="Arjan van der Meer" userId="008f28a2-684e-4523-b3ca-dcb37d9c3e5d" providerId="ADAL" clId="{44D73574-4316-4891-B5B8-DDD8C67FFD60}" dt="2021-11-12T14:33:35.609" v="2043" actId="164"/>
          <ac:cxnSpMkLst>
            <pc:docMk/>
            <pc:sldMk cId="2131368487" sldId="1139"/>
            <ac:cxnSpMk id="229" creationId="{02832C10-94D3-41E8-8F04-A4E167CFED4B}"/>
          </ac:cxnSpMkLst>
        </pc:cxnChg>
        <pc:cxnChg chg="add mod">
          <ac:chgData name="Arjan van der Meer" userId="008f28a2-684e-4523-b3ca-dcb37d9c3e5d" providerId="ADAL" clId="{44D73574-4316-4891-B5B8-DDD8C67FFD60}" dt="2021-11-12T14:33:35.609" v="2043" actId="164"/>
          <ac:cxnSpMkLst>
            <pc:docMk/>
            <pc:sldMk cId="2131368487" sldId="1139"/>
            <ac:cxnSpMk id="231" creationId="{DE5E95CC-8E2B-46B5-9FEC-DD0D8BA35BD4}"/>
          </ac:cxnSpMkLst>
        </pc:cxnChg>
        <pc:cxnChg chg="add mod">
          <ac:chgData name="Arjan van der Meer" userId="008f28a2-684e-4523-b3ca-dcb37d9c3e5d" providerId="ADAL" clId="{44D73574-4316-4891-B5B8-DDD8C67FFD60}" dt="2021-11-12T14:40:34.298" v="2076" actId="14100"/>
          <ac:cxnSpMkLst>
            <pc:docMk/>
            <pc:sldMk cId="2131368487" sldId="1139"/>
            <ac:cxnSpMk id="232" creationId="{FE2930DE-B3B1-4596-8EA6-6D5ED9D33F94}"/>
          </ac:cxnSpMkLst>
        </pc:cxnChg>
        <pc:cxnChg chg="add mod">
          <ac:chgData name="Arjan van der Meer" userId="008f28a2-684e-4523-b3ca-dcb37d9c3e5d" providerId="ADAL" clId="{44D73574-4316-4891-B5B8-DDD8C67FFD60}" dt="2021-11-12T14:35:40.750" v="2072" actId="1076"/>
          <ac:cxnSpMkLst>
            <pc:docMk/>
            <pc:sldMk cId="2131368487" sldId="1139"/>
            <ac:cxnSpMk id="238" creationId="{AB593635-EB67-4FB3-8742-D3ACF750339B}"/>
          </ac:cxnSpMkLst>
        </pc:cxnChg>
        <pc:cxnChg chg="add del mod">
          <ac:chgData name="Arjan van der Meer" userId="008f28a2-684e-4523-b3ca-dcb37d9c3e5d" providerId="ADAL" clId="{44D73574-4316-4891-B5B8-DDD8C67FFD60}" dt="2021-11-12T13:47:07.380" v="1904" actId="478"/>
          <ac:cxnSpMkLst>
            <pc:docMk/>
            <pc:sldMk cId="2131368487" sldId="1139"/>
            <ac:cxnSpMk id="245" creationId="{38F49553-B6DC-42F7-8BAC-1E5618338513}"/>
          </ac:cxnSpMkLst>
        </pc:cxnChg>
        <pc:cxnChg chg="add mod">
          <ac:chgData name="Arjan van der Meer" userId="008f28a2-684e-4523-b3ca-dcb37d9c3e5d" providerId="ADAL" clId="{44D73574-4316-4891-B5B8-DDD8C67FFD60}" dt="2021-11-12T14:33:20.319" v="2042" actId="164"/>
          <ac:cxnSpMkLst>
            <pc:docMk/>
            <pc:sldMk cId="2131368487" sldId="1139"/>
            <ac:cxnSpMk id="246" creationId="{07EA4552-F6C5-4274-A0EE-195E4B4E1E8D}"/>
          </ac:cxnSpMkLst>
        </pc:cxnChg>
        <pc:cxnChg chg="add mod">
          <ac:chgData name="Arjan van der Meer" userId="008f28a2-684e-4523-b3ca-dcb37d9c3e5d" providerId="ADAL" clId="{44D73574-4316-4891-B5B8-DDD8C67FFD60}" dt="2021-11-12T14:33:20.319" v="2042" actId="164"/>
          <ac:cxnSpMkLst>
            <pc:docMk/>
            <pc:sldMk cId="2131368487" sldId="1139"/>
            <ac:cxnSpMk id="247" creationId="{5A408D5E-683B-479B-BB95-6E4BE84E4BD3}"/>
          </ac:cxnSpMkLst>
        </pc:cxnChg>
        <pc:cxnChg chg="add mod">
          <ac:chgData name="Arjan van der Meer" userId="008f28a2-684e-4523-b3ca-dcb37d9c3e5d" providerId="ADAL" clId="{44D73574-4316-4891-B5B8-DDD8C67FFD60}" dt="2021-11-12T14:33:20.319" v="2042" actId="164"/>
          <ac:cxnSpMkLst>
            <pc:docMk/>
            <pc:sldMk cId="2131368487" sldId="1139"/>
            <ac:cxnSpMk id="248" creationId="{36C0A6D3-4BAC-4CA4-BF03-8DC4DC0E34C1}"/>
          </ac:cxnSpMkLst>
        </pc:cxnChg>
        <pc:cxnChg chg="add del mod">
          <ac:chgData name="Arjan van der Meer" userId="008f28a2-684e-4523-b3ca-dcb37d9c3e5d" providerId="ADAL" clId="{44D73574-4316-4891-B5B8-DDD8C67FFD60}" dt="2021-11-12T13:47:06.378" v="1903" actId="478"/>
          <ac:cxnSpMkLst>
            <pc:docMk/>
            <pc:sldMk cId="2131368487" sldId="1139"/>
            <ac:cxnSpMk id="249" creationId="{77340975-7546-425F-8606-D3F42CDEA221}"/>
          </ac:cxnSpMkLst>
        </pc:cxnChg>
        <pc:cxnChg chg="add mod">
          <ac:chgData name="Arjan van der Meer" userId="008f28a2-684e-4523-b3ca-dcb37d9c3e5d" providerId="ADAL" clId="{44D73574-4316-4891-B5B8-DDD8C67FFD60}" dt="2021-11-12T14:33:20.319" v="2042" actId="164"/>
          <ac:cxnSpMkLst>
            <pc:docMk/>
            <pc:sldMk cId="2131368487" sldId="1139"/>
            <ac:cxnSpMk id="250" creationId="{107627A1-48AA-4DC6-9ABA-BC2455674D3F}"/>
          </ac:cxnSpMkLst>
        </pc:cxnChg>
        <pc:cxnChg chg="add mod">
          <ac:chgData name="Arjan van der Meer" userId="008f28a2-684e-4523-b3ca-dcb37d9c3e5d" providerId="ADAL" clId="{44D73574-4316-4891-B5B8-DDD8C67FFD60}" dt="2021-11-12T14:35:12.799" v="2066" actId="14100"/>
          <ac:cxnSpMkLst>
            <pc:docMk/>
            <pc:sldMk cId="2131368487" sldId="1139"/>
            <ac:cxnSpMk id="255" creationId="{369A9E66-57F2-4621-A282-80993DC2E757}"/>
          </ac:cxnSpMkLst>
        </pc:cxnChg>
        <pc:cxnChg chg="mod">
          <ac:chgData name="Arjan van der Meer" userId="008f28a2-684e-4523-b3ca-dcb37d9c3e5d" providerId="ADAL" clId="{44D73574-4316-4891-B5B8-DDD8C67FFD60}" dt="2021-11-12T15:01:52.545" v="2078"/>
          <ac:cxnSpMkLst>
            <pc:docMk/>
            <pc:sldMk cId="2131368487" sldId="1139"/>
            <ac:cxnSpMk id="284" creationId="{07E21273-1C30-4148-A84A-A92523B52116}"/>
          </ac:cxnSpMkLst>
        </pc:cxnChg>
        <pc:cxnChg chg="mod">
          <ac:chgData name="Arjan van der Meer" userId="008f28a2-684e-4523-b3ca-dcb37d9c3e5d" providerId="ADAL" clId="{44D73574-4316-4891-B5B8-DDD8C67FFD60}" dt="2021-11-12T15:01:52.545" v="2078"/>
          <ac:cxnSpMkLst>
            <pc:docMk/>
            <pc:sldMk cId="2131368487" sldId="1139"/>
            <ac:cxnSpMk id="285" creationId="{8B1C6166-1ECC-477C-BAE0-074456D7B76B}"/>
          </ac:cxnSpMkLst>
        </pc:cxnChg>
        <pc:cxnChg chg="mod">
          <ac:chgData name="Arjan van der Meer" userId="008f28a2-684e-4523-b3ca-dcb37d9c3e5d" providerId="ADAL" clId="{44D73574-4316-4891-B5B8-DDD8C67FFD60}" dt="2021-11-12T15:01:52.545" v="2078"/>
          <ac:cxnSpMkLst>
            <pc:docMk/>
            <pc:sldMk cId="2131368487" sldId="1139"/>
            <ac:cxnSpMk id="289" creationId="{8DDF063B-A140-469C-87A3-293EDC2BFCC7}"/>
          </ac:cxnSpMkLst>
        </pc:cxnChg>
        <pc:cxnChg chg="mod">
          <ac:chgData name="Arjan van der Meer" userId="008f28a2-684e-4523-b3ca-dcb37d9c3e5d" providerId="ADAL" clId="{44D73574-4316-4891-B5B8-DDD8C67FFD60}" dt="2021-11-12T15:01:52.545" v="2078"/>
          <ac:cxnSpMkLst>
            <pc:docMk/>
            <pc:sldMk cId="2131368487" sldId="1139"/>
            <ac:cxnSpMk id="290" creationId="{E38995C4-51EE-4483-A2C2-A5A05DFD1D1F}"/>
          </ac:cxnSpMkLst>
        </pc:cxnChg>
        <pc:cxnChg chg="mod">
          <ac:chgData name="Arjan van der Meer" userId="008f28a2-684e-4523-b3ca-dcb37d9c3e5d" providerId="ADAL" clId="{44D73574-4316-4891-B5B8-DDD8C67FFD60}" dt="2021-11-12T15:01:52.545" v="2078"/>
          <ac:cxnSpMkLst>
            <pc:docMk/>
            <pc:sldMk cId="2131368487" sldId="1139"/>
            <ac:cxnSpMk id="292" creationId="{2D1E7FBA-B65C-45AE-BB37-4B5B20FFFAD8}"/>
          </ac:cxnSpMkLst>
        </pc:cxnChg>
        <pc:cxnChg chg="mod">
          <ac:chgData name="Arjan van der Meer" userId="008f28a2-684e-4523-b3ca-dcb37d9c3e5d" providerId="ADAL" clId="{44D73574-4316-4891-B5B8-DDD8C67FFD60}" dt="2021-11-12T15:01:52.545" v="2078"/>
          <ac:cxnSpMkLst>
            <pc:docMk/>
            <pc:sldMk cId="2131368487" sldId="1139"/>
            <ac:cxnSpMk id="293" creationId="{866019B8-2F3C-4BA9-9F6F-CC969ED07283}"/>
          </ac:cxnSpMkLst>
        </pc:cxnChg>
        <pc:cxnChg chg="mod">
          <ac:chgData name="Arjan van der Meer" userId="008f28a2-684e-4523-b3ca-dcb37d9c3e5d" providerId="ADAL" clId="{44D73574-4316-4891-B5B8-DDD8C67FFD60}" dt="2021-11-12T15:01:52.545" v="2078"/>
          <ac:cxnSpMkLst>
            <pc:docMk/>
            <pc:sldMk cId="2131368487" sldId="1139"/>
            <ac:cxnSpMk id="297" creationId="{1A674906-9009-453D-8560-F5FD1F059D8E}"/>
          </ac:cxnSpMkLst>
        </pc:cxnChg>
        <pc:cxnChg chg="mod">
          <ac:chgData name="Arjan van der Meer" userId="008f28a2-684e-4523-b3ca-dcb37d9c3e5d" providerId="ADAL" clId="{44D73574-4316-4891-B5B8-DDD8C67FFD60}" dt="2021-11-12T15:01:52.545" v="2078"/>
          <ac:cxnSpMkLst>
            <pc:docMk/>
            <pc:sldMk cId="2131368487" sldId="1139"/>
            <ac:cxnSpMk id="298" creationId="{86030C6D-3030-4E4D-9F14-7B26986EDBB0}"/>
          </ac:cxnSpMkLst>
        </pc:cxnChg>
      </pc:sldChg>
      <pc:sldChg chg="addSp delSp modSp new mod modAnim addCm delCm modCm">
        <pc:chgData name="Arjan van der Meer" userId="008f28a2-684e-4523-b3ca-dcb37d9c3e5d" providerId="ADAL" clId="{44D73574-4316-4891-B5B8-DDD8C67FFD60}" dt="2021-11-17T10:16:25.333" v="2845" actId="14100"/>
        <pc:sldMkLst>
          <pc:docMk/>
          <pc:sldMk cId="2116620579" sldId="1140"/>
        </pc:sldMkLst>
        <pc:spChg chg="del">
          <ac:chgData name="Arjan van der Meer" userId="008f28a2-684e-4523-b3ca-dcb37d9c3e5d" providerId="ADAL" clId="{44D73574-4316-4891-B5B8-DDD8C67FFD60}" dt="2021-11-16T07:43:53.806" v="2107" actId="931"/>
          <ac:spMkLst>
            <pc:docMk/>
            <pc:sldMk cId="2116620579" sldId="1140"/>
            <ac:spMk id="5" creationId="{AF97FDCE-D7C6-4FCD-9EA7-CAB8B6605C99}"/>
          </ac:spMkLst>
        </pc:spChg>
        <pc:spChg chg="mod">
          <ac:chgData name="Arjan van der Meer" userId="008f28a2-684e-4523-b3ca-dcb37d9c3e5d" providerId="ADAL" clId="{44D73574-4316-4891-B5B8-DDD8C67FFD60}" dt="2021-11-16T08:28:47.188" v="2283" actId="20577"/>
          <ac:spMkLst>
            <pc:docMk/>
            <pc:sldMk cId="2116620579" sldId="1140"/>
            <ac:spMk id="6" creationId="{97B63E9B-CD94-419C-A970-53D8F1E729DE}"/>
          </ac:spMkLst>
        </pc:spChg>
        <pc:spChg chg="add mod">
          <ac:chgData name="Arjan van der Meer" userId="008f28a2-684e-4523-b3ca-dcb37d9c3e5d" providerId="ADAL" clId="{44D73574-4316-4891-B5B8-DDD8C67FFD60}" dt="2021-11-17T10:16:25.333" v="2845" actId="14100"/>
          <ac:spMkLst>
            <pc:docMk/>
            <pc:sldMk cId="2116620579" sldId="1140"/>
            <ac:spMk id="9" creationId="{2E09101F-29DF-4202-BFE1-518B52C1230F}"/>
          </ac:spMkLst>
        </pc:spChg>
        <pc:picChg chg="add mod">
          <ac:chgData name="Arjan van der Meer" userId="008f28a2-684e-4523-b3ca-dcb37d9c3e5d" providerId="ADAL" clId="{44D73574-4316-4891-B5B8-DDD8C67FFD60}" dt="2021-11-16T14:32:51.175" v="2678" actId="14100"/>
          <ac:picMkLst>
            <pc:docMk/>
            <pc:sldMk cId="2116620579" sldId="1140"/>
            <ac:picMk id="8" creationId="{271DC360-8236-4F60-9780-871ACFB4FA46}"/>
          </ac:picMkLst>
        </pc:picChg>
      </pc:sldChg>
      <pc:sldChg chg="addSp delSp modSp new mod delAnim modAnim addCm delCm">
        <pc:chgData name="Arjan van der Meer" userId="008f28a2-684e-4523-b3ca-dcb37d9c3e5d" providerId="ADAL" clId="{44D73574-4316-4891-B5B8-DDD8C67FFD60}" dt="2021-11-17T09:49:18.948" v="2800" actId="1592"/>
        <pc:sldMkLst>
          <pc:docMk/>
          <pc:sldMk cId="4121857338" sldId="1141"/>
        </pc:sldMkLst>
        <pc:spChg chg="del">
          <ac:chgData name="Arjan van der Meer" userId="008f28a2-684e-4523-b3ca-dcb37d9c3e5d" providerId="ADAL" clId="{44D73574-4316-4891-B5B8-DDD8C67FFD60}" dt="2021-11-16T07:44:30.493" v="2111" actId="931"/>
          <ac:spMkLst>
            <pc:docMk/>
            <pc:sldMk cId="4121857338" sldId="1141"/>
            <ac:spMk id="5" creationId="{72252591-BFAB-46FE-A2B1-51AE44B2EFAF}"/>
          </ac:spMkLst>
        </pc:spChg>
        <pc:spChg chg="mod">
          <ac:chgData name="Arjan van der Meer" userId="008f28a2-684e-4523-b3ca-dcb37d9c3e5d" providerId="ADAL" clId="{44D73574-4316-4891-B5B8-DDD8C67FFD60}" dt="2021-11-16T08:28:41.101" v="2281"/>
          <ac:spMkLst>
            <pc:docMk/>
            <pc:sldMk cId="4121857338" sldId="1141"/>
            <ac:spMk id="6" creationId="{F1BF446E-72DC-4E1D-ADD8-0DBC443AF994}"/>
          </ac:spMkLst>
        </pc:spChg>
        <pc:spChg chg="add mod">
          <ac:chgData name="Arjan van der Meer" userId="008f28a2-684e-4523-b3ca-dcb37d9c3e5d" providerId="ADAL" clId="{44D73574-4316-4891-B5B8-DDD8C67FFD60}" dt="2021-11-16T09:54:15.163" v="2316" actId="1076"/>
          <ac:spMkLst>
            <pc:docMk/>
            <pc:sldMk cId="4121857338" sldId="1141"/>
            <ac:spMk id="9" creationId="{F8C71980-C7D4-44B7-B46A-B4B8F83E6682}"/>
          </ac:spMkLst>
        </pc:spChg>
        <pc:spChg chg="add mod">
          <ac:chgData name="Arjan van der Meer" userId="008f28a2-684e-4523-b3ca-dcb37d9c3e5d" providerId="ADAL" clId="{44D73574-4316-4891-B5B8-DDD8C67FFD60}" dt="2021-11-16T09:53:53.365" v="2312" actId="1076"/>
          <ac:spMkLst>
            <pc:docMk/>
            <pc:sldMk cId="4121857338" sldId="1141"/>
            <ac:spMk id="10" creationId="{BB0EC4A0-9D30-4668-8CE8-69AA690BE015}"/>
          </ac:spMkLst>
        </pc:spChg>
        <pc:spChg chg="add mod">
          <ac:chgData name="Arjan van der Meer" userId="008f28a2-684e-4523-b3ca-dcb37d9c3e5d" providerId="ADAL" clId="{44D73574-4316-4891-B5B8-DDD8C67FFD60}" dt="2021-11-16T09:58:33.288" v="2372" actId="1037"/>
          <ac:spMkLst>
            <pc:docMk/>
            <pc:sldMk cId="4121857338" sldId="1141"/>
            <ac:spMk id="11" creationId="{4C181E30-5772-48C3-BFDC-7A3E1CDA8087}"/>
          </ac:spMkLst>
        </pc:spChg>
        <pc:spChg chg="add mod">
          <ac:chgData name="Arjan van der Meer" userId="008f28a2-684e-4523-b3ca-dcb37d9c3e5d" providerId="ADAL" clId="{44D73574-4316-4891-B5B8-DDD8C67FFD60}" dt="2021-11-16T09:58:31.082" v="2366" actId="1037"/>
          <ac:spMkLst>
            <pc:docMk/>
            <pc:sldMk cId="4121857338" sldId="1141"/>
            <ac:spMk id="12" creationId="{D826DB48-4BBC-4522-B713-7BEA5AA6071D}"/>
          </ac:spMkLst>
        </pc:spChg>
        <pc:spChg chg="add mod">
          <ac:chgData name="Arjan van der Meer" userId="008f28a2-684e-4523-b3ca-dcb37d9c3e5d" providerId="ADAL" clId="{44D73574-4316-4891-B5B8-DDD8C67FFD60}" dt="2021-11-16T09:51:20.169" v="2295" actId="14100"/>
          <ac:spMkLst>
            <pc:docMk/>
            <pc:sldMk cId="4121857338" sldId="1141"/>
            <ac:spMk id="13" creationId="{1E31FB26-6AFF-4435-8DD3-FF760457D251}"/>
          </ac:spMkLst>
        </pc:spChg>
        <pc:spChg chg="add mod">
          <ac:chgData name="Arjan van der Meer" userId="008f28a2-684e-4523-b3ca-dcb37d9c3e5d" providerId="ADAL" clId="{44D73574-4316-4891-B5B8-DDD8C67FFD60}" dt="2021-11-16T09:58:27.674" v="2357" actId="14100"/>
          <ac:spMkLst>
            <pc:docMk/>
            <pc:sldMk cId="4121857338" sldId="1141"/>
            <ac:spMk id="14" creationId="{C5D0FC24-EA42-4565-8E5F-AB93549E34AB}"/>
          </ac:spMkLst>
        </pc:spChg>
        <pc:spChg chg="add mod">
          <ac:chgData name="Arjan van der Meer" userId="008f28a2-684e-4523-b3ca-dcb37d9c3e5d" providerId="ADAL" clId="{44D73574-4316-4891-B5B8-DDD8C67FFD60}" dt="2021-11-16T08:39:56.379" v="2286"/>
          <ac:spMkLst>
            <pc:docMk/>
            <pc:sldMk cId="4121857338" sldId="1141"/>
            <ac:spMk id="15" creationId="{4B21C335-A445-42CF-8456-53343324FA9F}"/>
          </ac:spMkLst>
        </pc:spChg>
        <pc:spChg chg="add mod">
          <ac:chgData name="Arjan van der Meer" userId="008f28a2-684e-4523-b3ca-dcb37d9c3e5d" providerId="ADAL" clId="{44D73574-4316-4891-B5B8-DDD8C67FFD60}" dt="2021-11-16T09:52:15.021" v="2302" actId="1076"/>
          <ac:spMkLst>
            <pc:docMk/>
            <pc:sldMk cId="4121857338" sldId="1141"/>
            <ac:spMk id="16" creationId="{E618847C-E863-4B6E-9608-44BFD6BB455C}"/>
          </ac:spMkLst>
        </pc:spChg>
        <pc:spChg chg="add mod">
          <ac:chgData name="Arjan van der Meer" userId="008f28a2-684e-4523-b3ca-dcb37d9c3e5d" providerId="ADAL" clId="{44D73574-4316-4891-B5B8-DDD8C67FFD60}" dt="2021-11-16T09:52:32.578" v="2307" actId="14100"/>
          <ac:spMkLst>
            <pc:docMk/>
            <pc:sldMk cId="4121857338" sldId="1141"/>
            <ac:spMk id="17" creationId="{3A6BD43B-F97B-421E-8F2F-AB8DE5777DCF}"/>
          </ac:spMkLst>
        </pc:spChg>
        <pc:spChg chg="add mod">
          <ac:chgData name="Arjan van der Meer" userId="008f28a2-684e-4523-b3ca-dcb37d9c3e5d" providerId="ADAL" clId="{44D73574-4316-4891-B5B8-DDD8C67FFD60}" dt="2021-11-16T09:54:11.984" v="2315" actId="14100"/>
          <ac:spMkLst>
            <pc:docMk/>
            <pc:sldMk cId="4121857338" sldId="1141"/>
            <ac:spMk id="18" creationId="{41516590-F2E2-435A-A3FB-202867592709}"/>
          </ac:spMkLst>
        </pc:spChg>
        <pc:spChg chg="add mod">
          <ac:chgData name="Arjan van der Meer" userId="008f28a2-684e-4523-b3ca-dcb37d9c3e5d" providerId="ADAL" clId="{44D73574-4316-4891-B5B8-DDD8C67FFD60}" dt="2021-11-16T09:53:57.063" v="2313" actId="14100"/>
          <ac:spMkLst>
            <pc:docMk/>
            <pc:sldMk cId="4121857338" sldId="1141"/>
            <ac:spMk id="19" creationId="{8A4BE49C-149F-4497-A889-06C2B30728A6}"/>
          </ac:spMkLst>
        </pc:spChg>
        <pc:spChg chg="add del mod">
          <ac:chgData name="Arjan van der Meer" userId="008f28a2-684e-4523-b3ca-dcb37d9c3e5d" providerId="ADAL" clId="{44D73574-4316-4891-B5B8-DDD8C67FFD60}" dt="2021-11-16T09:55:52.196" v="2339" actId="478"/>
          <ac:spMkLst>
            <pc:docMk/>
            <pc:sldMk cId="4121857338" sldId="1141"/>
            <ac:spMk id="20" creationId="{3BCCCAE0-3364-4ACF-9BEC-5B7539026537}"/>
          </ac:spMkLst>
        </pc:spChg>
        <pc:spChg chg="add del mod">
          <ac:chgData name="Arjan van der Meer" userId="008f28a2-684e-4523-b3ca-dcb37d9c3e5d" providerId="ADAL" clId="{44D73574-4316-4891-B5B8-DDD8C67FFD60}" dt="2021-11-16T09:55:52.196" v="2339" actId="478"/>
          <ac:spMkLst>
            <pc:docMk/>
            <pc:sldMk cId="4121857338" sldId="1141"/>
            <ac:spMk id="21" creationId="{84F5898B-FC0E-4B89-B487-D4D136EA55F7}"/>
          </ac:spMkLst>
        </pc:spChg>
        <pc:spChg chg="add mod">
          <ac:chgData name="Arjan van der Meer" userId="008f28a2-684e-4523-b3ca-dcb37d9c3e5d" providerId="ADAL" clId="{44D73574-4316-4891-B5B8-DDD8C67FFD60}" dt="2021-11-16T09:56:26.783" v="2356" actId="1076"/>
          <ac:spMkLst>
            <pc:docMk/>
            <pc:sldMk cId="4121857338" sldId="1141"/>
            <ac:spMk id="22" creationId="{4C5A76D1-23A6-4339-A9AF-F15044D15B7B}"/>
          </ac:spMkLst>
        </pc:spChg>
        <pc:picChg chg="add mod">
          <ac:chgData name="Arjan van der Meer" userId="008f28a2-684e-4523-b3ca-dcb37d9c3e5d" providerId="ADAL" clId="{44D73574-4316-4891-B5B8-DDD8C67FFD60}" dt="2021-11-17T09:49:12.138" v="2799" actId="14826"/>
          <ac:picMkLst>
            <pc:docMk/>
            <pc:sldMk cId="4121857338" sldId="1141"/>
            <ac:picMk id="8" creationId="{E014E2D2-C2B8-4A93-AF35-A75528742AB2}"/>
          </ac:picMkLst>
        </pc:picChg>
      </pc:sldChg>
      <pc:sldChg chg="addSp delSp modSp new mod delCm">
        <pc:chgData name="Arjan van der Meer" userId="008f28a2-684e-4523-b3ca-dcb37d9c3e5d" providerId="ADAL" clId="{44D73574-4316-4891-B5B8-DDD8C67FFD60}" dt="2021-11-17T09:49:22.556" v="2801" actId="1592"/>
        <pc:sldMkLst>
          <pc:docMk/>
          <pc:sldMk cId="484690177" sldId="1142"/>
        </pc:sldMkLst>
        <pc:spChg chg="del">
          <ac:chgData name="Arjan van der Meer" userId="008f28a2-684e-4523-b3ca-dcb37d9c3e5d" providerId="ADAL" clId="{44D73574-4316-4891-B5B8-DDD8C67FFD60}" dt="2021-11-16T07:49:30.116" v="2114" actId="931"/>
          <ac:spMkLst>
            <pc:docMk/>
            <pc:sldMk cId="484690177" sldId="1142"/>
            <ac:spMk id="5" creationId="{7B9E5D4F-0F85-40B1-A058-D413DE98B652}"/>
          </ac:spMkLst>
        </pc:spChg>
        <pc:spChg chg="mod">
          <ac:chgData name="Arjan van der Meer" userId="008f28a2-684e-4523-b3ca-dcb37d9c3e5d" providerId="ADAL" clId="{44D73574-4316-4891-B5B8-DDD8C67FFD60}" dt="2021-11-16T10:05:16.967" v="2399" actId="20577"/>
          <ac:spMkLst>
            <pc:docMk/>
            <pc:sldMk cId="484690177" sldId="1142"/>
            <ac:spMk id="6" creationId="{BB9C16E5-03E2-4BC0-A8DC-54BB2BF77386}"/>
          </ac:spMkLst>
        </pc:spChg>
        <pc:spChg chg="mod">
          <ac:chgData name="Arjan van der Meer" userId="008f28a2-684e-4523-b3ca-dcb37d9c3e5d" providerId="ADAL" clId="{44D73574-4316-4891-B5B8-DDD8C67FFD60}" dt="2021-11-17T09:48:47.399" v="2798" actId="14100"/>
          <ac:spMkLst>
            <pc:docMk/>
            <pc:sldMk cId="484690177" sldId="1142"/>
            <ac:spMk id="7" creationId="{F4991981-0942-4BF4-8158-780289C0D825}"/>
          </ac:spMkLst>
        </pc:spChg>
        <pc:picChg chg="add mod">
          <ac:chgData name="Arjan van der Meer" userId="008f28a2-684e-4523-b3ca-dcb37d9c3e5d" providerId="ADAL" clId="{44D73574-4316-4891-B5B8-DDD8C67FFD60}" dt="2021-11-17T09:48:40.017" v="2797" actId="14826"/>
          <ac:picMkLst>
            <pc:docMk/>
            <pc:sldMk cId="484690177" sldId="1142"/>
            <ac:picMk id="8" creationId="{F4C72739-4D9E-4F48-9DFD-64891ACC951C}"/>
          </ac:picMkLst>
        </pc:picChg>
      </pc:sldChg>
      <pc:sldChg chg="addSp delSp modSp new mod">
        <pc:chgData name="Arjan van der Meer" userId="008f28a2-684e-4523-b3ca-dcb37d9c3e5d" providerId="ADAL" clId="{44D73574-4316-4891-B5B8-DDD8C67FFD60}" dt="2021-11-16T13:26:02.605" v="2523" actId="27636"/>
        <pc:sldMkLst>
          <pc:docMk/>
          <pc:sldMk cId="462935068" sldId="1143"/>
        </pc:sldMkLst>
        <pc:spChg chg="del">
          <ac:chgData name="Arjan van der Meer" userId="008f28a2-684e-4523-b3ca-dcb37d9c3e5d" providerId="ADAL" clId="{44D73574-4316-4891-B5B8-DDD8C67FFD60}" dt="2021-11-16T07:49:48.038" v="2116" actId="931"/>
          <ac:spMkLst>
            <pc:docMk/>
            <pc:sldMk cId="462935068" sldId="1143"/>
            <ac:spMk id="5" creationId="{7DAA6EED-2602-4AA0-95B3-F28CE01F0DE9}"/>
          </ac:spMkLst>
        </pc:spChg>
        <pc:spChg chg="mod">
          <ac:chgData name="Arjan van der Meer" userId="008f28a2-684e-4523-b3ca-dcb37d9c3e5d" providerId="ADAL" clId="{44D73574-4316-4891-B5B8-DDD8C67FFD60}" dt="2021-11-16T13:26:02.605" v="2523" actId="27636"/>
          <ac:spMkLst>
            <pc:docMk/>
            <pc:sldMk cId="462935068" sldId="1143"/>
            <ac:spMk id="6" creationId="{143BF298-6CEB-4F26-AB7D-C92AE07AB0D5}"/>
          </ac:spMkLst>
        </pc:spChg>
        <pc:picChg chg="add mod">
          <ac:chgData name="Arjan van der Meer" userId="008f28a2-684e-4523-b3ca-dcb37d9c3e5d" providerId="ADAL" clId="{44D73574-4316-4891-B5B8-DDD8C67FFD60}" dt="2021-11-16T07:49:51.143" v="2117" actId="14100"/>
          <ac:picMkLst>
            <pc:docMk/>
            <pc:sldMk cId="462935068" sldId="1143"/>
            <ac:picMk id="8" creationId="{18908548-2BD5-46B5-AA1F-9B094D609C49}"/>
          </ac:picMkLst>
        </pc:picChg>
      </pc:sldChg>
      <pc:sldChg chg="addSp delSp modSp new del mod addCm modCm">
        <pc:chgData name="Arjan van der Meer" userId="008f28a2-684e-4523-b3ca-dcb37d9c3e5d" providerId="ADAL" clId="{44D73574-4316-4891-B5B8-DDD8C67FFD60}" dt="2021-11-16T15:32:50.809" v="2795" actId="47"/>
        <pc:sldMkLst>
          <pc:docMk/>
          <pc:sldMk cId="880985364" sldId="1144"/>
        </pc:sldMkLst>
        <pc:spChg chg="del">
          <ac:chgData name="Arjan van der Meer" userId="008f28a2-684e-4523-b3ca-dcb37d9c3e5d" providerId="ADAL" clId="{44D73574-4316-4891-B5B8-DDD8C67FFD60}" dt="2021-11-16T07:59:46.078" v="2119" actId="931"/>
          <ac:spMkLst>
            <pc:docMk/>
            <pc:sldMk cId="880985364" sldId="1144"/>
            <ac:spMk id="5" creationId="{998B8096-4256-48CE-B6EF-EE89B976A747}"/>
          </ac:spMkLst>
        </pc:spChg>
        <pc:spChg chg="mod">
          <ac:chgData name="Arjan van der Meer" userId="008f28a2-684e-4523-b3ca-dcb37d9c3e5d" providerId="ADAL" clId="{44D73574-4316-4891-B5B8-DDD8C67FFD60}" dt="2021-11-16T08:22:35.763" v="2178" actId="20577"/>
          <ac:spMkLst>
            <pc:docMk/>
            <pc:sldMk cId="880985364" sldId="1144"/>
            <ac:spMk id="6" creationId="{318E74E1-E4CA-4435-AD45-B3B7F9484E12}"/>
          </ac:spMkLst>
        </pc:spChg>
        <pc:spChg chg="add del mod">
          <ac:chgData name="Arjan van der Meer" userId="008f28a2-684e-4523-b3ca-dcb37d9c3e5d" providerId="ADAL" clId="{44D73574-4316-4891-B5B8-DDD8C67FFD60}" dt="2021-11-16T08:13:30.700" v="2121" actId="931"/>
          <ac:spMkLst>
            <pc:docMk/>
            <pc:sldMk cId="880985364" sldId="1144"/>
            <ac:spMk id="10" creationId="{04801E38-E1A1-4360-94A3-0006FE3357D1}"/>
          </ac:spMkLst>
        </pc:spChg>
        <pc:spChg chg="add mod">
          <ac:chgData name="Arjan van der Meer" userId="008f28a2-684e-4523-b3ca-dcb37d9c3e5d" providerId="ADAL" clId="{44D73574-4316-4891-B5B8-DDD8C67FFD60}" dt="2021-11-16T15:16:55.927" v="2767" actId="14100"/>
          <ac:spMkLst>
            <pc:docMk/>
            <pc:sldMk cId="880985364" sldId="1144"/>
            <ac:spMk id="13" creationId="{36AA0FEB-230D-447F-8C0D-860F1E0E230A}"/>
          </ac:spMkLst>
        </pc:spChg>
        <pc:spChg chg="add mod">
          <ac:chgData name="Arjan van der Meer" userId="008f28a2-684e-4523-b3ca-dcb37d9c3e5d" providerId="ADAL" clId="{44D73574-4316-4891-B5B8-DDD8C67FFD60}" dt="2021-11-16T15:09:33.189" v="2702" actId="14100"/>
          <ac:spMkLst>
            <pc:docMk/>
            <pc:sldMk cId="880985364" sldId="1144"/>
            <ac:spMk id="14" creationId="{41CA9A47-A8EA-497D-BF65-D6CFBAC31968}"/>
          </ac:spMkLst>
        </pc:spChg>
        <pc:spChg chg="add mod">
          <ac:chgData name="Arjan van der Meer" userId="008f28a2-684e-4523-b3ca-dcb37d9c3e5d" providerId="ADAL" clId="{44D73574-4316-4891-B5B8-DDD8C67FFD60}" dt="2021-11-16T15:09:46.267" v="2706" actId="14100"/>
          <ac:spMkLst>
            <pc:docMk/>
            <pc:sldMk cId="880985364" sldId="1144"/>
            <ac:spMk id="15" creationId="{F1E81AA6-9242-43DD-9D9A-342271D397DC}"/>
          </ac:spMkLst>
        </pc:spChg>
        <pc:spChg chg="add mod">
          <ac:chgData name="Arjan van der Meer" userId="008f28a2-684e-4523-b3ca-dcb37d9c3e5d" providerId="ADAL" clId="{44D73574-4316-4891-B5B8-DDD8C67FFD60}" dt="2021-11-16T15:09:57.779" v="2710" actId="14100"/>
          <ac:spMkLst>
            <pc:docMk/>
            <pc:sldMk cId="880985364" sldId="1144"/>
            <ac:spMk id="16" creationId="{3045DA8A-393B-47D2-BE57-7DAB5B683DC5}"/>
          </ac:spMkLst>
        </pc:spChg>
        <pc:spChg chg="add mod">
          <ac:chgData name="Arjan van der Meer" userId="008f28a2-684e-4523-b3ca-dcb37d9c3e5d" providerId="ADAL" clId="{44D73574-4316-4891-B5B8-DDD8C67FFD60}" dt="2021-11-16T15:10:29.523" v="2719" actId="14100"/>
          <ac:spMkLst>
            <pc:docMk/>
            <pc:sldMk cId="880985364" sldId="1144"/>
            <ac:spMk id="17" creationId="{A428223C-FFE2-4782-8E1C-C5776D6B5002}"/>
          </ac:spMkLst>
        </pc:spChg>
        <pc:spChg chg="add mod">
          <ac:chgData name="Arjan van der Meer" userId="008f28a2-684e-4523-b3ca-dcb37d9c3e5d" providerId="ADAL" clId="{44D73574-4316-4891-B5B8-DDD8C67FFD60}" dt="2021-11-16T15:18:35.352" v="2784" actId="14100"/>
          <ac:spMkLst>
            <pc:docMk/>
            <pc:sldMk cId="880985364" sldId="1144"/>
            <ac:spMk id="18" creationId="{94A3905A-906F-4571-997A-8EE4CB6C2208}"/>
          </ac:spMkLst>
        </pc:spChg>
        <pc:spChg chg="add mod">
          <ac:chgData name="Arjan van der Meer" userId="008f28a2-684e-4523-b3ca-dcb37d9c3e5d" providerId="ADAL" clId="{44D73574-4316-4891-B5B8-DDD8C67FFD60}" dt="2021-11-16T15:11:45.416" v="2729" actId="14100"/>
          <ac:spMkLst>
            <pc:docMk/>
            <pc:sldMk cId="880985364" sldId="1144"/>
            <ac:spMk id="19" creationId="{3CED3D6F-273E-46CC-BA8F-D505D7701554}"/>
          </ac:spMkLst>
        </pc:spChg>
        <pc:spChg chg="add mod">
          <ac:chgData name="Arjan van der Meer" userId="008f28a2-684e-4523-b3ca-dcb37d9c3e5d" providerId="ADAL" clId="{44D73574-4316-4891-B5B8-DDD8C67FFD60}" dt="2021-11-16T15:18:43.491" v="2786" actId="14100"/>
          <ac:spMkLst>
            <pc:docMk/>
            <pc:sldMk cId="880985364" sldId="1144"/>
            <ac:spMk id="20" creationId="{901AA7C3-5D47-4B73-901A-55B4C0FE9DFC}"/>
          </ac:spMkLst>
        </pc:spChg>
        <pc:spChg chg="add mod">
          <ac:chgData name="Arjan van der Meer" userId="008f28a2-684e-4523-b3ca-dcb37d9c3e5d" providerId="ADAL" clId="{44D73574-4316-4891-B5B8-DDD8C67FFD60}" dt="2021-11-16T15:12:09.239" v="2737" actId="14100"/>
          <ac:spMkLst>
            <pc:docMk/>
            <pc:sldMk cId="880985364" sldId="1144"/>
            <ac:spMk id="21" creationId="{707D47E2-0066-4CCF-ACBC-18CD980AAA70}"/>
          </ac:spMkLst>
        </pc:spChg>
        <pc:spChg chg="add mod">
          <ac:chgData name="Arjan van der Meer" userId="008f28a2-684e-4523-b3ca-dcb37d9c3e5d" providerId="ADAL" clId="{44D73574-4316-4891-B5B8-DDD8C67FFD60}" dt="2021-11-16T15:15:14.940" v="2761" actId="14100"/>
          <ac:spMkLst>
            <pc:docMk/>
            <pc:sldMk cId="880985364" sldId="1144"/>
            <ac:spMk id="22" creationId="{6F9A287D-8C68-439D-B9C9-1B00D976FE2F}"/>
          </ac:spMkLst>
        </pc:spChg>
        <pc:spChg chg="add mod">
          <ac:chgData name="Arjan van der Meer" userId="008f28a2-684e-4523-b3ca-dcb37d9c3e5d" providerId="ADAL" clId="{44D73574-4316-4891-B5B8-DDD8C67FFD60}" dt="2021-11-16T15:13:25.772" v="2745" actId="1076"/>
          <ac:spMkLst>
            <pc:docMk/>
            <pc:sldMk cId="880985364" sldId="1144"/>
            <ac:spMk id="23" creationId="{DC6E4CF6-3F48-4BE7-A404-2C44547B96D4}"/>
          </ac:spMkLst>
        </pc:spChg>
        <pc:spChg chg="add mod">
          <ac:chgData name="Arjan van der Meer" userId="008f28a2-684e-4523-b3ca-dcb37d9c3e5d" providerId="ADAL" clId="{44D73574-4316-4891-B5B8-DDD8C67FFD60}" dt="2021-11-16T15:13:31.154" v="2748" actId="14100"/>
          <ac:spMkLst>
            <pc:docMk/>
            <pc:sldMk cId="880985364" sldId="1144"/>
            <ac:spMk id="24" creationId="{581A527B-D6F1-478C-AEB4-D9D207DB3039}"/>
          </ac:spMkLst>
        </pc:spChg>
        <pc:spChg chg="add mod">
          <ac:chgData name="Arjan van der Meer" userId="008f28a2-684e-4523-b3ca-dcb37d9c3e5d" providerId="ADAL" clId="{44D73574-4316-4891-B5B8-DDD8C67FFD60}" dt="2021-11-16T15:13:39.917" v="2752" actId="14100"/>
          <ac:spMkLst>
            <pc:docMk/>
            <pc:sldMk cId="880985364" sldId="1144"/>
            <ac:spMk id="25" creationId="{F4DCEA4B-94AE-48CA-B43E-9D351C3AB071}"/>
          </ac:spMkLst>
        </pc:spChg>
        <pc:spChg chg="add mod">
          <ac:chgData name="Arjan van der Meer" userId="008f28a2-684e-4523-b3ca-dcb37d9c3e5d" providerId="ADAL" clId="{44D73574-4316-4891-B5B8-DDD8C67FFD60}" dt="2021-11-16T15:14:22.279" v="2756" actId="14100"/>
          <ac:spMkLst>
            <pc:docMk/>
            <pc:sldMk cId="880985364" sldId="1144"/>
            <ac:spMk id="26" creationId="{E21CD515-CF94-4BD5-8A05-F706E1DC7B1F}"/>
          </ac:spMkLst>
        </pc:spChg>
        <pc:spChg chg="add mod">
          <ac:chgData name="Arjan van der Meer" userId="008f28a2-684e-4523-b3ca-dcb37d9c3e5d" providerId="ADAL" clId="{44D73574-4316-4891-B5B8-DDD8C67FFD60}" dt="2021-11-16T15:14:36.470" v="2759" actId="1076"/>
          <ac:spMkLst>
            <pc:docMk/>
            <pc:sldMk cId="880985364" sldId="1144"/>
            <ac:spMk id="27" creationId="{DF822DE3-689C-4919-874F-503A34A79F5E}"/>
          </ac:spMkLst>
        </pc:spChg>
        <pc:spChg chg="add mod">
          <ac:chgData name="Arjan van der Meer" userId="008f28a2-684e-4523-b3ca-dcb37d9c3e5d" providerId="ADAL" clId="{44D73574-4316-4891-B5B8-DDD8C67FFD60}" dt="2021-11-16T15:16:01.708" v="2766" actId="14100"/>
          <ac:spMkLst>
            <pc:docMk/>
            <pc:sldMk cId="880985364" sldId="1144"/>
            <ac:spMk id="28" creationId="{48160C1B-3708-4FCF-9E27-BFB088A98C63}"/>
          </ac:spMkLst>
        </pc:spChg>
        <pc:spChg chg="add mod">
          <ac:chgData name="Arjan van der Meer" userId="008f28a2-684e-4523-b3ca-dcb37d9c3e5d" providerId="ADAL" clId="{44D73574-4316-4891-B5B8-DDD8C67FFD60}" dt="2021-11-16T15:17:27.005" v="2774" actId="14100"/>
          <ac:spMkLst>
            <pc:docMk/>
            <pc:sldMk cId="880985364" sldId="1144"/>
            <ac:spMk id="29" creationId="{55E3B982-F441-475A-9468-00F819737DC1}"/>
          </ac:spMkLst>
        </pc:spChg>
        <pc:spChg chg="add mod">
          <ac:chgData name="Arjan van der Meer" userId="008f28a2-684e-4523-b3ca-dcb37d9c3e5d" providerId="ADAL" clId="{44D73574-4316-4891-B5B8-DDD8C67FFD60}" dt="2021-11-16T15:17:32.918" v="2777" actId="14100"/>
          <ac:spMkLst>
            <pc:docMk/>
            <pc:sldMk cId="880985364" sldId="1144"/>
            <ac:spMk id="30" creationId="{90C40155-F396-4504-B66D-91D83D29F06E}"/>
          </ac:spMkLst>
        </pc:spChg>
        <pc:spChg chg="add mod">
          <ac:chgData name="Arjan van der Meer" userId="008f28a2-684e-4523-b3ca-dcb37d9c3e5d" providerId="ADAL" clId="{44D73574-4316-4891-B5B8-DDD8C67FFD60}" dt="2021-11-16T15:18:20.657" v="2781" actId="14100"/>
          <ac:spMkLst>
            <pc:docMk/>
            <pc:sldMk cId="880985364" sldId="1144"/>
            <ac:spMk id="31" creationId="{6E21FC38-91EE-4E75-960E-8A81E467CC32}"/>
          </ac:spMkLst>
        </pc:spChg>
        <pc:spChg chg="add mod">
          <ac:chgData name="Arjan van der Meer" userId="008f28a2-684e-4523-b3ca-dcb37d9c3e5d" providerId="ADAL" clId="{44D73574-4316-4891-B5B8-DDD8C67FFD60}" dt="2021-11-16T15:18:38.834" v="2785" actId="14100"/>
          <ac:spMkLst>
            <pc:docMk/>
            <pc:sldMk cId="880985364" sldId="1144"/>
            <ac:spMk id="32" creationId="{EE422E28-D828-42F5-B082-7C3F37824A47}"/>
          </ac:spMkLst>
        </pc:spChg>
        <pc:picChg chg="add del mod">
          <ac:chgData name="Arjan van der Meer" userId="008f28a2-684e-4523-b3ca-dcb37d9c3e5d" providerId="ADAL" clId="{44D73574-4316-4891-B5B8-DDD8C67FFD60}" dt="2021-11-16T07:59:49.728" v="2120" actId="478"/>
          <ac:picMkLst>
            <pc:docMk/>
            <pc:sldMk cId="880985364" sldId="1144"/>
            <ac:picMk id="8" creationId="{B30F86CA-1855-4ADD-91FB-477E1A02ECCD}"/>
          </ac:picMkLst>
        </pc:picChg>
        <pc:picChg chg="add mod">
          <ac:chgData name="Arjan van der Meer" userId="008f28a2-684e-4523-b3ca-dcb37d9c3e5d" providerId="ADAL" clId="{44D73574-4316-4891-B5B8-DDD8C67FFD60}" dt="2021-11-16T15:10:02.468" v="2713" actId="1076"/>
          <ac:picMkLst>
            <pc:docMk/>
            <pc:sldMk cId="880985364" sldId="1144"/>
            <ac:picMk id="12" creationId="{8634C7C3-26AC-437F-B947-8E0859160B31}"/>
          </ac:picMkLst>
        </pc:picChg>
      </pc:sldChg>
      <pc:sldChg chg="addSp delSp modSp new del mod">
        <pc:chgData name="Arjan van der Meer" userId="008f28a2-684e-4523-b3ca-dcb37d9c3e5d" providerId="ADAL" clId="{44D73574-4316-4891-B5B8-DDD8C67FFD60}" dt="2021-11-17T09:53:30.668" v="2812" actId="47"/>
        <pc:sldMkLst>
          <pc:docMk/>
          <pc:sldMk cId="1708163982" sldId="1145"/>
        </pc:sldMkLst>
        <pc:spChg chg="del">
          <ac:chgData name="Arjan van der Meer" userId="008f28a2-684e-4523-b3ca-dcb37d9c3e5d" providerId="ADAL" clId="{44D73574-4316-4891-B5B8-DDD8C67FFD60}" dt="2021-11-16T10:31:11.915" v="2435" actId="931"/>
          <ac:spMkLst>
            <pc:docMk/>
            <pc:sldMk cId="1708163982" sldId="1145"/>
            <ac:spMk id="5" creationId="{84A5F3CF-EF93-44C8-9433-84162172F55B}"/>
          </ac:spMkLst>
        </pc:spChg>
        <pc:spChg chg="mod">
          <ac:chgData name="Arjan van der Meer" userId="008f28a2-684e-4523-b3ca-dcb37d9c3e5d" providerId="ADAL" clId="{44D73574-4316-4891-B5B8-DDD8C67FFD60}" dt="2021-11-16T10:31:31.635" v="2437"/>
          <ac:spMkLst>
            <pc:docMk/>
            <pc:sldMk cId="1708163982" sldId="1145"/>
            <ac:spMk id="6" creationId="{96749142-9860-437C-A886-0F96DDE9820E}"/>
          </ac:spMkLst>
        </pc:spChg>
        <pc:picChg chg="add mod">
          <ac:chgData name="Arjan van der Meer" userId="008f28a2-684e-4523-b3ca-dcb37d9c3e5d" providerId="ADAL" clId="{44D73574-4316-4891-B5B8-DDD8C67FFD60}" dt="2021-11-16T14:30:30.325" v="2669" actId="14826"/>
          <ac:picMkLst>
            <pc:docMk/>
            <pc:sldMk cId="1708163982" sldId="1145"/>
            <ac:picMk id="8" creationId="{44A00458-53CB-4116-8E80-B1E20C8B68A4}"/>
          </ac:picMkLst>
        </pc:picChg>
      </pc:sldChg>
      <pc:sldChg chg="modSp new del mod">
        <pc:chgData name="Arjan van der Meer" userId="008f28a2-684e-4523-b3ca-dcb37d9c3e5d" providerId="ADAL" clId="{44D73574-4316-4891-B5B8-DDD8C67FFD60}" dt="2021-11-17T06:40:20.385" v="2796" actId="47"/>
        <pc:sldMkLst>
          <pc:docMk/>
          <pc:sldMk cId="2830036333" sldId="1146"/>
        </pc:sldMkLst>
        <pc:spChg chg="mod">
          <ac:chgData name="Arjan van der Meer" userId="008f28a2-684e-4523-b3ca-dcb37d9c3e5d" providerId="ADAL" clId="{44D73574-4316-4891-B5B8-DDD8C67FFD60}" dt="2021-11-16T13:30:29.615" v="2667" actId="20577"/>
          <ac:spMkLst>
            <pc:docMk/>
            <pc:sldMk cId="2830036333" sldId="1146"/>
            <ac:spMk id="6" creationId="{D7693C41-EE49-4B01-9BEE-7DFFADA76B41}"/>
          </ac:spMkLst>
        </pc:spChg>
      </pc:sldChg>
      <pc:sldChg chg="addSp delSp add mod modAnim delCm">
        <pc:chgData name="Arjan van der Meer" userId="008f28a2-684e-4523-b3ca-dcb37d9c3e5d" providerId="ADAL" clId="{44D73574-4316-4891-B5B8-DDD8C67FFD60}" dt="2021-11-17T10:09:11.935" v="2834" actId="1592"/>
        <pc:sldMkLst>
          <pc:docMk/>
          <pc:sldMk cId="1916556699" sldId="1147"/>
        </pc:sldMkLst>
        <pc:spChg chg="add del">
          <ac:chgData name="Arjan van der Meer" userId="008f28a2-684e-4523-b3ca-dcb37d9c3e5d" providerId="ADAL" clId="{44D73574-4316-4891-B5B8-DDD8C67FFD60}" dt="2021-11-16T15:31:08.915" v="2791" actId="478"/>
          <ac:spMkLst>
            <pc:docMk/>
            <pc:sldMk cId="1916556699" sldId="1147"/>
            <ac:spMk id="14" creationId="{41CA9A47-A8EA-497D-BF65-D6CFBAC31968}"/>
          </ac:spMkLst>
        </pc:spChg>
        <pc:spChg chg="add del">
          <ac:chgData name="Arjan van der Meer" userId="008f28a2-684e-4523-b3ca-dcb37d9c3e5d" providerId="ADAL" clId="{44D73574-4316-4891-B5B8-DDD8C67FFD60}" dt="2021-11-16T15:31:08.372" v="2790" actId="478"/>
          <ac:spMkLst>
            <pc:docMk/>
            <pc:sldMk cId="1916556699" sldId="1147"/>
            <ac:spMk id="15" creationId="{F1E81AA6-9242-43DD-9D9A-342271D397DC}"/>
          </ac:spMkLst>
        </pc:spChg>
      </pc:sldChg>
      <pc:sldChg chg="modSp mod delCm">
        <pc:chgData name="Arjan van der Meer" userId="008f28a2-684e-4523-b3ca-dcb37d9c3e5d" providerId="ADAL" clId="{44D73574-4316-4891-B5B8-DDD8C67FFD60}" dt="2021-11-17T10:09:53.683" v="2838" actId="1592"/>
        <pc:sldMkLst>
          <pc:docMk/>
          <pc:sldMk cId="1425062256" sldId="1148"/>
        </pc:sldMkLst>
        <pc:spChg chg="mod">
          <ac:chgData name="Arjan van der Meer" userId="008f28a2-684e-4523-b3ca-dcb37d9c3e5d" providerId="ADAL" clId="{44D73574-4316-4891-B5B8-DDD8C67FFD60}" dt="2021-11-17T10:09:42.983" v="2837" actId="1076"/>
          <ac:spMkLst>
            <pc:docMk/>
            <pc:sldMk cId="1425062256" sldId="1148"/>
            <ac:spMk id="14" creationId="{C5D0FC24-EA42-4565-8E5F-AB93549E34AB}"/>
          </ac:spMkLst>
        </pc:spChg>
        <pc:picChg chg="mod">
          <ac:chgData name="Arjan van der Meer" userId="008f28a2-684e-4523-b3ca-dcb37d9c3e5d" providerId="ADAL" clId="{44D73574-4316-4891-B5B8-DDD8C67FFD60}" dt="2021-11-17T10:09:39.449" v="2836" actId="1076"/>
          <ac:picMkLst>
            <pc:docMk/>
            <pc:sldMk cId="1425062256" sldId="1148"/>
            <ac:picMk id="8" creationId="{E014E2D2-C2B8-4A93-AF35-A75528742AB2}"/>
          </ac:picMkLst>
        </pc:picChg>
      </pc:sldChg>
      <pc:sldChg chg="addSp delSp modSp add mod delAnim">
        <pc:chgData name="Arjan van der Meer" userId="008f28a2-684e-4523-b3ca-dcb37d9c3e5d" providerId="ADAL" clId="{44D73574-4316-4891-B5B8-DDD8C67FFD60}" dt="2021-11-17T10:16:12.284" v="2844" actId="14826"/>
        <pc:sldMkLst>
          <pc:docMk/>
          <pc:sldMk cId="3896743115" sldId="1149"/>
        </pc:sldMkLst>
        <pc:spChg chg="del">
          <ac:chgData name="Arjan van der Meer" userId="008f28a2-684e-4523-b3ca-dcb37d9c3e5d" providerId="ADAL" clId="{44D73574-4316-4891-B5B8-DDD8C67FFD60}" dt="2021-11-17T09:51:25.207" v="2803" actId="478"/>
          <ac:spMkLst>
            <pc:docMk/>
            <pc:sldMk cId="3896743115" sldId="1149"/>
            <ac:spMk id="9" creationId="{2E09101F-29DF-4202-BFE1-518B52C1230F}"/>
          </ac:spMkLst>
        </pc:spChg>
        <pc:picChg chg="mod">
          <ac:chgData name="Arjan van der Meer" userId="008f28a2-684e-4523-b3ca-dcb37d9c3e5d" providerId="ADAL" clId="{44D73574-4316-4891-B5B8-DDD8C67FFD60}" dt="2021-11-17T10:16:12.284" v="2844" actId="14826"/>
          <ac:picMkLst>
            <pc:docMk/>
            <pc:sldMk cId="3896743115" sldId="1149"/>
            <ac:picMk id="8" creationId="{271DC360-8236-4F60-9780-871ACFB4FA46}"/>
          </ac:picMkLst>
        </pc:picChg>
        <pc:picChg chg="add del mod ord">
          <ac:chgData name="Arjan van der Meer" userId="008f28a2-684e-4523-b3ca-dcb37d9c3e5d" providerId="ADAL" clId="{44D73574-4316-4891-B5B8-DDD8C67FFD60}" dt="2021-11-17T09:53:07.242" v="2811" actId="478"/>
          <ac:picMkLst>
            <pc:docMk/>
            <pc:sldMk cId="3896743115" sldId="1149"/>
            <ac:picMk id="10" creationId="{FE19AB41-8752-4738-83B0-DDC270EA067B}"/>
          </ac:picMkLst>
        </pc:picChg>
      </pc:sldChg>
      <pc:sldChg chg="addSp delSp modSp new del mod">
        <pc:chgData name="Arjan van der Meer" userId="008f28a2-684e-4523-b3ca-dcb37d9c3e5d" providerId="ADAL" clId="{44D73574-4316-4891-B5B8-DDD8C67FFD60}" dt="2021-11-17T10:28:24.186" v="2848" actId="47"/>
        <pc:sldMkLst>
          <pc:docMk/>
          <pc:sldMk cId="1334391663" sldId="1150"/>
        </pc:sldMkLst>
        <pc:spChg chg="del">
          <ac:chgData name="Arjan van der Meer" userId="008f28a2-684e-4523-b3ca-dcb37d9c3e5d" providerId="ADAL" clId="{44D73574-4316-4891-B5B8-DDD8C67FFD60}" dt="2021-11-17T10:05:06.465" v="2814" actId="931"/>
          <ac:spMkLst>
            <pc:docMk/>
            <pc:sldMk cId="1334391663" sldId="1150"/>
            <ac:spMk id="5" creationId="{CF99CDBA-E0D4-4647-A69A-AA104F51B0F7}"/>
          </ac:spMkLst>
        </pc:spChg>
        <pc:spChg chg="mod">
          <ac:chgData name="Arjan van der Meer" userId="008f28a2-684e-4523-b3ca-dcb37d9c3e5d" providerId="ADAL" clId="{44D73574-4316-4891-B5B8-DDD8C67FFD60}" dt="2021-11-17T10:08:34.602" v="2833"/>
          <ac:spMkLst>
            <pc:docMk/>
            <pc:sldMk cId="1334391663" sldId="1150"/>
            <ac:spMk id="6" creationId="{4F01500F-E389-4017-BB28-71617705AA1D}"/>
          </ac:spMkLst>
        </pc:spChg>
        <pc:picChg chg="add mod">
          <ac:chgData name="Arjan van der Meer" userId="008f28a2-684e-4523-b3ca-dcb37d9c3e5d" providerId="ADAL" clId="{44D73574-4316-4891-B5B8-DDD8C67FFD60}" dt="2021-11-17T10:07:50.480" v="2831" actId="1038"/>
          <ac:picMkLst>
            <pc:docMk/>
            <pc:sldMk cId="1334391663" sldId="1150"/>
            <ac:picMk id="8" creationId="{54C23F92-0609-486B-B3CD-8C46CBDBCFFC}"/>
          </ac:picMkLst>
        </pc:picChg>
        <pc:picChg chg="add del mod ord">
          <ac:chgData name="Arjan van der Meer" userId="008f28a2-684e-4523-b3ca-dcb37d9c3e5d" providerId="ADAL" clId="{44D73574-4316-4891-B5B8-DDD8C67FFD60}" dt="2021-11-17T10:08:04.799" v="2832" actId="478"/>
          <ac:picMkLst>
            <pc:docMk/>
            <pc:sldMk cId="1334391663" sldId="1150"/>
            <ac:picMk id="9" creationId="{7DD0F990-1FC3-405D-8CBC-8C02BF4F0034}"/>
          </ac:picMkLst>
        </pc:picChg>
      </pc:sldChg>
      <pc:sldChg chg="modSp add">
        <pc:chgData name="Arjan van der Meer" userId="008f28a2-684e-4523-b3ca-dcb37d9c3e5d" providerId="ADAL" clId="{44D73574-4316-4891-B5B8-DDD8C67FFD60}" dt="2021-11-17T10:28:08.604" v="2847" actId="14826"/>
        <pc:sldMkLst>
          <pc:docMk/>
          <pc:sldMk cId="3372733598" sldId="1151"/>
        </pc:sldMkLst>
        <pc:picChg chg="mod">
          <ac:chgData name="Arjan van der Meer" userId="008f28a2-684e-4523-b3ca-dcb37d9c3e5d" providerId="ADAL" clId="{44D73574-4316-4891-B5B8-DDD8C67FFD60}" dt="2021-11-17T10:28:08.604" v="2847" actId="14826"/>
          <ac:picMkLst>
            <pc:docMk/>
            <pc:sldMk cId="3372733598" sldId="1151"/>
            <ac:picMk id="8" creationId="{54C23F92-0609-486B-B3CD-8C46CBDBCFFC}"/>
          </ac:picMkLst>
        </pc:picChg>
      </pc:sldChg>
    </pc:docChg>
  </pc:docChgLst>
  <pc:docChgLst>
    <pc:chgData name="Arjan van der Meer" userId="008f28a2-684e-4523-b3ca-dcb37d9c3e5d" providerId="ADAL" clId="{2B06979C-09FA-4ACE-9D1B-5392C9D6EE8C}"/>
    <pc:docChg chg="undo custSel modSld">
      <pc:chgData name="Arjan van der Meer" userId="008f28a2-684e-4523-b3ca-dcb37d9c3e5d" providerId="ADAL" clId="{2B06979C-09FA-4ACE-9D1B-5392C9D6EE8C}" dt="2021-10-29T09:29:29.400" v="1569" actId="692"/>
      <pc:docMkLst>
        <pc:docMk/>
      </pc:docMkLst>
      <pc:sldChg chg="addSp delSp modSp mod modAnim">
        <pc:chgData name="Arjan van der Meer" userId="008f28a2-684e-4523-b3ca-dcb37d9c3e5d" providerId="ADAL" clId="{2B06979C-09FA-4ACE-9D1B-5392C9D6EE8C}" dt="2021-10-29T08:23:46.301" v="1546" actId="692"/>
        <pc:sldMkLst>
          <pc:docMk/>
          <pc:sldMk cId="3073011292" sldId="1063"/>
        </pc:sldMkLst>
        <pc:spChg chg="mod">
          <ac:chgData name="Arjan van der Meer" userId="008f28a2-684e-4523-b3ca-dcb37d9c3e5d" providerId="ADAL" clId="{2B06979C-09FA-4ACE-9D1B-5392C9D6EE8C}" dt="2021-10-27T14:00:59.945" v="585" actId="1076"/>
          <ac:spMkLst>
            <pc:docMk/>
            <pc:sldMk cId="3073011292" sldId="1063"/>
            <ac:spMk id="2" creationId="{53CB77FA-CF1B-4B0E-A304-10CE6620EE56}"/>
          </ac:spMkLst>
        </pc:spChg>
        <pc:spChg chg="del">
          <ac:chgData name="Arjan van der Meer" userId="008f28a2-684e-4523-b3ca-dcb37d9c3e5d" providerId="ADAL" clId="{2B06979C-09FA-4ACE-9D1B-5392C9D6EE8C}" dt="2021-10-27T13:45:35.029" v="470" actId="478"/>
          <ac:spMkLst>
            <pc:docMk/>
            <pc:sldMk cId="3073011292" sldId="1063"/>
            <ac:spMk id="6" creationId="{EFF25976-C0D4-4259-AB50-81301790BD65}"/>
          </ac:spMkLst>
        </pc:spChg>
        <pc:spChg chg="add mod">
          <ac:chgData name="Arjan van der Meer" userId="008f28a2-684e-4523-b3ca-dcb37d9c3e5d" providerId="ADAL" clId="{2B06979C-09FA-4ACE-9D1B-5392C9D6EE8C}" dt="2021-10-28T09:16:56.322" v="1485" actId="1036"/>
          <ac:spMkLst>
            <pc:docMk/>
            <pc:sldMk cId="3073011292" sldId="1063"/>
            <ac:spMk id="7" creationId="{17DFA489-F3A1-4CE1-A38B-0E846A7FFAAD}"/>
          </ac:spMkLst>
        </pc:spChg>
        <pc:spChg chg="del">
          <ac:chgData name="Arjan van der Meer" userId="008f28a2-684e-4523-b3ca-dcb37d9c3e5d" providerId="ADAL" clId="{2B06979C-09FA-4ACE-9D1B-5392C9D6EE8C}" dt="2021-10-27T13:45:32.870" v="469" actId="478"/>
          <ac:spMkLst>
            <pc:docMk/>
            <pc:sldMk cId="3073011292" sldId="1063"/>
            <ac:spMk id="8" creationId="{C3406E72-D449-4FB0-8390-1D03AFE00053}"/>
          </ac:spMkLst>
        </pc:spChg>
        <pc:spChg chg="mod">
          <ac:chgData name="Arjan van der Meer" userId="008f28a2-684e-4523-b3ca-dcb37d9c3e5d" providerId="ADAL" clId="{2B06979C-09FA-4ACE-9D1B-5392C9D6EE8C}" dt="2021-10-27T13:45:42.855" v="485" actId="1036"/>
          <ac:spMkLst>
            <pc:docMk/>
            <pc:sldMk cId="3073011292" sldId="1063"/>
            <ac:spMk id="17" creationId="{95822C4C-5170-4571-8D2A-CFEB56C8D9F7}"/>
          </ac:spMkLst>
        </pc:spChg>
        <pc:spChg chg="mod">
          <ac:chgData name="Arjan van der Meer" userId="008f28a2-684e-4523-b3ca-dcb37d9c3e5d" providerId="ADAL" clId="{2B06979C-09FA-4ACE-9D1B-5392C9D6EE8C}" dt="2021-10-27T13:40:47.782" v="435" actId="1076"/>
          <ac:spMkLst>
            <pc:docMk/>
            <pc:sldMk cId="3073011292" sldId="1063"/>
            <ac:spMk id="27" creationId="{99CF6255-2CE0-43C4-A8E1-EF957E1ABAF4}"/>
          </ac:spMkLst>
        </pc:spChg>
        <pc:spChg chg="del">
          <ac:chgData name="Arjan van der Meer" userId="008f28a2-684e-4523-b3ca-dcb37d9c3e5d" providerId="ADAL" clId="{2B06979C-09FA-4ACE-9D1B-5392C9D6EE8C}" dt="2021-10-27T13:35:12.022" v="277" actId="478"/>
          <ac:spMkLst>
            <pc:docMk/>
            <pc:sldMk cId="3073011292" sldId="1063"/>
            <ac:spMk id="37" creationId="{6FA63500-E87E-4CE6-A11A-C9B0572B8E19}"/>
          </ac:spMkLst>
        </pc:spChg>
        <pc:spChg chg="add del mod">
          <ac:chgData name="Arjan van der Meer" userId="008f28a2-684e-4523-b3ca-dcb37d9c3e5d" providerId="ADAL" clId="{2B06979C-09FA-4ACE-9D1B-5392C9D6EE8C}" dt="2021-10-28T07:57:42.245" v="1016" actId="478"/>
          <ac:spMkLst>
            <pc:docMk/>
            <pc:sldMk cId="3073011292" sldId="1063"/>
            <ac:spMk id="41" creationId="{7605243E-8736-494F-96D6-3AEE5CA26302}"/>
          </ac:spMkLst>
        </pc:spChg>
        <pc:spChg chg="del">
          <ac:chgData name="Arjan van der Meer" userId="008f28a2-684e-4523-b3ca-dcb37d9c3e5d" providerId="ADAL" clId="{2B06979C-09FA-4ACE-9D1B-5392C9D6EE8C}" dt="2021-10-27T13:35:12.022" v="277" actId="478"/>
          <ac:spMkLst>
            <pc:docMk/>
            <pc:sldMk cId="3073011292" sldId="1063"/>
            <ac:spMk id="42" creationId="{5976A91F-461A-4467-B587-801D6F41F1A5}"/>
          </ac:spMkLst>
        </pc:spChg>
        <pc:spChg chg="add del mod">
          <ac:chgData name="Arjan van der Meer" userId="008f28a2-684e-4523-b3ca-dcb37d9c3e5d" providerId="ADAL" clId="{2B06979C-09FA-4ACE-9D1B-5392C9D6EE8C}" dt="2021-10-28T07:57:42.245" v="1016" actId="478"/>
          <ac:spMkLst>
            <pc:docMk/>
            <pc:sldMk cId="3073011292" sldId="1063"/>
            <ac:spMk id="43" creationId="{F7503238-C746-4531-9571-9130FF0372E4}"/>
          </ac:spMkLst>
        </pc:spChg>
        <pc:spChg chg="del">
          <ac:chgData name="Arjan van der Meer" userId="008f28a2-684e-4523-b3ca-dcb37d9c3e5d" providerId="ADAL" clId="{2B06979C-09FA-4ACE-9D1B-5392C9D6EE8C}" dt="2021-10-27T13:35:12.022" v="277" actId="478"/>
          <ac:spMkLst>
            <pc:docMk/>
            <pc:sldMk cId="3073011292" sldId="1063"/>
            <ac:spMk id="44" creationId="{2B95D81E-EA32-4ACE-9C4B-7FED231E8274}"/>
          </ac:spMkLst>
        </pc:spChg>
        <pc:spChg chg="add del mod">
          <ac:chgData name="Arjan van der Meer" userId="008f28a2-684e-4523-b3ca-dcb37d9c3e5d" providerId="ADAL" clId="{2B06979C-09FA-4ACE-9D1B-5392C9D6EE8C}" dt="2021-10-28T07:57:42.245" v="1016" actId="478"/>
          <ac:spMkLst>
            <pc:docMk/>
            <pc:sldMk cId="3073011292" sldId="1063"/>
            <ac:spMk id="45" creationId="{0CC4BD84-B85E-4939-9667-1FDD1574C3E6}"/>
          </ac:spMkLst>
        </pc:spChg>
        <pc:spChg chg="add del mod">
          <ac:chgData name="Arjan van der Meer" userId="008f28a2-684e-4523-b3ca-dcb37d9c3e5d" providerId="ADAL" clId="{2B06979C-09FA-4ACE-9D1B-5392C9D6EE8C}" dt="2021-10-28T07:57:42.245" v="1016" actId="478"/>
          <ac:spMkLst>
            <pc:docMk/>
            <pc:sldMk cId="3073011292" sldId="1063"/>
            <ac:spMk id="46" creationId="{25D1D4FB-9F27-4A87-9822-B971048B2955}"/>
          </ac:spMkLst>
        </pc:spChg>
        <pc:spChg chg="add del mod">
          <ac:chgData name="Arjan van der Meer" userId="008f28a2-684e-4523-b3ca-dcb37d9c3e5d" providerId="ADAL" clId="{2B06979C-09FA-4ACE-9D1B-5392C9D6EE8C}" dt="2021-10-28T07:57:42.245" v="1016" actId="478"/>
          <ac:spMkLst>
            <pc:docMk/>
            <pc:sldMk cId="3073011292" sldId="1063"/>
            <ac:spMk id="47" creationId="{E5CD7348-AA8A-46BF-8317-5497E7325F48}"/>
          </ac:spMkLst>
        </pc:spChg>
        <pc:spChg chg="add del mod">
          <ac:chgData name="Arjan van der Meer" userId="008f28a2-684e-4523-b3ca-dcb37d9c3e5d" providerId="ADAL" clId="{2B06979C-09FA-4ACE-9D1B-5392C9D6EE8C}" dt="2021-10-28T07:57:42.245" v="1016" actId="478"/>
          <ac:spMkLst>
            <pc:docMk/>
            <pc:sldMk cId="3073011292" sldId="1063"/>
            <ac:spMk id="48" creationId="{6F67A3EC-96FB-43F3-BEB5-5777B4E5324E}"/>
          </ac:spMkLst>
        </pc:spChg>
        <pc:spChg chg="add del mod">
          <ac:chgData name="Arjan van der Meer" userId="008f28a2-684e-4523-b3ca-dcb37d9c3e5d" providerId="ADAL" clId="{2B06979C-09FA-4ACE-9D1B-5392C9D6EE8C}" dt="2021-10-28T07:57:42.245" v="1016" actId="478"/>
          <ac:spMkLst>
            <pc:docMk/>
            <pc:sldMk cId="3073011292" sldId="1063"/>
            <ac:spMk id="49" creationId="{2822A19A-5FDB-4AAE-A886-B78A035DAD23}"/>
          </ac:spMkLst>
        </pc:spChg>
        <pc:spChg chg="del">
          <ac:chgData name="Arjan van der Meer" userId="008f28a2-684e-4523-b3ca-dcb37d9c3e5d" providerId="ADAL" clId="{2B06979C-09FA-4ACE-9D1B-5392C9D6EE8C}" dt="2021-10-27T13:35:12.022" v="277" actId="478"/>
          <ac:spMkLst>
            <pc:docMk/>
            <pc:sldMk cId="3073011292" sldId="1063"/>
            <ac:spMk id="53" creationId="{61EA0A3E-F1D5-43EE-8630-3E6134897329}"/>
          </ac:spMkLst>
        </pc:spChg>
        <pc:spChg chg="add mod">
          <ac:chgData name="Arjan van der Meer" userId="008f28a2-684e-4523-b3ca-dcb37d9c3e5d" providerId="ADAL" clId="{2B06979C-09FA-4ACE-9D1B-5392C9D6EE8C}" dt="2021-10-28T07:57:48.635" v="1036" actId="1036"/>
          <ac:spMkLst>
            <pc:docMk/>
            <pc:sldMk cId="3073011292" sldId="1063"/>
            <ac:spMk id="53" creationId="{9A501EDE-1E9A-4392-A9D2-22728C72C833}"/>
          </ac:spMkLst>
        </pc:spChg>
        <pc:spChg chg="del">
          <ac:chgData name="Arjan van der Meer" userId="008f28a2-684e-4523-b3ca-dcb37d9c3e5d" providerId="ADAL" clId="{2B06979C-09FA-4ACE-9D1B-5392C9D6EE8C}" dt="2021-10-27T13:35:12.022" v="277" actId="478"/>
          <ac:spMkLst>
            <pc:docMk/>
            <pc:sldMk cId="3073011292" sldId="1063"/>
            <ac:spMk id="54" creationId="{169A1F2A-7BE7-4B1E-AC07-B5812A919DBB}"/>
          </ac:spMkLst>
        </pc:spChg>
        <pc:spChg chg="add mod">
          <ac:chgData name="Arjan van der Meer" userId="008f28a2-684e-4523-b3ca-dcb37d9c3e5d" providerId="ADAL" clId="{2B06979C-09FA-4ACE-9D1B-5392C9D6EE8C}" dt="2021-10-28T07:57:48.635" v="1036" actId="1036"/>
          <ac:spMkLst>
            <pc:docMk/>
            <pc:sldMk cId="3073011292" sldId="1063"/>
            <ac:spMk id="54" creationId="{6F6E6A58-4102-4690-B9CD-F5588C985D3F}"/>
          </ac:spMkLst>
        </pc:spChg>
        <pc:spChg chg="add mod">
          <ac:chgData name="Arjan van der Meer" userId="008f28a2-684e-4523-b3ca-dcb37d9c3e5d" providerId="ADAL" clId="{2B06979C-09FA-4ACE-9D1B-5392C9D6EE8C}" dt="2021-10-28T07:59:57.736" v="1073" actId="1038"/>
          <ac:spMkLst>
            <pc:docMk/>
            <pc:sldMk cId="3073011292" sldId="1063"/>
            <ac:spMk id="55" creationId="{583E2F1D-6024-4055-A2C6-8C77C68B515B}"/>
          </ac:spMkLst>
        </pc:spChg>
        <pc:spChg chg="del">
          <ac:chgData name="Arjan van der Meer" userId="008f28a2-684e-4523-b3ca-dcb37d9c3e5d" providerId="ADAL" clId="{2B06979C-09FA-4ACE-9D1B-5392C9D6EE8C}" dt="2021-10-27T13:35:12.022" v="277" actId="478"/>
          <ac:spMkLst>
            <pc:docMk/>
            <pc:sldMk cId="3073011292" sldId="1063"/>
            <ac:spMk id="55" creationId="{E29737CB-9D47-48EB-B744-EEFF08E21C5E}"/>
          </ac:spMkLst>
        </pc:spChg>
        <pc:spChg chg="mod">
          <ac:chgData name="Arjan van der Meer" userId="008f28a2-684e-4523-b3ca-dcb37d9c3e5d" providerId="ADAL" clId="{2B06979C-09FA-4ACE-9D1B-5392C9D6EE8C}" dt="2021-10-29T08:23:46.301" v="1546" actId="692"/>
          <ac:spMkLst>
            <pc:docMk/>
            <pc:sldMk cId="3073011292" sldId="1063"/>
            <ac:spMk id="56" creationId="{AD1681BD-D8C6-4D35-899F-428441F70526}"/>
          </ac:spMkLst>
        </pc:spChg>
        <pc:spChg chg="add del mod">
          <ac:chgData name="Arjan van der Meer" userId="008f28a2-684e-4523-b3ca-dcb37d9c3e5d" providerId="ADAL" clId="{2B06979C-09FA-4ACE-9D1B-5392C9D6EE8C}" dt="2021-10-28T07:57:42.245" v="1016" actId="478"/>
          <ac:spMkLst>
            <pc:docMk/>
            <pc:sldMk cId="3073011292" sldId="1063"/>
            <ac:spMk id="56" creationId="{EDDD9AC8-885E-40D2-9F51-281BC96A10D3}"/>
          </ac:spMkLst>
        </pc:spChg>
        <pc:spChg chg="add del mod">
          <ac:chgData name="Arjan van der Meer" userId="008f28a2-684e-4523-b3ca-dcb37d9c3e5d" providerId="ADAL" clId="{2B06979C-09FA-4ACE-9D1B-5392C9D6EE8C}" dt="2021-10-28T07:57:42.245" v="1016" actId="478"/>
          <ac:spMkLst>
            <pc:docMk/>
            <pc:sldMk cId="3073011292" sldId="1063"/>
            <ac:spMk id="57" creationId="{97D38187-04C5-4858-8F72-106DC4A6522E}"/>
          </ac:spMkLst>
        </pc:spChg>
        <pc:spChg chg="add del mod">
          <ac:chgData name="Arjan van der Meer" userId="008f28a2-684e-4523-b3ca-dcb37d9c3e5d" providerId="ADAL" clId="{2B06979C-09FA-4ACE-9D1B-5392C9D6EE8C}" dt="2021-10-28T07:57:42.245" v="1016" actId="478"/>
          <ac:spMkLst>
            <pc:docMk/>
            <pc:sldMk cId="3073011292" sldId="1063"/>
            <ac:spMk id="58" creationId="{98ED9C28-9EB4-404F-88B8-F11EBB7F0F63}"/>
          </ac:spMkLst>
        </pc:spChg>
        <pc:spChg chg="add mod">
          <ac:chgData name="Arjan van der Meer" userId="008f28a2-684e-4523-b3ca-dcb37d9c3e5d" providerId="ADAL" clId="{2B06979C-09FA-4ACE-9D1B-5392C9D6EE8C}" dt="2021-10-28T07:57:48.635" v="1036" actId="1036"/>
          <ac:spMkLst>
            <pc:docMk/>
            <pc:sldMk cId="3073011292" sldId="1063"/>
            <ac:spMk id="59" creationId="{384D50E9-58ED-4C9A-B13A-74F6A6103C90}"/>
          </ac:spMkLst>
        </pc:spChg>
        <pc:spChg chg="del">
          <ac:chgData name="Arjan van der Meer" userId="008f28a2-684e-4523-b3ca-dcb37d9c3e5d" providerId="ADAL" clId="{2B06979C-09FA-4ACE-9D1B-5392C9D6EE8C}" dt="2021-10-27T13:35:12.022" v="277" actId="478"/>
          <ac:spMkLst>
            <pc:docMk/>
            <pc:sldMk cId="3073011292" sldId="1063"/>
            <ac:spMk id="59" creationId="{A8C460DA-4B60-486A-B958-168356A6492B}"/>
          </ac:spMkLst>
        </pc:spChg>
        <pc:spChg chg="add del mod">
          <ac:chgData name="Arjan van der Meer" userId="008f28a2-684e-4523-b3ca-dcb37d9c3e5d" providerId="ADAL" clId="{2B06979C-09FA-4ACE-9D1B-5392C9D6EE8C}" dt="2021-10-28T07:57:42.245" v="1016" actId="478"/>
          <ac:spMkLst>
            <pc:docMk/>
            <pc:sldMk cId="3073011292" sldId="1063"/>
            <ac:spMk id="60" creationId="{9D7497BE-FD2C-4C1E-800B-4C902991FC22}"/>
          </ac:spMkLst>
        </pc:spChg>
        <pc:spChg chg="del">
          <ac:chgData name="Arjan van der Meer" userId="008f28a2-684e-4523-b3ca-dcb37d9c3e5d" providerId="ADAL" clId="{2B06979C-09FA-4ACE-9D1B-5392C9D6EE8C}" dt="2021-10-27T13:35:12.022" v="277" actId="478"/>
          <ac:spMkLst>
            <pc:docMk/>
            <pc:sldMk cId="3073011292" sldId="1063"/>
            <ac:spMk id="62" creationId="{C12752A9-DB66-41C2-BD34-B5C70E7ACBEC}"/>
          </ac:spMkLst>
        </pc:spChg>
        <pc:spChg chg="add mod">
          <ac:chgData name="Arjan van der Meer" userId="008f28a2-684e-4523-b3ca-dcb37d9c3e5d" providerId="ADAL" clId="{2B06979C-09FA-4ACE-9D1B-5392C9D6EE8C}" dt="2021-10-28T07:59:57.736" v="1073" actId="1038"/>
          <ac:spMkLst>
            <pc:docMk/>
            <pc:sldMk cId="3073011292" sldId="1063"/>
            <ac:spMk id="62" creationId="{E698CFEC-5FB5-42D1-9F06-457E00ACE59F}"/>
          </ac:spMkLst>
        </pc:spChg>
        <pc:spChg chg="add del mod">
          <ac:chgData name="Arjan van der Meer" userId="008f28a2-684e-4523-b3ca-dcb37d9c3e5d" providerId="ADAL" clId="{2B06979C-09FA-4ACE-9D1B-5392C9D6EE8C}" dt="2021-10-28T07:57:42.245" v="1016" actId="478"/>
          <ac:spMkLst>
            <pc:docMk/>
            <pc:sldMk cId="3073011292" sldId="1063"/>
            <ac:spMk id="63" creationId="{EF88CAF2-3C19-49E7-95D3-40EABF757F0D}"/>
          </ac:spMkLst>
        </pc:spChg>
        <pc:spChg chg="add del mod">
          <ac:chgData name="Arjan van der Meer" userId="008f28a2-684e-4523-b3ca-dcb37d9c3e5d" providerId="ADAL" clId="{2B06979C-09FA-4ACE-9D1B-5392C9D6EE8C}" dt="2021-10-28T07:57:42.245" v="1016" actId="478"/>
          <ac:spMkLst>
            <pc:docMk/>
            <pc:sldMk cId="3073011292" sldId="1063"/>
            <ac:spMk id="65" creationId="{0BFD3BEE-97C1-4193-B3BF-7B293F14B0A9}"/>
          </ac:spMkLst>
        </pc:spChg>
        <pc:spChg chg="del">
          <ac:chgData name="Arjan van der Meer" userId="008f28a2-684e-4523-b3ca-dcb37d9c3e5d" providerId="ADAL" clId="{2B06979C-09FA-4ACE-9D1B-5392C9D6EE8C}" dt="2021-10-27T13:35:12.022" v="277" actId="478"/>
          <ac:spMkLst>
            <pc:docMk/>
            <pc:sldMk cId="3073011292" sldId="1063"/>
            <ac:spMk id="66" creationId="{4B545B4C-11FB-4CB3-A665-7969CC2137A7}"/>
          </ac:spMkLst>
        </pc:spChg>
        <pc:spChg chg="add mod">
          <ac:chgData name="Arjan van der Meer" userId="008f28a2-684e-4523-b3ca-dcb37d9c3e5d" providerId="ADAL" clId="{2B06979C-09FA-4ACE-9D1B-5392C9D6EE8C}" dt="2021-10-28T07:59:57.736" v="1073" actId="1038"/>
          <ac:spMkLst>
            <pc:docMk/>
            <pc:sldMk cId="3073011292" sldId="1063"/>
            <ac:spMk id="66" creationId="{D787DD10-1F26-42DF-94F5-C17E61219E08}"/>
          </ac:spMkLst>
        </pc:spChg>
        <pc:spChg chg="del">
          <ac:chgData name="Arjan van der Meer" userId="008f28a2-684e-4523-b3ca-dcb37d9c3e5d" providerId="ADAL" clId="{2B06979C-09FA-4ACE-9D1B-5392C9D6EE8C}" dt="2021-10-27T13:35:12.022" v="277" actId="478"/>
          <ac:spMkLst>
            <pc:docMk/>
            <pc:sldMk cId="3073011292" sldId="1063"/>
            <ac:spMk id="67" creationId="{3D4BEFC5-2451-446F-8996-A825B8889C1F}"/>
          </ac:spMkLst>
        </pc:spChg>
        <pc:spChg chg="add mod">
          <ac:chgData name="Arjan van der Meer" userId="008f28a2-684e-4523-b3ca-dcb37d9c3e5d" providerId="ADAL" clId="{2B06979C-09FA-4ACE-9D1B-5392C9D6EE8C}" dt="2021-10-28T07:57:48.635" v="1036" actId="1036"/>
          <ac:spMkLst>
            <pc:docMk/>
            <pc:sldMk cId="3073011292" sldId="1063"/>
            <ac:spMk id="67" creationId="{F06B9AD1-932A-4D14-9EE7-1731F8D0237E}"/>
          </ac:spMkLst>
        </pc:spChg>
        <pc:spChg chg="del">
          <ac:chgData name="Arjan van der Meer" userId="008f28a2-684e-4523-b3ca-dcb37d9c3e5d" providerId="ADAL" clId="{2B06979C-09FA-4ACE-9D1B-5392C9D6EE8C}" dt="2021-10-27T13:35:12.022" v="277" actId="478"/>
          <ac:spMkLst>
            <pc:docMk/>
            <pc:sldMk cId="3073011292" sldId="1063"/>
            <ac:spMk id="71" creationId="{86C4ED43-FF99-44CD-A375-572A1E97100A}"/>
          </ac:spMkLst>
        </pc:spChg>
        <pc:spChg chg="add mod">
          <ac:chgData name="Arjan van der Meer" userId="008f28a2-684e-4523-b3ca-dcb37d9c3e5d" providerId="ADAL" clId="{2B06979C-09FA-4ACE-9D1B-5392C9D6EE8C}" dt="2021-10-28T07:57:48.635" v="1036" actId="1036"/>
          <ac:spMkLst>
            <pc:docMk/>
            <pc:sldMk cId="3073011292" sldId="1063"/>
            <ac:spMk id="71" creationId="{F6F24A82-FC20-4E5D-8710-FB7606B2A48C}"/>
          </ac:spMkLst>
        </pc:spChg>
        <pc:spChg chg="del">
          <ac:chgData name="Arjan van der Meer" userId="008f28a2-684e-4523-b3ca-dcb37d9c3e5d" providerId="ADAL" clId="{2B06979C-09FA-4ACE-9D1B-5392C9D6EE8C}" dt="2021-10-27T13:35:12.022" v="277" actId="478"/>
          <ac:spMkLst>
            <pc:docMk/>
            <pc:sldMk cId="3073011292" sldId="1063"/>
            <ac:spMk id="72" creationId="{4E1FDB4C-5EA5-491B-BF1B-6FAF8A2BF00D}"/>
          </ac:spMkLst>
        </pc:spChg>
        <pc:spChg chg="add mod">
          <ac:chgData name="Arjan van der Meer" userId="008f28a2-684e-4523-b3ca-dcb37d9c3e5d" providerId="ADAL" clId="{2B06979C-09FA-4ACE-9D1B-5392C9D6EE8C}" dt="2021-10-28T07:59:57.736" v="1073" actId="1038"/>
          <ac:spMkLst>
            <pc:docMk/>
            <pc:sldMk cId="3073011292" sldId="1063"/>
            <ac:spMk id="72" creationId="{D5183BB7-8CD5-4E86-9E87-D6F16AE57215}"/>
          </ac:spMkLst>
        </pc:spChg>
        <pc:spChg chg="del">
          <ac:chgData name="Arjan van der Meer" userId="008f28a2-684e-4523-b3ca-dcb37d9c3e5d" providerId="ADAL" clId="{2B06979C-09FA-4ACE-9D1B-5392C9D6EE8C}" dt="2021-10-27T13:35:12.022" v="277" actId="478"/>
          <ac:spMkLst>
            <pc:docMk/>
            <pc:sldMk cId="3073011292" sldId="1063"/>
            <ac:spMk id="73" creationId="{4EEB8E8B-301A-4678-B616-6D526599BCCA}"/>
          </ac:spMkLst>
        </pc:spChg>
        <pc:spChg chg="add mod">
          <ac:chgData name="Arjan van der Meer" userId="008f28a2-684e-4523-b3ca-dcb37d9c3e5d" providerId="ADAL" clId="{2B06979C-09FA-4ACE-9D1B-5392C9D6EE8C}" dt="2021-10-28T07:57:48.635" v="1036" actId="1036"/>
          <ac:spMkLst>
            <pc:docMk/>
            <pc:sldMk cId="3073011292" sldId="1063"/>
            <ac:spMk id="73" creationId="{B35926CB-9EB2-4150-AC72-96F628D5B995}"/>
          </ac:spMkLst>
        </pc:spChg>
        <pc:spChg chg="del">
          <ac:chgData name="Arjan van der Meer" userId="008f28a2-684e-4523-b3ca-dcb37d9c3e5d" providerId="ADAL" clId="{2B06979C-09FA-4ACE-9D1B-5392C9D6EE8C}" dt="2021-10-27T13:35:12.022" v="277" actId="478"/>
          <ac:spMkLst>
            <pc:docMk/>
            <pc:sldMk cId="3073011292" sldId="1063"/>
            <ac:spMk id="74" creationId="{A9429BF1-A873-4EFC-B3E0-E63AEE536BD5}"/>
          </ac:spMkLst>
        </pc:spChg>
        <pc:spChg chg="add mod">
          <ac:chgData name="Arjan van der Meer" userId="008f28a2-684e-4523-b3ca-dcb37d9c3e5d" providerId="ADAL" clId="{2B06979C-09FA-4ACE-9D1B-5392C9D6EE8C}" dt="2021-10-28T07:57:48.635" v="1036" actId="1036"/>
          <ac:spMkLst>
            <pc:docMk/>
            <pc:sldMk cId="3073011292" sldId="1063"/>
            <ac:spMk id="74" creationId="{B5D4A87A-CC02-4DC6-8326-8ADFA77CF8E4}"/>
          </ac:spMkLst>
        </pc:spChg>
        <pc:spChg chg="add mod">
          <ac:chgData name="Arjan van der Meer" userId="008f28a2-684e-4523-b3ca-dcb37d9c3e5d" providerId="ADAL" clId="{2B06979C-09FA-4ACE-9D1B-5392C9D6EE8C}" dt="2021-10-28T08:00:29.621" v="1075" actId="1076"/>
          <ac:spMkLst>
            <pc:docMk/>
            <pc:sldMk cId="3073011292" sldId="1063"/>
            <ac:spMk id="75" creationId="{90DCF73D-6CB2-43E5-A9BD-3C1282E04DC6}"/>
          </ac:spMkLst>
        </pc:spChg>
        <pc:spChg chg="add del mod">
          <ac:chgData name="Arjan van der Meer" userId="008f28a2-684e-4523-b3ca-dcb37d9c3e5d" providerId="ADAL" clId="{2B06979C-09FA-4ACE-9D1B-5392C9D6EE8C}" dt="2021-10-28T07:57:42.245" v="1016" actId="478"/>
          <ac:spMkLst>
            <pc:docMk/>
            <pc:sldMk cId="3073011292" sldId="1063"/>
            <ac:spMk id="76" creationId="{251378EA-4D82-4337-8110-3DE2F7641035}"/>
          </ac:spMkLst>
        </pc:spChg>
        <pc:spChg chg="add del mod">
          <ac:chgData name="Arjan van der Meer" userId="008f28a2-684e-4523-b3ca-dcb37d9c3e5d" providerId="ADAL" clId="{2B06979C-09FA-4ACE-9D1B-5392C9D6EE8C}" dt="2021-10-28T07:57:42.245" v="1016" actId="478"/>
          <ac:spMkLst>
            <pc:docMk/>
            <pc:sldMk cId="3073011292" sldId="1063"/>
            <ac:spMk id="77" creationId="{32705912-0902-467D-B33E-93039925F62D}"/>
          </ac:spMkLst>
        </pc:spChg>
        <pc:spChg chg="mod">
          <ac:chgData name="Arjan van der Meer" userId="008f28a2-684e-4523-b3ca-dcb37d9c3e5d" providerId="ADAL" clId="{2B06979C-09FA-4ACE-9D1B-5392C9D6EE8C}" dt="2021-10-27T13:35:57.512" v="398" actId="1036"/>
          <ac:spMkLst>
            <pc:docMk/>
            <pc:sldMk cId="3073011292" sldId="1063"/>
            <ac:spMk id="80" creationId="{45C8D6E2-0BCB-4BFE-B722-C3EA5658023F}"/>
          </ac:spMkLst>
        </pc:spChg>
        <pc:spChg chg="mod">
          <ac:chgData name="Arjan van der Meer" userId="008f28a2-684e-4523-b3ca-dcb37d9c3e5d" providerId="ADAL" clId="{2B06979C-09FA-4ACE-9D1B-5392C9D6EE8C}" dt="2021-10-27T13:35:57.512" v="398" actId="1036"/>
          <ac:spMkLst>
            <pc:docMk/>
            <pc:sldMk cId="3073011292" sldId="1063"/>
            <ac:spMk id="81" creationId="{0A109274-B6F4-4B25-99C2-66DE8F1A677B}"/>
          </ac:spMkLst>
        </pc:spChg>
        <pc:spChg chg="mod">
          <ac:chgData name="Arjan van der Meer" userId="008f28a2-684e-4523-b3ca-dcb37d9c3e5d" providerId="ADAL" clId="{2B06979C-09FA-4ACE-9D1B-5392C9D6EE8C}" dt="2021-10-27T13:35:57.512" v="398" actId="1036"/>
          <ac:spMkLst>
            <pc:docMk/>
            <pc:sldMk cId="3073011292" sldId="1063"/>
            <ac:spMk id="82" creationId="{43529626-15DF-464D-AC44-59E784CD31A7}"/>
          </ac:spMkLst>
        </pc:spChg>
        <pc:spChg chg="mod">
          <ac:chgData name="Arjan van der Meer" userId="008f28a2-684e-4523-b3ca-dcb37d9c3e5d" providerId="ADAL" clId="{2B06979C-09FA-4ACE-9D1B-5392C9D6EE8C}" dt="2021-10-27T13:35:57.512" v="398" actId="1036"/>
          <ac:spMkLst>
            <pc:docMk/>
            <pc:sldMk cId="3073011292" sldId="1063"/>
            <ac:spMk id="87" creationId="{AD95D4C3-F3B7-4CA6-B406-E9FFEB10EFD8}"/>
          </ac:spMkLst>
        </pc:spChg>
        <pc:spChg chg="mod">
          <ac:chgData name="Arjan van der Meer" userId="008f28a2-684e-4523-b3ca-dcb37d9c3e5d" providerId="ADAL" clId="{2B06979C-09FA-4ACE-9D1B-5392C9D6EE8C}" dt="2021-10-27T13:35:57.512" v="398" actId="1036"/>
          <ac:spMkLst>
            <pc:docMk/>
            <pc:sldMk cId="3073011292" sldId="1063"/>
            <ac:spMk id="88" creationId="{39EEF46E-AFAB-4A79-B251-E36F4B7A2524}"/>
          </ac:spMkLst>
        </pc:spChg>
        <pc:spChg chg="mod">
          <ac:chgData name="Arjan van der Meer" userId="008f28a2-684e-4523-b3ca-dcb37d9c3e5d" providerId="ADAL" clId="{2B06979C-09FA-4ACE-9D1B-5392C9D6EE8C}" dt="2021-10-27T13:35:57.512" v="398" actId="1036"/>
          <ac:spMkLst>
            <pc:docMk/>
            <pc:sldMk cId="3073011292" sldId="1063"/>
            <ac:spMk id="89" creationId="{43BDC188-11A7-4578-8920-4418C89FF7B3}"/>
          </ac:spMkLst>
        </pc:spChg>
        <pc:spChg chg="add del mod">
          <ac:chgData name="Arjan van der Meer" userId="008f28a2-684e-4523-b3ca-dcb37d9c3e5d" providerId="ADAL" clId="{2B06979C-09FA-4ACE-9D1B-5392C9D6EE8C}" dt="2021-10-28T07:57:42.245" v="1016" actId="478"/>
          <ac:spMkLst>
            <pc:docMk/>
            <pc:sldMk cId="3073011292" sldId="1063"/>
            <ac:spMk id="90" creationId="{BB526F7B-16B1-437A-80F2-EBFD38CCEF0B}"/>
          </ac:spMkLst>
        </pc:spChg>
        <pc:spChg chg="add del mod">
          <ac:chgData name="Arjan van der Meer" userId="008f28a2-684e-4523-b3ca-dcb37d9c3e5d" providerId="ADAL" clId="{2B06979C-09FA-4ACE-9D1B-5392C9D6EE8C}" dt="2021-10-28T07:57:42.245" v="1016" actId="478"/>
          <ac:spMkLst>
            <pc:docMk/>
            <pc:sldMk cId="3073011292" sldId="1063"/>
            <ac:spMk id="91" creationId="{19656C15-BD93-402D-A819-9ACD91CA8E73}"/>
          </ac:spMkLst>
        </pc:spChg>
        <pc:spChg chg="add del mod">
          <ac:chgData name="Arjan van der Meer" userId="008f28a2-684e-4523-b3ca-dcb37d9c3e5d" providerId="ADAL" clId="{2B06979C-09FA-4ACE-9D1B-5392C9D6EE8C}" dt="2021-10-28T07:57:42.245" v="1016" actId="478"/>
          <ac:spMkLst>
            <pc:docMk/>
            <pc:sldMk cId="3073011292" sldId="1063"/>
            <ac:spMk id="92" creationId="{E9ED7B37-F3E1-4EC0-93A0-2FF5294F40BB}"/>
          </ac:spMkLst>
        </pc:spChg>
        <pc:spChg chg="add del mod">
          <ac:chgData name="Arjan van der Meer" userId="008f28a2-684e-4523-b3ca-dcb37d9c3e5d" providerId="ADAL" clId="{2B06979C-09FA-4ACE-9D1B-5392C9D6EE8C}" dt="2021-10-28T07:57:42.245" v="1016" actId="478"/>
          <ac:spMkLst>
            <pc:docMk/>
            <pc:sldMk cId="3073011292" sldId="1063"/>
            <ac:spMk id="93" creationId="{40803BBF-FD4D-45F3-A695-9F6FAEAEE80F}"/>
          </ac:spMkLst>
        </pc:spChg>
        <pc:spChg chg="add mod">
          <ac:chgData name="Arjan van der Meer" userId="008f28a2-684e-4523-b3ca-dcb37d9c3e5d" providerId="ADAL" clId="{2B06979C-09FA-4ACE-9D1B-5392C9D6EE8C}" dt="2021-10-27T13:45:28.207" v="468"/>
          <ac:spMkLst>
            <pc:docMk/>
            <pc:sldMk cId="3073011292" sldId="1063"/>
            <ac:spMk id="95" creationId="{95302671-C422-407D-A42E-1065E14BF4F1}"/>
          </ac:spMkLst>
        </pc:spChg>
        <pc:spChg chg="add mod">
          <ac:chgData name="Arjan van der Meer" userId="008f28a2-684e-4523-b3ca-dcb37d9c3e5d" providerId="ADAL" clId="{2B06979C-09FA-4ACE-9D1B-5392C9D6EE8C}" dt="2021-10-27T13:45:28.207" v="468"/>
          <ac:spMkLst>
            <pc:docMk/>
            <pc:sldMk cId="3073011292" sldId="1063"/>
            <ac:spMk id="96" creationId="{A41521DD-F4A9-4AE5-893B-1C07FEDA2D0A}"/>
          </ac:spMkLst>
        </pc:spChg>
        <pc:spChg chg="add mod">
          <ac:chgData name="Arjan van der Meer" userId="008f28a2-684e-4523-b3ca-dcb37d9c3e5d" providerId="ADAL" clId="{2B06979C-09FA-4ACE-9D1B-5392C9D6EE8C}" dt="2021-10-28T07:58:53.202" v="1046" actId="1076"/>
          <ac:spMkLst>
            <pc:docMk/>
            <pc:sldMk cId="3073011292" sldId="1063"/>
            <ac:spMk id="97" creationId="{B05C406F-F297-4E89-9D0A-155A6D5D7B86}"/>
          </ac:spMkLst>
        </pc:spChg>
        <pc:spChg chg="add mod">
          <ac:chgData name="Arjan van der Meer" userId="008f28a2-684e-4523-b3ca-dcb37d9c3e5d" providerId="ADAL" clId="{2B06979C-09FA-4ACE-9D1B-5392C9D6EE8C}" dt="2021-10-28T08:00:04.885" v="1074" actId="1076"/>
          <ac:spMkLst>
            <pc:docMk/>
            <pc:sldMk cId="3073011292" sldId="1063"/>
            <ac:spMk id="99" creationId="{FDE59F8C-8F85-41DB-8503-72C5F804A31A}"/>
          </ac:spMkLst>
        </pc:spChg>
        <pc:spChg chg="add mod">
          <ac:chgData name="Arjan van der Meer" userId="008f28a2-684e-4523-b3ca-dcb37d9c3e5d" providerId="ADAL" clId="{2B06979C-09FA-4ACE-9D1B-5392C9D6EE8C}" dt="2021-10-28T07:57:48.635" v="1036" actId="1036"/>
          <ac:spMkLst>
            <pc:docMk/>
            <pc:sldMk cId="3073011292" sldId="1063"/>
            <ac:spMk id="100" creationId="{A17654BA-F776-473B-8F1B-E075343ABB1D}"/>
          </ac:spMkLst>
        </pc:spChg>
        <pc:spChg chg="add mod">
          <ac:chgData name="Arjan van der Meer" userId="008f28a2-684e-4523-b3ca-dcb37d9c3e5d" providerId="ADAL" clId="{2B06979C-09FA-4ACE-9D1B-5392C9D6EE8C}" dt="2021-10-28T07:57:48.635" v="1036" actId="1036"/>
          <ac:spMkLst>
            <pc:docMk/>
            <pc:sldMk cId="3073011292" sldId="1063"/>
            <ac:spMk id="101" creationId="{32967A0C-FE28-41B3-BE40-E0EC01334CA5}"/>
          </ac:spMkLst>
        </pc:spChg>
        <pc:spChg chg="add mod">
          <ac:chgData name="Arjan van der Meer" userId="008f28a2-684e-4523-b3ca-dcb37d9c3e5d" providerId="ADAL" clId="{2B06979C-09FA-4ACE-9D1B-5392C9D6EE8C}" dt="2021-10-28T07:59:47.562" v="1057" actId="20577"/>
          <ac:spMkLst>
            <pc:docMk/>
            <pc:sldMk cId="3073011292" sldId="1063"/>
            <ac:spMk id="103" creationId="{CBCFF7B2-CCD7-46E7-B4C4-AFDFFA145CA3}"/>
          </ac:spMkLst>
        </pc:spChg>
        <pc:spChg chg="add mod">
          <ac:chgData name="Arjan van der Meer" userId="008f28a2-684e-4523-b3ca-dcb37d9c3e5d" providerId="ADAL" clId="{2B06979C-09FA-4ACE-9D1B-5392C9D6EE8C}" dt="2021-10-28T07:57:48.635" v="1036" actId="1036"/>
          <ac:spMkLst>
            <pc:docMk/>
            <pc:sldMk cId="3073011292" sldId="1063"/>
            <ac:spMk id="104" creationId="{AA8BBE17-5FCA-493E-9E4E-AD99733F9545}"/>
          </ac:spMkLst>
        </pc:spChg>
        <pc:spChg chg="add mod">
          <ac:chgData name="Arjan van der Meer" userId="008f28a2-684e-4523-b3ca-dcb37d9c3e5d" providerId="ADAL" clId="{2B06979C-09FA-4ACE-9D1B-5392C9D6EE8C}" dt="2021-10-28T07:57:48.635" v="1036" actId="1036"/>
          <ac:spMkLst>
            <pc:docMk/>
            <pc:sldMk cId="3073011292" sldId="1063"/>
            <ac:spMk id="105" creationId="{E8BD8B46-A954-444C-94BF-37D608707374}"/>
          </ac:spMkLst>
        </pc:spChg>
        <pc:spChg chg="add mod">
          <ac:chgData name="Arjan van der Meer" userId="008f28a2-684e-4523-b3ca-dcb37d9c3e5d" providerId="ADAL" clId="{2B06979C-09FA-4ACE-9D1B-5392C9D6EE8C}" dt="2021-10-28T07:57:48.635" v="1036" actId="1036"/>
          <ac:spMkLst>
            <pc:docMk/>
            <pc:sldMk cId="3073011292" sldId="1063"/>
            <ac:spMk id="106" creationId="{3CB9925A-766D-439C-AC0E-00ED9151C4DF}"/>
          </ac:spMkLst>
        </pc:spChg>
        <pc:spChg chg="add mod">
          <ac:chgData name="Arjan van der Meer" userId="008f28a2-684e-4523-b3ca-dcb37d9c3e5d" providerId="ADAL" clId="{2B06979C-09FA-4ACE-9D1B-5392C9D6EE8C}" dt="2021-10-28T07:59:57.736" v="1073" actId="1038"/>
          <ac:spMkLst>
            <pc:docMk/>
            <pc:sldMk cId="3073011292" sldId="1063"/>
            <ac:spMk id="107" creationId="{C8794382-FE53-48EA-9F08-E1D38A0D7C45}"/>
          </ac:spMkLst>
        </pc:spChg>
        <pc:spChg chg="add mod">
          <ac:chgData name="Arjan van der Meer" userId="008f28a2-684e-4523-b3ca-dcb37d9c3e5d" providerId="ADAL" clId="{2B06979C-09FA-4ACE-9D1B-5392C9D6EE8C}" dt="2021-10-28T07:59:57.736" v="1073" actId="1038"/>
          <ac:spMkLst>
            <pc:docMk/>
            <pc:sldMk cId="3073011292" sldId="1063"/>
            <ac:spMk id="109" creationId="{3EE89962-7D21-4F9A-A48D-C2696061B37E}"/>
          </ac:spMkLst>
        </pc:spChg>
        <pc:cxnChg chg="del mod">
          <ac:chgData name="Arjan van der Meer" userId="008f28a2-684e-4523-b3ca-dcb37d9c3e5d" providerId="ADAL" clId="{2B06979C-09FA-4ACE-9D1B-5392C9D6EE8C}" dt="2021-10-27T13:35:12.022" v="277" actId="478"/>
          <ac:cxnSpMkLst>
            <pc:docMk/>
            <pc:sldMk cId="3073011292" sldId="1063"/>
            <ac:cxnSpMk id="10" creationId="{D53EF7E9-6EE6-4CDD-A474-D51203120720}"/>
          </ac:cxnSpMkLst>
        </pc:cxnChg>
        <pc:cxnChg chg="del mod">
          <ac:chgData name="Arjan van der Meer" userId="008f28a2-684e-4523-b3ca-dcb37d9c3e5d" providerId="ADAL" clId="{2B06979C-09FA-4ACE-9D1B-5392C9D6EE8C}" dt="2021-10-27T13:35:12.022" v="277" actId="478"/>
          <ac:cxnSpMkLst>
            <pc:docMk/>
            <pc:sldMk cId="3073011292" sldId="1063"/>
            <ac:cxnSpMk id="13" creationId="{247A946F-16B8-40E2-B3EA-2F9F501D1EDA}"/>
          </ac:cxnSpMkLst>
        </pc:cxnChg>
        <pc:cxnChg chg="add del mod">
          <ac:chgData name="Arjan van der Meer" userId="008f28a2-684e-4523-b3ca-dcb37d9c3e5d" providerId="ADAL" clId="{2B06979C-09FA-4ACE-9D1B-5392C9D6EE8C}" dt="2021-10-27T13:44:20.211" v="463" actId="478"/>
          <ac:cxnSpMkLst>
            <pc:docMk/>
            <pc:sldMk cId="3073011292" sldId="1063"/>
            <ac:cxnSpMk id="16" creationId="{0E515CD5-79F7-4D0B-A4E5-0A55B8731D3E}"/>
          </ac:cxnSpMkLst>
        </pc:cxnChg>
        <pc:cxnChg chg="add del mod">
          <ac:chgData name="Arjan van der Meer" userId="008f28a2-684e-4523-b3ca-dcb37d9c3e5d" providerId="ADAL" clId="{2B06979C-09FA-4ACE-9D1B-5392C9D6EE8C}" dt="2021-10-28T07:57:42.245" v="1016" actId="478"/>
          <ac:cxnSpMkLst>
            <pc:docMk/>
            <pc:sldMk cId="3073011292" sldId="1063"/>
            <ac:cxnSpMk id="19" creationId="{BF65BE50-AFE9-40EE-A5FA-4CD94253CF51}"/>
          </ac:cxnSpMkLst>
        </pc:cxnChg>
        <pc:cxnChg chg="del mod">
          <ac:chgData name="Arjan van der Meer" userId="008f28a2-684e-4523-b3ca-dcb37d9c3e5d" providerId="ADAL" clId="{2B06979C-09FA-4ACE-9D1B-5392C9D6EE8C}" dt="2021-10-27T13:35:12.022" v="277" actId="478"/>
          <ac:cxnSpMkLst>
            <pc:docMk/>
            <pc:sldMk cId="3073011292" sldId="1063"/>
            <ac:cxnSpMk id="26" creationId="{CCCBE7DE-0D5C-411C-B0AA-A8FA9FFEF73F}"/>
          </ac:cxnSpMkLst>
        </pc:cxnChg>
        <pc:cxnChg chg="add del mod">
          <ac:chgData name="Arjan van der Meer" userId="008f28a2-684e-4523-b3ca-dcb37d9c3e5d" providerId="ADAL" clId="{2B06979C-09FA-4ACE-9D1B-5392C9D6EE8C}" dt="2021-10-28T07:57:42.245" v="1016" actId="478"/>
          <ac:cxnSpMkLst>
            <pc:docMk/>
            <pc:sldMk cId="3073011292" sldId="1063"/>
            <ac:cxnSpMk id="50" creationId="{C654C778-0CB8-4413-B761-FDE9ECCA75E7}"/>
          </ac:cxnSpMkLst>
        </pc:cxnChg>
        <pc:cxnChg chg="add del mod">
          <ac:chgData name="Arjan van der Meer" userId="008f28a2-684e-4523-b3ca-dcb37d9c3e5d" providerId="ADAL" clId="{2B06979C-09FA-4ACE-9D1B-5392C9D6EE8C}" dt="2021-10-28T07:57:42.245" v="1016" actId="478"/>
          <ac:cxnSpMkLst>
            <pc:docMk/>
            <pc:sldMk cId="3073011292" sldId="1063"/>
            <ac:cxnSpMk id="51" creationId="{4A4ED104-571A-4D02-B360-8B8A3FA89873}"/>
          </ac:cxnSpMkLst>
        </pc:cxnChg>
        <pc:cxnChg chg="add del mod">
          <ac:chgData name="Arjan van der Meer" userId="008f28a2-684e-4523-b3ca-dcb37d9c3e5d" providerId="ADAL" clId="{2B06979C-09FA-4ACE-9D1B-5392C9D6EE8C}" dt="2021-10-28T07:57:42.245" v="1016" actId="478"/>
          <ac:cxnSpMkLst>
            <pc:docMk/>
            <pc:sldMk cId="3073011292" sldId="1063"/>
            <ac:cxnSpMk id="52" creationId="{50CC5B46-D58E-4527-8D91-948206F2ADF7}"/>
          </ac:cxnSpMkLst>
        </pc:cxnChg>
        <pc:cxnChg chg="add del mod">
          <ac:chgData name="Arjan van der Meer" userId="008f28a2-684e-4523-b3ca-dcb37d9c3e5d" providerId="ADAL" clId="{2B06979C-09FA-4ACE-9D1B-5392C9D6EE8C}" dt="2021-10-28T07:57:42.245" v="1016" actId="478"/>
          <ac:cxnSpMkLst>
            <pc:docMk/>
            <pc:sldMk cId="3073011292" sldId="1063"/>
            <ac:cxnSpMk id="61" creationId="{D729C0FF-7756-4288-9F95-6CCF1B9E9D3E}"/>
          </ac:cxnSpMkLst>
        </pc:cxnChg>
        <pc:cxnChg chg="add del mod">
          <ac:chgData name="Arjan van der Meer" userId="008f28a2-684e-4523-b3ca-dcb37d9c3e5d" providerId="ADAL" clId="{2B06979C-09FA-4ACE-9D1B-5392C9D6EE8C}" dt="2021-10-28T07:57:42.245" v="1016" actId="478"/>
          <ac:cxnSpMkLst>
            <pc:docMk/>
            <pc:sldMk cId="3073011292" sldId="1063"/>
            <ac:cxnSpMk id="64" creationId="{D6C4DB17-1D87-43BF-82BA-6F7EBA0B7BFF}"/>
          </ac:cxnSpMkLst>
        </pc:cxnChg>
        <pc:cxnChg chg="add mod">
          <ac:chgData name="Arjan van der Meer" userId="008f28a2-684e-4523-b3ca-dcb37d9c3e5d" providerId="ADAL" clId="{2B06979C-09FA-4ACE-9D1B-5392C9D6EE8C}" dt="2021-10-28T07:57:48.635" v="1036" actId="1036"/>
          <ac:cxnSpMkLst>
            <pc:docMk/>
            <pc:sldMk cId="3073011292" sldId="1063"/>
            <ac:cxnSpMk id="68" creationId="{275CBC5B-3A72-4A77-ACB7-3E6191DB1CC9}"/>
          </ac:cxnSpMkLst>
        </pc:cxnChg>
        <pc:cxnChg chg="del mod">
          <ac:chgData name="Arjan van der Meer" userId="008f28a2-684e-4523-b3ca-dcb37d9c3e5d" providerId="ADAL" clId="{2B06979C-09FA-4ACE-9D1B-5392C9D6EE8C}" dt="2021-10-27T13:35:12.022" v="277" actId="478"/>
          <ac:cxnSpMkLst>
            <pc:docMk/>
            <pc:sldMk cId="3073011292" sldId="1063"/>
            <ac:cxnSpMk id="68" creationId="{D84A51F1-F4C4-4D11-80CF-02B7FCC630B6}"/>
          </ac:cxnSpMkLst>
        </pc:cxnChg>
        <pc:cxnChg chg="del mod">
          <ac:chgData name="Arjan van der Meer" userId="008f28a2-684e-4523-b3ca-dcb37d9c3e5d" providerId="ADAL" clId="{2B06979C-09FA-4ACE-9D1B-5392C9D6EE8C}" dt="2021-10-27T13:35:12.022" v="277" actId="478"/>
          <ac:cxnSpMkLst>
            <pc:docMk/>
            <pc:sldMk cId="3073011292" sldId="1063"/>
            <ac:cxnSpMk id="69" creationId="{560A203F-0AC1-4D6B-9A8A-ABC1912C3604}"/>
          </ac:cxnSpMkLst>
        </pc:cxnChg>
        <pc:cxnChg chg="add mod">
          <ac:chgData name="Arjan van der Meer" userId="008f28a2-684e-4523-b3ca-dcb37d9c3e5d" providerId="ADAL" clId="{2B06979C-09FA-4ACE-9D1B-5392C9D6EE8C}" dt="2021-10-28T07:59:57.736" v="1073" actId="1038"/>
          <ac:cxnSpMkLst>
            <pc:docMk/>
            <pc:sldMk cId="3073011292" sldId="1063"/>
            <ac:cxnSpMk id="69" creationId="{CBEEF3CA-E362-40F5-A887-3E770A0C3015}"/>
          </ac:cxnSpMkLst>
        </pc:cxnChg>
        <pc:cxnChg chg="del mod">
          <ac:chgData name="Arjan van der Meer" userId="008f28a2-684e-4523-b3ca-dcb37d9c3e5d" providerId="ADAL" clId="{2B06979C-09FA-4ACE-9D1B-5392C9D6EE8C}" dt="2021-10-27T13:35:12.022" v="277" actId="478"/>
          <ac:cxnSpMkLst>
            <pc:docMk/>
            <pc:sldMk cId="3073011292" sldId="1063"/>
            <ac:cxnSpMk id="70" creationId="{130A31A3-F304-4C29-8053-5809AF8D6A53}"/>
          </ac:cxnSpMkLst>
        </pc:cxnChg>
        <pc:cxnChg chg="add mod">
          <ac:chgData name="Arjan van der Meer" userId="008f28a2-684e-4523-b3ca-dcb37d9c3e5d" providerId="ADAL" clId="{2B06979C-09FA-4ACE-9D1B-5392C9D6EE8C}" dt="2021-10-28T07:57:48.635" v="1036" actId="1036"/>
          <ac:cxnSpMkLst>
            <pc:docMk/>
            <pc:sldMk cId="3073011292" sldId="1063"/>
            <ac:cxnSpMk id="70" creationId="{ACD09D67-3E0C-494F-BDD5-249DC859A34B}"/>
          </ac:cxnSpMkLst>
        </pc:cxnChg>
        <pc:cxnChg chg="del">
          <ac:chgData name="Arjan van der Meer" userId="008f28a2-684e-4523-b3ca-dcb37d9c3e5d" providerId="ADAL" clId="{2B06979C-09FA-4ACE-9D1B-5392C9D6EE8C}" dt="2021-10-27T13:35:12.022" v="277" actId="478"/>
          <ac:cxnSpMkLst>
            <pc:docMk/>
            <pc:sldMk cId="3073011292" sldId="1063"/>
            <ac:cxnSpMk id="78" creationId="{24EA6ACA-2BDE-46B9-AE21-48C699E1B253}"/>
          </ac:cxnSpMkLst>
        </pc:cxnChg>
        <pc:cxnChg chg="add mod">
          <ac:chgData name="Arjan van der Meer" userId="008f28a2-684e-4523-b3ca-dcb37d9c3e5d" providerId="ADAL" clId="{2B06979C-09FA-4ACE-9D1B-5392C9D6EE8C}" dt="2021-10-28T07:57:54.701" v="1037" actId="14100"/>
          <ac:cxnSpMkLst>
            <pc:docMk/>
            <pc:sldMk cId="3073011292" sldId="1063"/>
            <ac:cxnSpMk id="78" creationId="{861B7B0A-8FB7-4785-95B8-41C7B4E3DE6F}"/>
          </ac:cxnSpMkLst>
        </pc:cxnChg>
        <pc:cxnChg chg="add del mod">
          <ac:chgData name="Arjan van der Meer" userId="008f28a2-684e-4523-b3ca-dcb37d9c3e5d" providerId="ADAL" clId="{2B06979C-09FA-4ACE-9D1B-5392C9D6EE8C}" dt="2021-10-28T07:57:42.245" v="1016" actId="478"/>
          <ac:cxnSpMkLst>
            <pc:docMk/>
            <pc:sldMk cId="3073011292" sldId="1063"/>
            <ac:cxnSpMk id="79" creationId="{1A467ED9-6EB8-4A07-9A6A-C143DCF83B3A}"/>
          </ac:cxnSpMkLst>
        </pc:cxnChg>
        <pc:cxnChg chg="mod">
          <ac:chgData name="Arjan van der Meer" userId="008f28a2-684e-4523-b3ca-dcb37d9c3e5d" providerId="ADAL" clId="{2B06979C-09FA-4ACE-9D1B-5392C9D6EE8C}" dt="2021-10-27T13:44:53.576" v="467" actId="1582"/>
          <ac:cxnSpMkLst>
            <pc:docMk/>
            <pc:sldMk cId="3073011292" sldId="1063"/>
            <ac:cxnSpMk id="83" creationId="{AD51DCB4-33D3-49C6-9647-175ED1DADAB3}"/>
          </ac:cxnSpMkLst>
        </pc:cxnChg>
        <pc:cxnChg chg="mod">
          <ac:chgData name="Arjan van der Meer" userId="008f28a2-684e-4523-b3ca-dcb37d9c3e5d" providerId="ADAL" clId="{2B06979C-09FA-4ACE-9D1B-5392C9D6EE8C}" dt="2021-10-27T13:44:53.576" v="467" actId="1582"/>
          <ac:cxnSpMkLst>
            <pc:docMk/>
            <pc:sldMk cId="3073011292" sldId="1063"/>
            <ac:cxnSpMk id="84" creationId="{5A74DB1F-C09A-4D3C-9749-E993C659BD8A}"/>
          </ac:cxnSpMkLst>
        </pc:cxnChg>
        <pc:cxnChg chg="mod">
          <ac:chgData name="Arjan van der Meer" userId="008f28a2-684e-4523-b3ca-dcb37d9c3e5d" providerId="ADAL" clId="{2B06979C-09FA-4ACE-9D1B-5392C9D6EE8C}" dt="2021-10-27T13:44:53.576" v="467" actId="1582"/>
          <ac:cxnSpMkLst>
            <pc:docMk/>
            <pc:sldMk cId="3073011292" sldId="1063"/>
            <ac:cxnSpMk id="85" creationId="{800E48A1-9F28-49B2-A9A2-898875774F6C}"/>
          </ac:cxnSpMkLst>
        </pc:cxnChg>
        <pc:cxnChg chg="mod">
          <ac:chgData name="Arjan van der Meer" userId="008f28a2-684e-4523-b3ca-dcb37d9c3e5d" providerId="ADAL" clId="{2B06979C-09FA-4ACE-9D1B-5392C9D6EE8C}" dt="2021-10-27T13:44:53.576" v="467" actId="1582"/>
          <ac:cxnSpMkLst>
            <pc:docMk/>
            <pc:sldMk cId="3073011292" sldId="1063"/>
            <ac:cxnSpMk id="86" creationId="{4D9386AE-A2F8-40AD-B8FC-993A48C8C6AE}"/>
          </ac:cxnSpMkLst>
        </pc:cxnChg>
        <pc:cxnChg chg="add del mod">
          <ac:chgData name="Arjan van der Meer" userId="008f28a2-684e-4523-b3ca-dcb37d9c3e5d" providerId="ADAL" clId="{2B06979C-09FA-4ACE-9D1B-5392C9D6EE8C}" dt="2021-10-28T07:57:42.245" v="1016" actId="478"/>
          <ac:cxnSpMkLst>
            <pc:docMk/>
            <pc:sldMk cId="3073011292" sldId="1063"/>
            <ac:cxnSpMk id="94" creationId="{EB0194E0-8A0A-41E2-91E3-23E52F5D3270}"/>
          </ac:cxnSpMkLst>
        </pc:cxnChg>
        <pc:cxnChg chg="add mod">
          <ac:chgData name="Arjan van der Meer" userId="008f28a2-684e-4523-b3ca-dcb37d9c3e5d" providerId="ADAL" clId="{2B06979C-09FA-4ACE-9D1B-5392C9D6EE8C}" dt="2021-10-28T07:59:57.736" v="1073" actId="1038"/>
          <ac:cxnSpMkLst>
            <pc:docMk/>
            <pc:sldMk cId="3073011292" sldId="1063"/>
            <ac:cxnSpMk id="98" creationId="{F004CFDB-531C-4732-B445-EDD6592E9A71}"/>
          </ac:cxnSpMkLst>
        </pc:cxnChg>
        <pc:cxnChg chg="add mod">
          <ac:chgData name="Arjan van der Meer" userId="008f28a2-684e-4523-b3ca-dcb37d9c3e5d" providerId="ADAL" clId="{2B06979C-09FA-4ACE-9D1B-5392C9D6EE8C}" dt="2021-10-28T07:58:42.381" v="1043" actId="14100"/>
          <ac:cxnSpMkLst>
            <pc:docMk/>
            <pc:sldMk cId="3073011292" sldId="1063"/>
            <ac:cxnSpMk id="102" creationId="{2EE0B366-B2EE-42F1-9629-DB4482C6DCC1}"/>
          </ac:cxnSpMkLst>
        </pc:cxnChg>
        <pc:cxnChg chg="add mod">
          <ac:chgData name="Arjan van der Meer" userId="008f28a2-684e-4523-b3ca-dcb37d9c3e5d" providerId="ADAL" clId="{2B06979C-09FA-4ACE-9D1B-5392C9D6EE8C}" dt="2021-10-28T07:59:57.736" v="1073" actId="1038"/>
          <ac:cxnSpMkLst>
            <pc:docMk/>
            <pc:sldMk cId="3073011292" sldId="1063"/>
            <ac:cxnSpMk id="108" creationId="{C858CC39-66DD-4EF2-8F64-AC48A0A8DD82}"/>
          </ac:cxnSpMkLst>
        </pc:cxnChg>
      </pc:sldChg>
      <pc:sldChg chg="addSp delSp modSp mod addCm">
        <pc:chgData name="Arjan van der Meer" userId="008f28a2-684e-4523-b3ca-dcb37d9c3e5d" providerId="ADAL" clId="{2B06979C-09FA-4ACE-9D1B-5392C9D6EE8C}" dt="2021-10-29T08:24:02.504" v="1549" actId="14100"/>
        <pc:sldMkLst>
          <pc:docMk/>
          <pc:sldMk cId="1950092934" sldId="1064"/>
        </pc:sldMkLst>
        <pc:spChg chg="del">
          <ac:chgData name="Arjan van der Meer" userId="008f28a2-684e-4523-b3ca-dcb37d9c3e5d" providerId="ADAL" clId="{2B06979C-09FA-4ACE-9D1B-5392C9D6EE8C}" dt="2021-10-27T13:50:13.238" v="486" actId="478"/>
          <ac:spMkLst>
            <pc:docMk/>
            <pc:sldMk cId="1950092934" sldId="1064"/>
            <ac:spMk id="7" creationId="{05BA8703-982C-4B3F-B875-AB6CC6887E4A}"/>
          </ac:spMkLst>
        </pc:spChg>
        <pc:spChg chg="del">
          <ac:chgData name="Arjan van der Meer" userId="008f28a2-684e-4523-b3ca-dcb37d9c3e5d" providerId="ADAL" clId="{2B06979C-09FA-4ACE-9D1B-5392C9D6EE8C}" dt="2021-10-27T13:50:13.238" v="486" actId="478"/>
          <ac:spMkLst>
            <pc:docMk/>
            <pc:sldMk cId="1950092934" sldId="1064"/>
            <ac:spMk id="19" creationId="{69D233B8-BD14-42F3-8D3D-E627BF753CE3}"/>
          </ac:spMkLst>
        </pc:spChg>
        <pc:spChg chg="del">
          <ac:chgData name="Arjan van der Meer" userId="008f28a2-684e-4523-b3ca-dcb37d9c3e5d" providerId="ADAL" clId="{2B06979C-09FA-4ACE-9D1B-5392C9D6EE8C}" dt="2021-10-27T13:50:13.238" v="486" actId="478"/>
          <ac:spMkLst>
            <pc:docMk/>
            <pc:sldMk cId="1950092934" sldId="1064"/>
            <ac:spMk id="20" creationId="{AE503076-64F9-4971-927E-2FB0D6A204CD}"/>
          </ac:spMkLst>
        </pc:spChg>
        <pc:spChg chg="del">
          <ac:chgData name="Arjan van der Meer" userId="008f28a2-684e-4523-b3ca-dcb37d9c3e5d" providerId="ADAL" clId="{2B06979C-09FA-4ACE-9D1B-5392C9D6EE8C}" dt="2021-10-27T13:50:13.238" v="486" actId="478"/>
          <ac:spMkLst>
            <pc:docMk/>
            <pc:sldMk cId="1950092934" sldId="1064"/>
            <ac:spMk id="21" creationId="{D353F02A-3E3E-4A23-B0B9-F898044D5C99}"/>
          </ac:spMkLst>
        </pc:spChg>
        <pc:spChg chg="del">
          <ac:chgData name="Arjan van der Meer" userId="008f28a2-684e-4523-b3ca-dcb37d9c3e5d" providerId="ADAL" clId="{2B06979C-09FA-4ACE-9D1B-5392C9D6EE8C}" dt="2021-10-27T13:50:13.238" v="486" actId="478"/>
          <ac:spMkLst>
            <pc:docMk/>
            <pc:sldMk cId="1950092934" sldId="1064"/>
            <ac:spMk id="22" creationId="{1349657E-0642-4270-9080-3D0A4538072D}"/>
          </ac:spMkLst>
        </pc:spChg>
        <pc:spChg chg="del">
          <ac:chgData name="Arjan van der Meer" userId="008f28a2-684e-4523-b3ca-dcb37d9c3e5d" providerId="ADAL" clId="{2B06979C-09FA-4ACE-9D1B-5392C9D6EE8C}" dt="2021-10-27T13:50:13.238" v="486" actId="478"/>
          <ac:spMkLst>
            <pc:docMk/>
            <pc:sldMk cId="1950092934" sldId="1064"/>
            <ac:spMk id="23" creationId="{D12F4F51-4D34-4E14-B4D5-B87447DB6D1E}"/>
          </ac:spMkLst>
        </pc:spChg>
        <pc:spChg chg="del">
          <ac:chgData name="Arjan van der Meer" userId="008f28a2-684e-4523-b3ca-dcb37d9c3e5d" providerId="ADAL" clId="{2B06979C-09FA-4ACE-9D1B-5392C9D6EE8C}" dt="2021-10-27T13:50:13.238" v="486" actId="478"/>
          <ac:spMkLst>
            <pc:docMk/>
            <pc:sldMk cId="1950092934" sldId="1064"/>
            <ac:spMk id="24" creationId="{25E4D455-DDDF-4DA5-9A71-54FF1AB6A335}"/>
          </ac:spMkLst>
        </pc:spChg>
        <pc:spChg chg="add mod">
          <ac:chgData name="Arjan van der Meer" userId="008f28a2-684e-4523-b3ca-dcb37d9c3e5d" providerId="ADAL" clId="{2B06979C-09FA-4ACE-9D1B-5392C9D6EE8C}" dt="2021-10-27T13:50:14.426" v="487"/>
          <ac:spMkLst>
            <pc:docMk/>
            <pc:sldMk cId="1950092934" sldId="1064"/>
            <ac:spMk id="37" creationId="{0C3D9C00-45EA-4A7F-9B7B-26C520EA8F4D}"/>
          </ac:spMkLst>
        </pc:spChg>
        <pc:spChg chg="add mod">
          <ac:chgData name="Arjan van der Meer" userId="008f28a2-684e-4523-b3ca-dcb37d9c3e5d" providerId="ADAL" clId="{2B06979C-09FA-4ACE-9D1B-5392C9D6EE8C}" dt="2021-10-27T13:50:14.426" v="487"/>
          <ac:spMkLst>
            <pc:docMk/>
            <pc:sldMk cId="1950092934" sldId="1064"/>
            <ac:spMk id="38" creationId="{5F2D1503-49B9-4EDE-B38C-7B6ABBF2AFF9}"/>
          </ac:spMkLst>
        </pc:spChg>
        <pc:spChg chg="add mod">
          <ac:chgData name="Arjan van der Meer" userId="008f28a2-684e-4523-b3ca-dcb37d9c3e5d" providerId="ADAL" clId="{2B06979C-09FA-4ACE-9D1B-5392C9D6EE8C}" dt="2021-10-27T13:50:51.145" v="494" actId="1076"/>
          <ac:spMkLst>
            <pc:docMk/>
            <pc:sldMk cId="1950092934" sldId="1064"/>
            <ac:spMk id="39" creationId="{0CFB2197-5505-4512-AB76-80D9B7251160}"/>
          </ac:spMkLst>
        </pc:spChg>
        <pc:spChg chg="del">
          <ac:chgData name="Arjan van der Meer" userId="008f28a2-684e-4523-b3ca-dcb37d9c3e5d" providerId="ADAL" clId="{2B06979C-09FA-4ACE-9D1B-5392C9D6EE8C}" dt="2021-10-27T13:50:13.238" v="486" actId="478"/>
          <ac:spMkLst>
            <pc:docMk/>
            <pc:sldMk cId="1950092934" sldId="1064"/>
            <ac:spMk id="40" creationId="{333E5308-DD15-4E24-9AFF-66AA31C7A3E0}"/>
          </ac:spMkLst>
        </pc:spChg>
        <pc:spChg chg="del">
          <ac:chgData name="Arjan van der Meer" userId="008f28a2-684e-4523-b3ca-dcb37d9c3e5d" providerId="ADAL" clId="{2B06979C-09FA-4ACE-9D1B-5392C9D6EE8C}" dt="2021-10-27T13:50:13.238" v="486" actId="478"/>
          <ac:spMkLst>
            <pc:docMk/>
            <pc:sldMk cId="1950092934" sldId="1064"/>
            <ac:spMk id="41" creationId="{CB920421-3AA7-4EFA-B205-1BB780993467}"/>
          </ac:spMkLst>
        </pc:spChg>
        <pc:spChg chg="del">
          <ac:chgData name="Arjan van der Meer" userId="008f28a2-684e-4523-b3ca-dcb37d9c3e5d" providerId="ADAL" clId="{2B06979C-09FA-4ACE-9D1B-5392C9D6EE8C}" dt="2021-10-27T13:50:13.238" v="486" actId="478"/>
          <ac:spMkLst>
            <pc:docMk/>
            <pc:sldMk cId="1950092934" sldId="1064"/>
            <ac:spMk id="43" creationId="{556D8970-073C-41AB-8678-177186CB11B3}"/>
          </ac:spMkLst>
        </pc:spChg>
        <pc:spChg chg="add mod">
          <ac:chgData name="Arjan van der Meer" userId="008f28a2-684e-4523-b3ca-dcb37d9c3e5d" providerId="ADAL" clId="{2B06979C-09FA-4ACE-9D1B-5392C9D6EE8C}" dt="2021-10-29T08:24:02.504" v="1549" actId="14100"/>
          <ac:spMkLst>
            <pc:docMk/>
            <pc:sldMk cId="1950092934" sldId="1064"/>
            <ac:spMk id="43" creationId="{D3A6D4E3-702B-494B-85C6-40CEC1FDC0BA}"/>
          </ac:spMkLst>
        </pc:spChg>
        <pc:spChg chg="add mod">
          <ac:chgData name="Arjan van der Meer" userId="008f28a2-684e-4523-b3ca-dcb37d9c3e5d" providerId="ADAL" clId="{2B06979C-09FA-4ACE-9D1B-5392C9D6EE8C}" dt="2021-10-27T13:50:14.426" v="487"/>
          <ac:spMkLst>
            <pc:docMk/>
            <pc:sldMk cId="1950092934" sldId="1064"/>
            <ac:spMk id="44" creationId="{238DE2AC-371E-4163-9F24-5F12A23EF78E}"/>
          </ac:spMkLst>
        </pc:spChg>
        <pc:spChg chg="add mod">
          <ac:chgData name="Arjan van der Meer" userId="008f28a2-684e-4523-b3ca-dcb37d9c3e5d" providerId="ADAL" clId="{2B06979C-09FA-4ACE-9D1B-5392C9D6EE8C}" dt="2021-10-27T13:50:14.426" v="487"/>
          <ac:spMkLst>
            <pc:docMk/>
            <pc:sldMk cId="1950092934" sldId="1064"/>
            <ac:spMk id="45" creationId="{8B7BB6C5-CE29-4DA2-8950-650750300CAC}"/>
          </ac:spMkLst>
        </pc:spChg>
        <pc:spChg chg="add mod">
          <ac:chgData name="Arjan van der Meer" userId="008f28a2-684e-4523-b3ca-dcb37d9c3e5d" providerId="ADAL" clId="{2B06979C-09FA-4ACE-9D1B-5392C9D6EE8C}" dt="2021-10-27T13:50:14.426" v="487"/>
          <ac:spMkLst>
            <pc:docMk/>
            <pc:sldMk cId="1950092934" sldId="1064"/>
            <ac:spMk id="46" creationId="{70B39139-C3D4-4930-9B75-E794253E5F84}"/>
          </ac:spMkLst>
        </pc:spChg>
        <pc:spChg chg="add mod">
          <ac:chgData name="Arjan van der Meer" userId="008f28a2-684e-4523-b3ca-dcb37d9c3e5d" providerId="ADAL" clId="{2B06979C-09FA-4ACE-9D1B-5392C9D6EE8C}" dt="2021-10-27T13:50:14.426" v="487"/>
          <ac:spMkLst>
            <pc:docMk/>
            <pc:sldMk cId="1950092934" sldId="1064"/>
            <ac:spMk id="47" creationId="{1CC700EC-998F-4E64-BFC2-1ED3A452E8FC}"/>
          </ac:spMkLst>
        </pc:spChg>
        <pc:spChg chg="del">
          <ac:chgData name="Arjan van der Meer" userId="008f28a2-684e-4523-b3ca-dcb37d9c3e5d" providerId="ADAL" clId="{2B06979C-09FA-4ACE-9D1B-5392C9D6EE8C}" dt="2021-10-27T13:50:13.238" v="486" actId="478"/>
          <ac:spMkLst>
            <pc:docMk/>
            <pc:sldMk cId="1950092934" sldId="1064"/>
            <ac:spMk id="48" creationId="{0A5A1562-6B26-4D25-AD5C-5EECE04F29C4}"/>
          </ac:spMkLst>
        </pc:spChg>
        <pc:spChg chg="del">
          <ac:chgData name="Arjan van der Meer" userId="008f28a2-684e-4523-b3ca-dcb37d9c3e5d" providerId="ADAL" clId="{2B06979C-09FA-4ACE-9D1B-5392C9D6EE8C}" dt="2021-10-27T13:50:13.238" v="486" actId="478"/>
          <ac:spMkLst>
            <pc:docMk/>
            <pc:sldMk cId="1950092934" sldId="1064"/>
            <ac:spMk id="49" creationId="{13CE74E9-EF83-4FA6-9D22-5CE5AE28988B}"/>
          </ac:spMkLst>
        </pc:spChg>
        <pc:spChg chg="add mod">
          <ac:chgData name="Arjan van der Meer" userId="008f28a2-684e-4523-b3ca-dcb37d9c3e5d" providerId="ADAL" clId="{2B06979C-09FA-4ACE-9D1B-5392C9D6EE8C}" dt="2021-10-27T13:50:14.426" v="487"/>
          <ac:spMkLst>
            <pc:docMk/>
            <pc:sldMk cId="1950092934" sldId="1064"/>
            <ac:spMk id="50" creationId="{5D5F35DB-18D3-46DE-8711-0DC271224F12}"/>
          </ac:spMkLst>
        </pc:spChg>
        <pc:spChg chg="del">
          <ac:chgData name="Arjan van der Meer" userId="008f28a2-684e-4523-b3ca-dcb37d9c3e5d" providerId="ADAL" clId="{2B06979C-09FA-4ACE-9D1B-5392C9D6EE8C}" dt="2021-10-27T13:50:13.238" v="486" actId="478"/>
          <ac:spMkLst>
            <pc:docMk/>
            <pc:sldMk cId="1950092934" sldId="1064"/>
            <ac:spMk id="52" creationId="{4E0FBEF9-9C87-49D3-9B58-64B48B92F5C9}"/>
          </ac:spMkLst>
        </pc:spChg>
        <pc:spChg chg="del">
          <ac:chgData name="Arjan van der Meer" userId="008f28a2-684e-4523-b3ca-dcb37d9c3e5d" providerId="ADAL" clId="{2B06979C-09FA-4ACE-9D1B-5392C9D6EE8C}" dt="2021-10-27T13:50:13.238" v="486" actId="478"/>
          <ac:spMkLst>
            <pc:docMk/>
            <pc:sldMk cId="1950092934" sldId="1064"/>
            <ac:spMk id="53" creationId="{26062C52-F13B-4226-9CE0-3A262DC286CF}"/>
          </ac:spMkLst>
        </pc:spChg>
        <pc:spChg chg="del">
          <ac:chgData name="Arjan van der Meer" userId="008f28a2-684e-4523-b3ca-dcb37d9c3e5d" providerId="ADAL" clId="{2B06979C-09FA-4ACE-9D1B-5392C9D6EE8C}" dt="2021-10-27T13:50:13.238" v="486" actId="478"/>
          <ac:spMkLst>
            <pc:docMk/>
            <pc:sldMk cId="1950092934" sldId="1064"/>
            <ac:spMk id="55" creationId="{30EFDA3C-2A8C-404C-9FC8-C8F70AA3E181}"/>
          </ac:spMkLst>
        </pc:spChg>
        <pc:spChg chg="del">
          <ac:chgData name="Arjan van der Meer" userId="008f28a2-684e-4523-b3ca-dcb37d9c3e5d" providerId="ADAL" clId="{2B06979C-09FA-4ACE-9D1B-5392C9D6EE8C}" dt="2021-10-27T13:50:13.238" v="486" actId="478"/>
          <ac:spMkLst>
            <pc:docMk/>
            <pc:sldMk cId="1950092934" sldId="1064"/>
            <ac:spMk id="56" creationId="{35D7597D-8037-40C1-BF47-6B3D10EE0BF9}"/>
          </ac:spMkLst>
        </pc:spChg>
        <pc:spChg chg="del">
          <ac:chgData name="Arjan van der Meer" userId="008f28a2-684e-4523-b3ca-dcb37d9c3e5d" providerId="ADAL" clId="{2B06979C-09FA-4ACE-9D1B-5392C9D6EE8C}" dt="2021-10-27T13:50:13.238" v="486" actId="478"/>
          <ac:spMkLst>
            <pc:docMk/>
            <pc:sldMk cId="1950092934" sldId="1064"/>
            <ac:spMk id="57" creationId="{197D498D-D5D6-4759-93E2-42EA9A37CB45}"/>
          </ac:spMkLst>
        </pc:spChg>
        <pc:spChg chg="del">
          <ac:chgData name="Arjan van der Meer" userId="008f28a2-684e-4523-b3ca-dcb37d9c3e5d" providerId="ADAL" clId="{2B06979C-09FA-4ACE-9D1B-5392C9D6EE8C}" dt="2021-10-27T13:50:13.238" v="486" actId="478"/>
          <ac:spMkLst>
            <pc:docMk/>
            <pc:sldMk cId="1950092934" sldId="1064"/>
            <ac:spMk id="58" creationId="{3BF1DB98-FFD3-4E64-9D9D-47D72DD44EEB}"/>
          </ac:spMkLst>
        </pc:spChg>
        <pc:spChg chg="del">
          <ac:chgData name="Arjan van der Meer" userId="008f28a2-684e-4523-b3ca-dcb37d9c3e5d" providerId="ADAL" clId="{2B06979C-09FA-4ACE-9D1B-5392C9D6EE8C}" dt="2021-10-27T13:50:13.238" v="486" actId="478"/>
          <ac:spMkLst>
            <pc:docMk/>
            <pc:sldMk cId="1950092934" sldId="1064"/>
            <ac:spMk id="59" creationId="{A65FD5AC-8538-41AE-AF15-5A7D6618BEFB}"/>
          </ac:spMkLst>
        </pc:spChg>
        <pc:spChg chg="add mod">
          <ac:chgData name="Arjan van der Meer" userId="008f28a2-684e-4523-b3ca-dcb37d9c3e5d" providerId="ADAL" clId="{2B06979C-09FA-4ACE-9D1B-5392C9D6EE8C}" dt="2021-10-27T13:51:02.089" v="497" actId="1076"/>
          <ac:spMkLst>
            <pc:docMk/>
            <pc:sldMk cId="1950092934" sldId="1064"/>
            <ac:spMk id="63" creationId="{DF915FFD-8109-4FBB-9763-8B6420ADB77F}"/>
          </ac:spMkLst>
        </pc:spChg>
        <pc:spChg chg="add mod">
          <ac:chgData name="Arjan van der Meer" userId="008f28a2-684e-4523-b3ca-dcb37d9c3e5d" providerId="ADAL" clId="{2B06979C-09FA-4ACE-9D1B-5392C9D6EE8C}" dt="2021-10-27T13:50:59.849" v="496" actId="1076"/>
          <ac:spMkLst>
            <pc:docMk/>
            <pc:sldMk cId="1950092934" sldId="1064"/>
            <ac:spMk id="64" creationId="{25DB2A58-D6A5-41CD-AB47-77CB45306B08}"/>
          </ac:spMkLst>
        </pc:spChg>
        <pc:spChg chg="add mod">
          <ac:chgData name="Arjan van der Meer" userId="008f28a2-684e-4523-b3ca-dcb37d9c3e5d" providerId="ADAL" clId="{2B06979C-09FA-4ACE-9D1B-5392C9D6EE8C}" dt="2021-10-27T13:50:56.507" v="495" actId="1076"/>
          <ac:spMkLst>
            <pc:docMk/>
            <pc:sldMk cId="1950092934" sldId="1064"/>
            <ac:spMk id="65" creationId="{985E268E-89F2-4890-A211-E13DDFBEC8A9}"/>
          </ac:spMkLst>
        </pc:spChg>
        <pc:spChg chg="add mod">
          <ac:chgData name="Arjan van der Meer" userId="008f28a2-684e-4523-b3ca-dcb37d9c3e5d" providerId="ADAL" clId="{2B06979C-09FA-4ACE-9D1B-5392C9D6EE8C}" dt="2021-10-27T13:50:14.426" v="487"/>
          <ac:spMkLst>
            <pc:docMk/>
            <pc:sldMk cId="1950092934" sldId="1064"/>
            <ac:spMk id="66" creationId="{60F1CF6E-0B71-40E5-AFC6-B24D5C7323F0}"/>
          </ac:spMkLst>
        </pc:spChg>
        <pc:spChg chg="add mod">
          <ac:chgData name="Arjan van der Meer" userId="008f28a2-684e-4523-b3ca-dcb37d9c3e5d" providerId="ADAL" clId="{2B06979C-09FA-4ACE-9D1B-5392C9D6EE8C}" dt="2021-10-27T13:51:24.283" v="498" actId="554"/>
          <ac:spMkLst>
            <pc:docMk/>
            <pc:sldMk cId="1950092934" sldId="1064"/>
            <ac:spMk id="68" creationId="{00F04202-0E8F-4857-B920-D304DE8A7A28}"/>
          </ac:spMkLst>
        </pc:spChg>
        <pc:spChg chg="add mod">
          <ac:chgData name="Arjan van der Meer" userId="008f28a2-684e-4523-b3ca-dcb37d9c3e5d" providerId="ADAL" clId="{2B06979C-09FA-4ACE-9D1B-5392C9D6EE8C}" dt="2021-10-27T13:52:01.614" v="502" actId="207"/>
          <ac:spMkLst>
            <pc:docMk/>
            <pc:sldMk cId="1950092934" sldId="1064"/>
            <ac:spMk id="71" creationId="{6722732D-1E0D-41EA-BD67-70018D3B3260}"/>
          </ac:spMkLst>
        </pc:spChg>
        <pc:spChg chg="add mod">
          <ac:chgData name="Arjan van der Meer" userId="008f28a2-684e-4523-b3ca-dcb37d9c3e5d" providerId="ADAL" clId="{2B06979C-09FA-4ACE-9D1B-5392C9D6EE8C}" dt="2021-10-27T13:50:14.426" v="487"/>
          <ac:spMkLst>
            <pc:docMk/>
            <pc:sldMk cId="1950092934" sldId="1064"/>
            <ac:spMk id="72" creationId="{8306407A-6E0E-425C-9A89-4CF174DAAAC6}"/>
          </ac:spMkLst>
        </pc:spChg>
        <pc:spChg chg="del">
          <ac:chgData name="Arjan van der Meer" userId="008f28a2-684e-4523-b3ca-dcb37d9c3e5d" providerId="ADAL" clId="{2B06979C-09FA-4ACE-9D1B-5392C9D6EE8C}" dt="2021-10-27T13:51:42.044" v="499" actId="478"/>
          <ac:spMkLst>
            <pc:docMk/>
            <pc:sldMk cId="1950092934" sldId="1064"/>
            <ac:spMk id="73" creationId="{11371509-A145-4083-8C77-13BCE839A5E3}"/>
          </ac:spMkLst>
        </pc:spChg>
        <pc:spChg chg="del">
          <ac:chgData name="Arjan van der Meer" userId="008f28a2-684e-4523-b3ca-dcb37d9c3e5d" providerId="ADAL" clId="{2B06979C-09FA-4ACE-9D1B-5392C9D6EE8C}" dt="2021-10-27T13:51:42.044" v="499" actId="478"/>
          <ac:spMkLst>
            <pc:docMk/>
            <pc:sldMk cId="1950092934" sldId="1064"/>
            <ac:spMk id="75" creationId="{C73EE4B1-59B8-45F6-94D3-693F21BB1689}"/>
          </ac:spMkLst>
        </pc:spChg>
        <pc:spChg chg="del">
          <ac:chgData name="Arjan van der Meer" userId="008f28a2-684e-4523-b3ca-dcb37d9c3e5d" providerId="ADAL" clId="{2B06979C-09FA-4ACE-9D1B-5392C9D6EE8C}" dt="2021-10-27T13:51:42.044" v="499" actId="478"/>
          <ac:spMkLst>
            <pc:docMk/>
            <pc:sldMk cId="1950092934" sldId="1064"/>
            <ac:spMk id="77" creationId="{62436EC8-1385-4D53-B153-341C14F149AD}"/>
          </ac:spMkLst>
        </pc:spChg>
        <pc:spChg chg="del">
          <ac:chgData name="Arjan van der Meer" userId="008f28a2-684e-4523-b3ca-dcb37d9c3e5d" providerId="ADAL" clId="{2B06979C-09FA-4ACE-9D1B-5392C9D6EE8C}" dt="2021-10-27T13:51:42.044" v="499" actId="478"/>
          <ac:spMkLst>
            <pc:docMk/>
            <pc:sldMk cId="1950092934" sldId="1064"/>
            <ac:spMk id="78" creationId="{ECB98BE5-D6E8-4326-8EFE-EE28823681BA}"/>
          </ac:spMkLst>
        </pc:spChg>
        <pc:spChg chg="add mod">
          <ac:chgData name="Arjan van der Meer" userId="008f28a2-684e-4523-b3ca-dcb37d9c3e5d" providerId="ADAL" clId="{2B06979C-09FA-4ACE-9D1B-5392C9D6EE8C}" dt="2021-10-27T13:50:14.426" v="487"/>
          <ac:spMkLst>
            <pc:docMk/>
            <pc:sldMk cId="1950092934" sldId="1064"/>
            <ac:spMk id="80" creationId="{60BBA36D-C7C9-44C1-A53E-B4A96BA42BC4}"/>
          </ac:spMkLst>
        </pc:spChg>
        <pc:spChg chg="add mod">
          <ac:chgData name="Arjan van der Meer" userId="008f28a2-684e-4523-b3ca-dcb37d9c3e5d" providerId="ADAL" clId="{2B06979C-09FA-4ACE-9D1B-5392C9D6EE8C}" dt="2021-10-27T13:51:56.189" v="501" actId="207"/>
          <ac:spMkLst>
            <pc:docMk/>
            <pc:sldMk cId="1950092934" sldId="1064"/>
            <ac:spMk id="82" creationId="{42FA8E37-2FF8-4943-8D73-814D27980228}"/>
          </ac:spMkLst>
        </pc:spChg>
        <pc:spChg chg="add mod">
          <ac:chgData name="Arjan van der Meer" userId="008f28a2-684e-4523-b3ca-dcb37d9c3e5d" providerId="ADAL" clId="{2B06979C-09FA-4ACE-9D1B-5392C9D6EE8C}" dt="2021-10-27T13:50:14.426" v="487"/>
          <ac:spMkLst>
            <pc:docMk/>
            <pc:sldMk cId="1950092934" sldId="1064"/>
            <ac:spMk id="83" creationId="{3512D7F1-1BC2-4C76-9971-CDF56EDCA6B0}"/>
          </ac:spMkLst>
        </pc:spChg>
        <pc:spChg chg="add mod">
          <ac:chgData name="Arjan van der Meer" userId="008f28a2-684e-4523-b3ca-dcb37d9c3e5d" providerId="ADAL" clId="{2B06979C-09FA-4ACE-9D1B-5392C9D6EE8C}" dt="2021-10-27T13:50:14.426" v="487"/>
          <ac:spMkLst>
            <pc:docMk/>
            <pc:sldMk cId="1950092934" sldId="1064"/>
            <ac:spMk id="84" creationId="{E395A1B4-640B-44FC-BC85-9E207C4BB63D}"/>
          </ac:spMkLst>
        </pc:spChg>
        <pc:spChg chg="add mod">
          <ac:chgData name="Arjan van der Meer" userId="008f28a2-684e-4523-b3ca-dcb37d9c3e5d" providerId="ADAL" clId="{2B06979C-09FA-4ACE-9D1B-5392C9D6EE8C}" dt="2021-10-27T13:50:14.426" v="487"/>
          <ac:spMkLst>
            <pc:docMk/>
            <pc:sldMk cId="1950092934" sldId="1064"/>
            <ac:spMk id="85" creationId="{9ABABFDB-AED7-44F6-8383-204414AF2A23}"/>
          </ac:spMkLst>
        </pc:spChg>
        <pc:spChg chg="add mod">
          <ac:chgData name="Arjan van der Meer" userId="008f28a2-684e-4523-b3ca-dcb37d9c3e5d" providerId="ADAL" clId="{2B06979C-09FA-4ACE-9D1B-5392C9D6EE8C}" dt="2021-10-27T13:50:14.426" v="487"/>
          <ac:spMkLst>
            <pc:docMk/>
            <pc:sldMk cId="1950092934" sldId="1064"/>
            <ac:spMk id="87" creationId="{420F1DE2-EF09-4A43-9B41-AC25EFB33C27}"/>
          </ac:spMkLst>
        </pc:spChg>
        <pc:spChg chg="add mod">
          <ac:chgData name="Arjan van der Meer" userId="008f28a2-684e-4523-b3ca-dcb37d9c3e5d" providerId="ADAL" clId="{2B06979C-09FA-4ACE-9D1B-5392C9D6EE8C}" dt="2021-10-27T13:50:14.426" v="487"/>
          <ac:spMkLst>
            <pc:docMk/>
            <pc:sldMk cId="1950092934" sldId="1064"/>
            <ac:spMk id="89" creationId="{3331B022-BC52-4F96-87DC-5365E3D9ABEC}"/>
          </ac:spMkLst>
        </pc:spChg>
        <pc:spChg chg="add mod">
          <ac:chgData name="Arjan van der Meer" userId="008f28a2-684e-4523-b3ca-dcb37d9c3e5d" providerId="ADAL" clId="{2B06979C-09FA-4ACE-9D1B-5392C9D6EE8C}" dt="2021-10-27T13:50:14.426" v="487"/>
          <ac:spMkLst>
            <pc:docMk/>
            <pc:sldMk cId="1950092934" sldId="1064"/>
            <ac:spMk id="90" creationId="{0086998F-F6D9-4DE7-B7D9-6CD318F891F2}"/>
          </ac:spMkLst>
        </pc:spChg>
        <pc:spChg chg="add mod">
          <ac:chgData name="Arjan van der Meer" userId="008f28a2-684e-4523-b3ca-dcb37d9c3e5d" providerId="ADAL" clId="{2B06979C-09FA-4ACE-9D1B-5392C9D6EE8C}" dt="2021-10-27T13:51:42.461" v="500"/>
          <ac:spMkLst>
            <pc:docMk/>
            <pc:sldMk cId="1950092934" sldId="1064"/>
            <ac:spMk id="91" creationId="{2D0A4026-A4CA-41CF-BB3B-2208269A997F}"/>
          </ac:spMkLst>
        </pc:spChg>
        <pc:spChg chg="add mod">
          <ac:chgData name="Arjan van der Meer" userId="008f28a2-684e-4523-b3ca-dcb37d9c3e5d" providerId="ADAL" clId="{2B06979C-09FA-4ACE-9D1B-5392C9D6EE8C}" dt="2021-10-27T13:51:42.461" v="500"/>
          <ac:spMkLst>
            <pc:docMk/>
            <pc:sldMk cId="1950092934" sldId="1064"/>
            <ac:spMk id="93" creationId="{4610BF1C-B6DF-46FA-B614-B0D763F59202}"/>
          </ac:spMkLst>
        </pc:spChg>
        <pc:spChg chg="add mod">
          <ac:chgData name="Arjan van der Meer" userId="008f28a2-684e-4523-b3ca-dcb37d9c3e5d" providerId="ADAL" clId="{2B06979C-09FA-4ACE-9D1B-5392C9D6EE8C}" dt="2021-10-27T13:51:42.461" v="500"/>
          <ac:spMkLst>
            <pc:docMk/>
            <pc:sldMk cId="1950092934" sldId="1064"/>
            <ac:spMk id="94" creationId="{F4699B5C-F76E-459D-A0C0-B88F40889253}"/>
          </ac:spMkLst>
        </pc:spChg>
        <pc:spChg chg="add mod">
          <ac:chgData name="Arjan van der Meer" userId="008f28a2-684e-4523-b3ca-dcb37d9c3e5d" providerId="ADAL" clId="{2B06979C-09FA-4ACE-9D1B-5392C9D6EE8C}" dt="2021-10-27T13:51:42.461" v="500"/>
          <ac:spMkLst>
            <pc:docMk/>
            <pc:sldMk cId="1950092934" sldId="1064"/>
            <ac:spMk id="95" creationId="{5B707B52-866C-4185-AE59-543078B3959C}"/>
          </ac:spMkLst>
        </pc:spChg>
        <pc:spChg chg="add mod">
          <ac:chgData name="Arjan van der Meer" userId="008f28a2-684e-4523-b3ca-dcb37d9c3e5d" providerId="ADAL" clId="{2B06979C-09FA-4ACE-9D1B-5392C9D6EE8C}" dt="2021-10-27T13:51:42.461" v="500"/>
          <ac:spMkLst>
            <pc:docMk/>
            <pc:sldMk cId="1950092934" sldId="1064"/>
            <ac:spMk id="97" creationId="{BF5F4E47-111C-4ED4-ADF5-23C26886C4DD}"/>
          </ac:spMkLst>
        </pc:spChg>
        <pc:cxnChg chg="del mod">
          <ac:chgData name="Arjan van der Meer" userId="008f28a2-684e-4523-b3ca-dcb37d9c3e5d" providerId="ADAL" clId="{2B06979C-09FA-4ACE-9D1B-5392C9D6EE8C}" dt="2021-10-27T13:50:13.238" v="486" actId="478"/>
          <ac:cxnSpMkLst>
            <pc:docMk/>
            <pc:sldMk cId="1950092934" sldId="1064"/>
            <ac:cxnSpMk id="32" creationId="{4058D355-B1C2-4492-BCF0-3609222B0EC2}"/>
          </ac:cxnSpMkLst>
        </pc:cxnChg>
        <pc:cxnChg chg="del mod">
          <ac:chgData name="Arjan van der Meer" userId="008f28a2-684e-4523-b3ca-dcb37d9c3e5d" providerId="ADAL" clId="{2B06979C-09FA-4ACE-9D1B-5392C9D6EE8C}" dt="2021-10-27T13:50:13.238" v="486" actId="478"/>
          <ac:cxnSpMkLst>
            <pc:docMk/>
            <pc:sldMk cId="1950092934" sldId="1064"/>
            <ac:cxnSpMk id="42" creationId="{85CDD86E-AAF5-44C7-AFE9-0C7E54C84EE7}"/>
          </ac:cxnSpMkLst>
        </pc:cxnChg>
        <pc:cxnChg chg="add mod">
          <ac:chgData name="Arjan van der Meer" userId="008f28a2-684e-4523-b3ca-dcb37d9c3e5d" providerId="ADAL" clId="{2B06979C-09FA-4ACE-9D1B-5392C9D6EE8C}" dt="2021-10-27T13:50:14.426" v="487"/>
          <ac:cxnSpMkLst>
            <pc:docMk/>
            <pc:sldMk cId="1950092934" sldId="1064"/>
            <ac:cxnSpMk id="51" creationId="{DB062CC3-CF91-423C-881D-E6E545282B3C}"/>
          </ac:cxnSpMkLst>
        </pc:cxnChg>
        <pc:cxnChg chg="del mod">
          <ac:chgData name="Arjan van der Meer" userId="008f28a2-684e-4523-b3ca-dcb37d9c3e5d" providerId="ADAL" clId="{2B06979C-09FA-4ACE-9D1B-5392C9D6EE8C}" dt="2021-10-27T13:50:13.238" v="486" actId="478"/>
          <ac:cxnSpMkLst>
            <pc:docMk/>
            <pc:sldMk cId="1950092934" sldId="1064"/>
            <ac:cxnSpMk id="54" creationId="{4BCF0211-998F-4840-BF81-DAC84EEC675A}"/>
          </ac:cxnSpMkLst>
        </pc:cxnChg>
        <pc:cxnChg chg="add mod">
          <ac:chgData name="Arjan van der Meer" userId="008f28a2-684e-4523-b3ca-dcb37d9c3e5d" providerId="ADAL" clId="{2B06979C-09FA-4ACE-9D1B-5392C9D6EE8C}" dt="2021-10-27T13:50:14.426" v="487"/>
          <ac:cxnSpMkLst>
            <pc:docMk/>
            <pc:sldMk cId="1950092934" sldId="1064"/>
            <ac:cxnSpMk id="60" creationId="{25E5B118-7B3E-414B-BEE6-66FE615D5A87}"/>
          </ac:cxnSpMkLst>
        </pc:cxnChg>
        <pc:cxnChg chg="add mod">
          <ac:chgData name="Arjan van der Meer" userId="008f28a2-684e-4523-b3ca-dcb37d9c3e5d" providerId="ADAL" clId="{2B06979C-09FA-4ACE-9D1B-5392C9D6EE8C}" dt="2021-10-27T13:50:51.145" v="494" actId="1076"/>
          <ac:cxnSpMkLst>
            <pc:docMk/>
            <pc:sldMk cId="1950092934" sldId="1064"/>
            <ac:cxnSpMk id="61" creationId="{6A74F472-28F5-4110-BC3C-FD35256627B4}"/>
          </ac:cxnSpMkLst>
        </pc:cxnChg>
        <pc:cxnChg chg="del mod">
          <ac:chgData name="Arjan van der Meer" userId="008f28a2-684e-4523-b3ca-dcb37d9c3e5d" providerId="ADAL" clId="{2B06979C-09FA-4ACE-9D1B-5392C9D6EE8C}" dt="2021-10-27T13:50:13.238" v="486" actId="478"/>
          <ac:cxnSpMkLst>
            <pc:docMk/>
            <pc:sldMk cId="1950092934" sldId="1064"/>
            <ac:cxnSpMk id="62" creationId="{2743069D-41C5-438A-B778-69834FC631B1}"/>
          </ac:cxnSpMkLst>
        </pc:cxnChg>
        <pc:cxnChg chg="add mod">
          <ac:chgData name="Arjan van der Meer" userId="008f28a2-684e-4523-b3ca-dcb37d9c3e5d" providerId="ADAL" clId="{2B06979C-09FA-4ACE-9D1B-5392C9D6EE8C}" dt="2021-10-27T13:50:14.426" v="487"/>
          <ac:cxnSpMkLst>
            <pc:docMk/>
            <pc:sldMk cId="1950092934" sldId="1064"/>
            <ac:cxnSpMk id="67" creationId="{F5210CCF-B772-41E3-A209-6E984B97DC9E}"/>
          </ac:cxnSpMkLst>
        </pc:cxnChg>
        <pc:cxnChg chg="del mod">
          <ac:chgData name="Arjan van der Meer" userId="008f28a2-684e-4523-b3ca-dcb37d9c3e5d" providerId="ADAL" clId="{2B06979C-09FA-4ACE-9D1B-5392C9D6EE8C}" dt="2021-10-27T13:50:13.238" v="486" actId="478"/>
          <ac:cxnSpMkLst>
            <pc:docMk/>
            <pc:sldMk cId="1950092934" sldId="1064"/>
            <ac:cxnSpMk id="69" creationId="{17EBEE15-022B-4D89-9FCB-10DFE680F5DD}"/>
          </ac:cxnSpMkLst>
        </pc:cxnChg>
        <pc:cxnChg chg="add mod">
          <ac:chgData name="Arjan van der Meer" userId="008f28a2-684e-4523-b3ca-dcb37d9c3e5d" providerId="ADAL" clId="{2B06979C-09FA-4ACE-9D1B-5392C9D6EE8C}" dt="2021-10-27T13:50:14.426" v="487"/>
          <ac:cxnSpMkLst>
            <pc:docMk/>
            <pc:sldMk cId="1950092934" sldId="1064"/>
            <ac:cxnSpMk id="70" creationId="{93190507-9112-4D2E-A29A-6D0EE224EAEF}"/>
          </ac:cxnSpMkLst>
        </pc:cxnChg>
        <pc:cxnChg chg="del mod">
          <ac:chgData name="Arjan van der Meer" userId="008f28a2-684e-4523-b3ca-dcb37d9c3e5d" providerId="ADAL" clId="{2B06979C-09FA-4ACE-9D1B-5392C9D6EE8C}" dt="2021-10-27T13:51:42.044" v="499" actId="478"/>
          <ac:cxnSpMkLst>
            <pc:docMk/>
            <pc:sldMk cId="1950092934" sldId="1064"/>
            <ac:cxnSpMk id="74" creationId="{20A73534-5F7B-4BC0-A943-7AAEDD64BF3C}"/>
          </ac:cxnSpMkLst>
        </pc:cxnChg>
        <pc:cxnChg chg="del mod">
          <ac:chgData name="Arjan van der Meer" userId="008f28a2-684e-4523-b3ca-dcb37d9c3e5d" providerId="ADAL" clId="{2B06979C-09FA-4ACE-9D1B-5392C9D6EE8C}" dt="2021-10-27T13:50:13.238" v="486" actId="478"/>
          <ac:cxnSpMkLst>
            <pc:docMk/>
            <pc:sldMk cId="1950092934" sldId="1064"/>
            <ac:cxnSpMk id="76" creationId="{6220F7DC-8B76-4F79-9EB9-7868E9B08E05}"/>
          </ac:cxnSpMkLst>
        </pc:cxnChg>
        <pc:cxnChg chg="del mod">
          <ac:chgData name="Arjan van der Meer" userId="008f28a2-684e-4523-b3ca-dcb37d9c3e5d" providerId="ADAL" clId="{2B06979C-09FA-4ACE-9D1B-5392C9D6EE8C}" dt="2021-10-27T13:51:42.044" v="499" actId="478"/>
          <ac:cxnSpMkLst>
            <pc:docMk/>
            <pc:sldMk cId="1950092934" sldId="1064"/>
            <ac:cxnSpMk id="79" creationId="{8EE26847-5017-4F5D-B884-78275689194A}"/>
          </ac:cxnSpMkLst>
        </pc:cxnChg>
        <pc:cxnChg chg="add mod">
          <ac:chgData name="Arjan van der Meer" userId="008f28a2-684e-4523-b3ca-dcb37d9c3e5d" providerId="ADAL" clId="{2B06979C-09FA-4ACE-9D1B-5392C9D6EE8C}" dt="2021-10-27T13:50:14.426" v="487"/>
          <ac:cxnSpMkLst>
            <pc:docMk/>
            <pc:sldMk cId="1950092934" sldId="1064"/>
            <ac:cxnSpMk id="81" creationId="{3C905AF5-794B-4A9B-9C6C-A5BDFCFA55A1}"/>
          </ac:cxnSpMkLst>
        </pc:cxnChg>
        <pc:cxnChg chg="add del mod">
          <ac:chgData name="Arjan van der Meer" userId="008f28a2-684e-4523-b3ca-dcb37d9c3e5d" providerId="ADAL" clId="{2B06979C-09FA-4ACE-9D1B-5392C9D6EE8C}" dt="2021-10-27T13:50:22.545" v="489" actId="478"/>
          <ac:cxnSpMkLst>
            <pc:docMk/>
            <pc:sldMk cId="1950092934" sldId="1064"/>
            <ac:cxnSpMk id="86" creationId="{ECDF7A3B-3F09-448F-8E7E-05D30C29A2B2}"/>
          </ac:cxnSpMkLst>
        </pc:cxnChg>
        <pc:cxnChg chg="add del mod">
          <ac:chgData name="Arjan van der Meer" userId="008f28a2-684e-4523-b3ca-dcb37d9c3e5d" providerId="ADAL" clId="{2B06979C-09FA-4ACE-9D1B-5392C9D6EE8C}" dt="2021-10-27T13:50:20.616" v="488" actId="478"/>
          <ac:cxnSpMkLst>
            <pc:docMk/>
            <pc:sldMk cId="1950092934" sldId="1064"/>
            <ac:cxnSpMk id="88" creationId="{8E9B5FA1-92F0-4E83-8350-163FD3D2831C}"/>
          </ac:cxnSpMkLst>
        </pc:cxnChg>
        <pc:cxnChg chg="add mod">
          <ac:chgData name="Arjan van der Meer" userId="008f28a2-684e-4523-b3ca-dcb37d9c3e5d" providerId="ADAL" clId="{2B06979C-09FA-4ACE-9D1B-5392C9D6EE8C}" dt="2021-10-27T13:51:42.461" v="500"/>
          <ac:cxnSpMkLst>
            <pc:docMk/>
            <pc:sldMk cId="1950092934" sldId="1064"/>
            <ac:cxnSpMk id="92" creationId="{06793FB0-0283-479D-9AD1-6FCE21E8EB2E}"/>
          </ac:cxnSpMkLst>
        </pc:cxnChg>
        <pc:cxnChg chg="add mod">
          <ac:chgData name="Arjan van der Meer" userId="008f28a2-684e-4523-b3ca-dcb37d9c3e5d" providerId="ADAL" clId="{2B06979C-09FA-4ACE-9D1B-5392C9D6EE8C}" dt="2021-10-27T13:51:42.461" v="500"/>
          <ac:cxnSpMkLst>
            <pc:docMk/>
            <pc:sldMk cId="1950092934" sldId="1064"/>
            <ac:cxnSpMk id="96" creationId="{A63BCFF1-0EE2-4BFE-B922-2EAD72244635}"/>
          </ac:cxnSpMkLst>
        </pc:cxnChg>
        <pc:cxnChg chg="add mod">
          <ac:chgData name="Arjan van der Meer" userId="008f28a2-684e-4523-b3ca-dcb37d9c3e5d" providerId="ADAL" clId="{2B06979C-09FA-4ACE-9D1B-5392C9D6EE8C}" dt="2021-10-27T13:51:42.461" v="500"/>
          <ac:cxnSpMkLst>
            <pc:docMk/>
            <pc:sldMk cId="1950092934" sldId="1064"/>
            <ac:cxnSpMk id="98" creationId="{45037AEC-951A-42EA-B154-CDBF699FC997}"/>
          </ac:cxnSpMkLst>
        </pc:cxnChg>
        <pc:cxnChg chg="add mod">
          <ac:chgData name="Arjan van der Meer" userId="008f28a2-684e-4523-b3ca-dcb37d9c3e5d" providerId="ADAL" clId="{2B06979C-09FA-4ACE-9D1B-5392C9D6EE8C}" dt="2021-10-27T13:51:42.461" v="500"/>
          <ac:cxnSpMkLst>
            <pc:docMk/>
            <pc:sldMk cId="1950092934" sldId="1064"/>
            <ac:cxnSpMk id="99" creationId="{0EA6895B-4EE6-4709-BDB5-7AB0C748A7E8}"/>
          </ac:cxnSpMkLst>
        </pc:cxnChg>
      </pc:sldChg>
      <pc:sldChg chg="modSp mod">
        <pc:chgData name="Arjan van der Meer" userId="008f28a2-684e-4523-b3ca-dcb37d9c3e5d" providerId="ADAL" clId="{2B06979C-09FA-4ACE-9D1B-5392C9D6EE8C}" dt="2021-10-27T14:10:35.514" v="781" actId="20577"/>
        <pc:sldMkLst>
          <pc:docMk/>
          <pc:sldMk cId="2659228924" sldId="1071"/>
        </pc:sldMkLst>
        <pc:spChg chg="mod">
          <ac:chgData name="Arjan van der Meer" userId="008f28a2-684e-4523-b3ca-dcb37d9c3e5d" providerId="ADAL" clId="{2B06979C-09FA-4ACE-9D1B-5392C9D6EE8C}" dt="2021-10-27T14:10:35.514" v="781" actId="20577"/>
          <ac:spMkLst>
            <pc:docMk/>
            <pc:sldMk cId="2659228924" sldId="1071"/>
            <ac:spMk id="2" creationId="{0921E4BA-B5D3-43BB-B70B-ACCC1C35AFB0}"/>
          </ac:spMkLst>
        </pc:spChg>
      </pc:sldChg>
      <pc:sldChg chg="modSp mod">
        <pc:chgData name="Arjan van der Meer" userId="008f28a2-684e-4523-b3ca-dcb37d9c3e5d" providerId="ADAL" clId="{2B06979C-09FA-4ACE-9D1B-5392C9D6EE8C}" dt="2021-10-27T14:10:38.399" v="782" actId="20577"/>
        <pc:sldMkLst>
          <pc:docMk/>
          <pc:sldMk cId="1768273606" sldId="1072"/>
        </pc:sldMkLst>
        <pc:spChg chg="mod">
          <ac:chgData name="Arjan van der Meer" userId="008f28a2-684e-4523-b3ca-dcb37d9c3e5d" providerId="ADAL" clId="{2B06979C-09FA-4ACE-9D1B-5392C9D6EE8C}" dt="2021-10-27T14:10:38.399" v="782" actId="20577"/>
          <ac:spMkLst>
            <pc:docMk/>
            <pc:sldMk cId="1768273606" sldId="1072"/>
            <ac:spMk id="2" creationId="{24CCB04A-78F0-44EC-AD7A-9502BEC58A09}"/>
          </ac:spMkLst>
        </pc:spChg>
      </pc:sldChg>
      <pc:sldChg chg="modSp">
        <pc:chgData name="Arjan van der Meer" userId="008f28a2-684e-4523-b3ca-dcb37d9c3e5d" providerId="ADAL" clId="{2B06979C-09FA-4ACE-9D1B-5392C9D6EE8C}" dt="2021-10-28T07:35:45.190" v="783" actId="14826"/>
        <pc:sldMkLst>
          <pc:docMk/>
          <pc:sldMk cId="1002399906" sldId="1075"/>
        </pc:sldMkLst>
        <pc:picChg chg="mod">
          <ac:chgData name="Arjan van der Meer" userId="008f28a2-684e-4523-b3ca-dcb37d9c3e5d" providerId="ADAL" clId="{2B06979C-09FA-4ACE-9D1B-5392C9D6EE8C}" dt="2021-10-28T07:35:45.190" v="783" actId="14826"/>
          <ac:picMkLst>
            <pc:docMk/>
            <pc:sldMk cId="1002399906" sldId="1075"/>
            <ac:picMk id="11" creationId="{22D0A5DA-C535-4E55-98FD-7863DB909CDE}"/>
          </ac:picMkLst>
        </pc:picChg>
      </pc:sldChg>
      <pc:sldChg chg="addSp delSp modSp mod addCm modCm">
        <pc:chgData name="Arjan van der Meer" userId="008f28a2-684e-4523-b3ca-dcb37d9c3e5d" providerId="ADAL" clId="{2B06979C-09FA-4ACE-9D1B-5392C9D6EE8C}" dt="2021-10-28T14:30:47.584" v="1524"/>
        <pc:sldMkLst>
          <pc:docMk/>
          <pc:sldMk cId="2435104620" sldId="1098"/>
        </pc:sldMkLst>
        <pc:spChg chg="mod">
          <ac:chgData name="Arjan van der Meer" userId="008f28a2-684e-4523-b3ca-dcb37d9c3e5d" providerId="ADAL" clId="{2B06979C-09FA-4ACE-9D1B-5392C9D6EE8C}" dt="2021-10-28T09:17:25.525" v="1490" actId="1076"/>
          <ac:spMkLst>
            <pc:docMk/>
            <pc:sldMk cId="2435104620" sldId="1098"/>
            <ac:spMk id="32" creationId="{4335040F-4AEC-471D-8CE1-9173EEA01F5F}"/>
          </ac:spMkLst>
        </pc:spChg>
        <pc:spChg chg="add del mod">
          <ac:chgData name="Arjan van der Meer" userId="008f28a2-684e-4523-b3ca-dcb37d9c3e5d" providerId="ADAL" clId="{2B06979C-09FA-4ACE-9D1B-5392C9D6EE8C}" dt="2021-10-28T07:56:51.413" v="951" actId="478"/>
          <ac:spMkLst>
            <pc:docMk/>
            <pc:sldMk cId="2435104620" sldId="1098"/>
            <ac:spMk id="39" creationId="{93BF13B8-09B8-43EB-90D2-D83EA3141C40}"/>
          </ac:spMkLst>
        </pc:spChg>
        <pc:spChg chg="add del mod">
          <ac:chgData name="Arjan van der Meer" userId="008f28a2-684e-4523-b3ca-dcb37d9c3e5d" providerId="ADAL" clId="{2B06979C-09FA-4ACE-9D1B-5392C9D6EE8C}" dt="2021-10-28T07:56:51.413" v="951" actId="478"/>
          <ac:spMkLst>
            <pc:docMk/>
            <pc:sldMk cId="2435104620" sldId="1098"/>
            <ac:spMk id="40" creationId="{0FC8707C-A28B-4E8B-B605-ED06FCDDC0DE}"/>
          </ac:spMkLst>
        </pc:spChg>
        <pc:spChg chg="add del mod">
          <ac:chgData name="Arjan van der Meer" userId="008f28a2-684e-4523-b3ca-dcb37d9c3e5d" providerId="ADAL" clId="{2B06979C-09FA-4ACE-9D1B-5392C9D6EE8C}" dt="2021-10-28T07:56:51.413" v="951" actId="478"/>
          <ac:spMkLst>
            <pc:docMk/>
            <pc:sldMk cId="2435104620" sldId="1098"/>
            <ac:spMk id="41" creationId="{3234B1AE-3E0B-4E11-A94C-DD6B6675A28B}"/>
          </ac:spMkLst>
        </pc:spChg>
        <pc:spChg chg="add del mod">
          <ac:chgData name="Arjan van der Meer" userId="008f28a2-684e-4523-b3ca-dcb37d9c3e5d" providerId="ADAL" clId="{2B06979C-09FA-4ACE-9D1B-5392C9D6EE8C}" dt="2021-10-28T07:56:51.413" v="951" actId="478"/>
          <ac:spMkLst>
            <pc:docMk/>
            <pc:sldMk cId="2435104620" sldId="1098"/>
            <ac:spMk id="42" creationId="{513A34EE-BFB4-4990-9FF4-1643D59403FF}"/>
          </ac:spMkLst>
        </pc:spChg>
        <pc:spChg chg="add del mod">
          <ac:chgData name="Arjan van der Meer" userId="008f28a2-684e-4523-b3ca-dcb37d9c3e5d" providerId="ADAL" clId="{2B06979C-09FA-4ACE-9D1B-5392C9D6EE8C}" dt="2021-10-28T07:56:51.413" v="951" actId="478"/>
          <ac:spMkLst>
            <pc:docMk/>
            <pc:sldMk cId="2435104620" sldId="1098"/>
            <ac:spMk id="43" creationId="{5EF8D1E1-1170-48EC-9790-F74FBD1D497C}"/>
          </ac:spMkLst>
        </pc:spChg>
        <pc:spChg chg="add del mod">
          <ac:chgData name="Arjan van der Meer" userId="008f28a2-684e-4523-b3ca-dcb37d9c3e5d" providerId="ADAL" clId="{2B06979C-09FA-4ACE-9D1B-5392C9D6EE8C}" dt="2021-10-28T07:56:51.413" v="951" actId="478"/>
          <ac:spMkLst>
            <pc:docMk/>
            <pc:sldMk cId="2435104620" sldId="1098"/>
            <ac:spMk id="44" creationId="{BAE3544A-674E-4041-90FF-C56061036876}"/>
          </ac:spMkLst>
        </pc:spChg>
        <pc:spChg chg="add del mod">
          <ac:chgData name="Arjan van der Meer" userId="008f28a2-684e-4523-b3ca-dcb37d9c3e5d" providerId="ADAL" clId="{2B06979C-09FA-4ACE-9D1B-5392C9D6EE8C}" dt="2021-10-28T07:56:51.413" v="951" actId="478"/>
          <ac:spMkLst>
            <pc:docMk/>
            <pc:sldMk cId="2435104620" sldId="1098"/>
            <ac:spMk id="45" creationId="{34A6AD24-7564-4FB0-9D41-E6E48681068C}"/>
          </ac:spMkLst>
        </pc:spChg>
        <pc:spChg chg="add del mod">
          <ac:chgData name="Arjan van der Meer" userId="008f28a2-684e-4523-b3ca-dcb37d9c3e5d" providerId="ADAL" clId="{2B06979C-09FA-4ACE-9D1B-5392C9D6EE8C}" dt="2021-10-28T07:56:51.413" v="951" actId="478"/>
          <ac:spMkLst>
            <pc:docMk/>
            <pc:sldMk cId="2435104620" sldId="1098"/>
            <ac:spMk id="49" creationId="{C0173E97-8CE4-4BC1-BC9A-9AF181BEAD74}"/>
          </ac:spMkLst>
        </pc:spChg>
        <pc:spChg chg="add del mod">
          <ac:chgData name="Arjan van der Meer" userId="008f28a2-684e-4523-b3ca-dcb37d9c3e5d" providerId="ADAL" clId="{2B06979C-09FA-4ACE-9D1B-5392C9D6EE8C}" dt="2021-10-28T07:56:51.413" v="951" actId="478"/>
          <ac:spMkLst>
            <pc:docMk/>
            <pc:sldMk cId="2435104620" sldId="1098"/>
            <ac:spMk id="50" creationId="{4BC14836-5935-4B32-8B31-FC44F5F70055}"/>
          </ac:spMkLst>
        </pc:spChg>
        <pc:spChg chg="add del mod">
          <ac:chgData name="Arjan van der Meer" userId="008f28a2-684e-4523-b3ca-dcb37d9c3e5d" providerId="ADAL" clId="{2B06979C-09FA-4ACE-9D1B-5392C9D6EE8C}" dt="2021-10-28T07:56:51.413" v="951" actId="478"/>
          <ac:spMkLst>
            <pc:docMk/>
            <pc:sldMk cId="2435104620" sldId="1098"/>
            <ac:spMk id="51" creationId="{828B17D6-CED0-401F-AFE8-43B439C3D8A1}"/>
          </ac:spMkLst>
        </pc:spChg>
        <pc:spChg chg="add del mod">
          <ac:chgData name="Arjan van der Meer" userId="008f28a2-684e-4523-b3ca-dcb37d9c3e5d" providerId="ADAL" clId="{2B06979C-09FA-4ACE-9D1B-5392C9D6EE8C}" dt="2021-10-28T07:56:51.413" v="951" actId="478"/>
          <ac:spMkLst>
            <pc:docMk/>
            <pc:sldMk cId="2435104620" sldId="1098"/>
            <ac:spMk id="52" creationId="{1655C379-E5EA-47E4-BD8E-10179C530270}"/>
          </ac:spMkLst>
        </pc:spChg>
        <pc:spChg chg="add mod">
          <ac:chgData name="Arjan van der Meer" userId="008f28a2-684e-4523-b3ca-dcb37d9c3e5d" providerId="ADAL" clId="{2B06979C-09FA-4ACE-9D1B-5392C9D6EE8C}" dt="2021-10-27T13:30:33.928" v="254"/>
          <ac:spMkLst>
            <pc:docMk/>
            <pc:sldMk cId="2435104620" sldId="1098"/>
            <ac:spMk id="53" creationId="{16EB9F64-4856-4060-8FF5-EEFE702EF075}"/>
          </ac:spMkLst>
        </pc:spChg>
        <pc:spChg chg="add mod">
          <ac:chgData name="Arjan van der Meer" userId="008f28a2-684e-4523-b3ca-dcb37d9c3e5d" providerId="ADAL" clId="{2B06979C-09FA-4ACE-9D1B-5392C9D6EE8C}" dt="2021-10-27T13:30:33.928" v="254"/>
          <ac:spMkLst>
            <pc:docMk/>
            <pc:sldMk cId="2435104620" sldId="1098"/>
            <ac:spMk id="54" creationId="{F92EE10A-F835-420F-B1B1-D0DD5D098252}"/>
          </ac:spMkLst>
        </pc:spChg>
        <pc:spChg chg="add del mod">
          <ac:chgData name="Arjan van der Meer" userId="008f28a2-684e-4523-b3ca-dcb37d9c3e5d" providerId="ADAL" clId="{2B06979C-09FA-4ACE-9D1B-5392C9D6EE8C}" dt="2021-10-28T07:56:51.413" v="951" actId="478"/>
          <ac:spMkLst>
            <pc:docMk/>
            <pc:sldMk cId="2435104620" sldId="1098"/>
            <ac:spMk id="56" creationId="{6724597A-2242-4E1A-AF71-749198B1FB9B}"/>
          </ac:spMkLst>
        </pc:spChg>
        <pc:spChg chg="add del mod">
          <ac:chgData name="Arjan van der Meer" userId="008f28a2-684e-4523-b3ca-dcb37d9c3e5d" providerId="ADAL" clId="{2B06979C-09FA-4ACE-9D1B-5392C9D6EE8C}" dt="2021-10-28T07:56:51.413" v="951" actId="478"/>
          <ac:spMkLst>
            <pc:docMk/>
            <pc:sldMk cId="2435104620" sldId="1098"/>
            <ac:spMk id="58" creationId="{3B724F53-195F-4856-A74E-C643F0E813F2}"/>
          </ac:spMkLst>
        </pc:spChg>
        <pc:spChg chg="add mod">
          <ac:chgData name="Arjan van der Meer" userId="008f28a2-684e-4523-b3ca-dcb37d9c3e5d" providerId="ADAL" clId="{2B06979C-09FA-4ACE-9D1B-5392C9D6EE8C}" dt="2021-10-28T07:57:04.458" v="1012" actId="1038"/>
          <ac:spMkLst>
            <pc:docMk/>
            <pc:sldMk cId="2435104620" sldId="1098"/>
            <ac:spMk id="59" creationId="{D649C44D-6D41-4575-8B29-AE48E1987031}"/>
          </ac:spMkLst>
        </pc:spChg>
        <pc:spChg chg="add del mod">
          <ac:chgData name="Arjan van der Meer" userId="008f28a2-684e-4523-b3ca-dcb37d9c3e5d" providerId="ADAL" clId="{2B06979C-09FA-4ACE-9D1B-5392C9D6EE8C}" dt="2021-10-28T07:56:51.413" v="951" actId="478"/>
          <ac:spMkLst>
            <pc:docMk/>
            <pc:sldMk cId="2435104620" sldId="1098"/>
            <ac:spMk id="60" creationId="{B7E6AA60-9EAF-4A4D-8196-80F1F7ECBBED}"/>
          </ac:spMkLst>
        </pc:spChg>
        <pc:spChg chg="add del mod">
          <ac:chgData name="Arjan van der Meer" userId="008f28a2-684e-4523-b3ca-dcb37d9c3e5d" providerId="ADAL" clId="{2B06979C-09FA-4ACE-9D1B-5392C9D6EE8C}" dt="2021-10-28T07:56:51.413" v="951" actId="478"/>
          <ac:spMkLst>
            <pc:docMk/>
            <pc:sldMk cId="2435104620" sldId="1098"/>
            <ac:spMk id="61" creationId="{56529D15-2830-49FA-BC10-01FF8A00AACA}"/>
          </ac:spMkLst>
        </pc:spChg>
        <pc:spChg chg="add del mod">
          <ac:chgData name="Arjan van der Meer" userId="008f28a2-684e-4523-b3ca-dcb37d9c3e5d" providerId="ADAL" clId="{2B06979C-09FA-4ACE-9D1B-5392C9D6EE8C}" dt="2021-10-28T07:56:51.413" v="951" actId="478"/>
          <ac:spMkLst>
            <pc:docMk/>
            <pc:sldMk cId="2435104620" sldId="1098"/>
            <ac:spMk id="63" creationId="{647CDEBC-BA90-4598-A22B-043E72914563}"/>
          </ac:spMkLst>
        </pc:spChg>
        <pc:spChg chg="add del mod">
          <ac:chgData name="Arjan van der Meer" userId="008f28a2-684e-4523-b3ca-dcb37d9c3e5d" providerId="ADAL" clId="{2B06979C-09FA-4ACE-9D1B-5392C9D6EE8C}" dt="2021-10-28T07:56:51.413" v="951" actId="478"/>
          <ac:spMkLst>
            <pc:docMk/>
            <pc:sldMk cId="2435104620" sldId="1098"/>
            <ac:spMk id="64" creationId="{7D096791-7B6E-4DA0-93FC-C198CFEFEFCB}"/>
          </ac:spMkLst>
        </pc:spChg>
        <pc:spChg chg="add del mod">
          <ac:chgData name="Arjan van der Meer" userId="008f28a2-684e-4523-b3ca-dcb37d9c3e5d" providerId="ADAL" clId="{2B06979C-09FA-4ACE-9D1B-5392C9D6EE8C}" dt="2021-10-28T07:56:51.413" v="951" actId="478"/>
          <ac:spMkLst>
            <pc:docMk/>
            <pc:sldMk cId="2435104620" sldId="1098"/>
            <ac:spMk id="65" creationId="{849ADDB7-C8B5-4942-852D-6D3A6ADD771D}"/>
          </ac:spMkLst>
        </pc:spChg>
        <pc:spChg chg="add del mod">
          <ac:chgData name="Arjan van der Meer" userId="008f28a2-684e-4523-b3ca-dcb37d9c3e5d" providerId="ADAL" clId="{2B06979C-09FA-4ACE-9D1B-5392C9D6EE8C}" dt="2021-10-28T07:56:51.413" v="951" actId="478"/>
          <ac:spMkLst>
            <pc:docMk/>
            <pc:sldMk cId="2435104620" sldId="1098"/>
            <ac:spMk id="66" creationId="{E60AA211-EFCA-4BD8-BDD5-F1EDF6A14037}"/>
          </ac:spMkLst>
        </pc:spChg>
        <pc:spChg chg="add del mod">
          <ac:chgData name="Arjan van der Meer" userId="008f28a2-684e-4523-b3ca-dcb37d9c3e5d" providerId="ADAL" clId="{2B06979C-09FA-4ACE-9D1B-5392C9D6EE8C}" dt="2021-10-28T09:21:27.268" v="1498" actId="478"/>
          <ac:spMkLst>
            <pc:docMk/>
            <pc:sldMk cId="2435104620" sldId="1098"/>
            <ac:spMk id="67" creationId="{78DC8160-314F-4B16-8EC2-9B2252C98247}"/>
          </ac:spMkLst>
        </pc:spChg>
        <pc:spChg chg="add del mod">
          <ac:chgData name="Arjan van der Meer" userId="008f28a2-684e-4523-b3ca-dcb37d9c3e5d" providerId="ADAL" clId="{2B06979C-09FA-4ACE-9D1B-5392C9D6EE8C}" dt="2021-10-28T09:21:27.268" v="1498" actId="478"/>
          <ac:spMkLst>
            <pc:docMk/>
            <pc:sldMk cId="2435104620" sldId="1098"/>
            <ac:spMk id="68" creationId="{3C828BA8-9F49-4EE9-A199-EB7B59E9E633}"/>
          </ac:spMkLst>
        </pc:spChg>
        <pc:spChg chg="add del mod">
          <ac:chgData name="Arjan van der Meer" userId="008f28a2-684e-4523-b3ca-dcb37d9c3e5d" providerId="ADAL" clId="{2B06979C-09FA-4ACE-9D1B-5392C9D6EE8C}" dt="2021-10-28T09:21:27.268" v="1498" actId="478"/>
          <ac:spMkLst>
            <pc:docMk/>
            <pc:sldMk cId="2435104620" sldId="1098"/>
            <ac:spMk id="69" creationId="{FCCC2119-75B2-4815-99BE-782E67A1B739}"/>
          </ac:spMkLst>
        </pc:spChg>
        <pc:spChg chg="add del mod">
          <ac:chgData name="Arjan van der Meer" userId="008f28a2-684e-4523-b3ca-dcb37d9c3e5d" providerId="ADAL" clId="{2B06979C-09FA-4ACE-9D1B-5392C9D6EE8C}" dt="2021-10-28T09:21:27.268" v="1498" actId="478"/>
          <ac:spMkLst>
            <pc:docMk/>
            <pc:sldMk cId="2435104620" sldId="1098"/>
            <ac:spMk id="70" creationId="{2217ACD7-2AA3-4868-86B2-ADE92879D582}"/>
          </ac:spMkLst>
        </pc:spChg>
        <pc:spChg chg="add del mod">
          <ac:chgData name="Arjan van der Meer" userId="008f28a2-684e-4523-b3ca-dcb37d9c3e5d" providerId="ADAL" clId="{2B06979C-09FA-4ACE-9D1B-5392C9D6EE8C}" dt="2021-10-28T09:21:27.268" v="1498" actId="478"/>
          <ac:spMkLst>
            <pc:docMk/>
            <pc:sldMk cId="2435104620" sldId="1098"/>
            <ac:spMk id="71" creationId="{37D2A463-5523-45BD-9487-5B5A1B780605}"/>
          </ac:spMkLst>
        </pc:spChg>
        <pc:spChg chg="add del mod">
          <ac:chgData name="Arjan van der Meer" userId="008f28a2-684e-4523-b3ca-dcb37d9c3e5d" providerId="ADAL" clId="{2B06979C-09FA-4ACE-9D1B-5392C9D6EE8C}" dt="2021-10-28T09:21:27.268" v="1498" actId="478"/>
          <ac:spMkLst>
            <pc:docMk/>
            <pc:sldMk cId="2435104620" sldId="1098"/>
            <ac:spMk id="72" creationId="{B7C9C03F-7E38-45A6-895C-1952E73D98B1}"/>
          </ac:spMkLst>
        </pc:spChg>
        <pc:spChg chg="add del mod">
          <ac:chgData name="Arjan van der Meer" userId="008f28a2-684e-4523-b3ca-dcb37d9c3e5d" providerId="ADAL" clId="{2B06979C-09FA-4ACE-9D1B-5392C9D6EE8C}" dt="2021-10-28T09:21:27.268" v="1498" actId="478"/>
          <ac:spMkLst>
            <pc:docMk/>
            <pc:sldMk cId="2435104620" sldId="1098"/>
            <ac:spMk id="73" creationId="{E7FCE58A-6CBA-4A4B-88FD-946E2B9B9266}"/>
          </ac:spMkLst>
        </pc:spChg>
        <pc:spChg chg="del">
          <ac:chgData name="Arjan van der Meer" userId="008f28a2-684e-4523-b3ca-dcb37d9c3e5d" providerId="ADAL" clId="{2B06979C-09FA-4ACE-9D1B-5392C9D6EE8C}" dt="2021-10-27T13:30:28.876" v="252" actId="478"/>
          <ac:spMkLst>
            <pc:docMk/>
            <pc:sldMk cId="2435104620" sldId="1098"/>
            <ac:spMk id="75" creationId="{9C03CA8D-8BB1-4B8E-BFCB-165876FFC549}"/>
          </ac:spMkLst>
        </pc:spChg>
        <pc:spChg chg="del">
          <ac:chgData name="Arjan van der Meer" userId="008f28a2-684e-4523-b3ca-dcb37d9c3e5d" providerId="ADAL" clId="{2B06979C-09FA-4ACE-9D1B-5392C9D6EE8C}" dt="2021-10-27T13:30:28.876" v="252" actId="478"/>
          <ac:spMkLst>
            <pc:docMk/>
            <pc:sldMk cId="2435104620" sldId="1098"/>
            <ac:spMk id="76" creationId="{98DB6BAD-EB15-4894-A182-2D1301A1E864}"/>
          </ac:spMkLst>
        </pc:spChg>
        <pc:spChg chg="add del mod">
          <ac:chgData name="Arjan van der Meer" userId="008f28a2-684e-4523-b3ca-dcb37d9c3e5d" providerId="ADAL" clId="{2B06979C-09FA-4ACE-9D1B-5392C9D6EE8C}" dt="2021-10-28T09:21:27.268" v="1498" actId="478"/>
          <ac:spMkLst>
            <pc:docMk/>
            <pc:sldMk cId="2435104620" sldId="1098"/>
            <ac:spMk id="77" creationId="{13E58192-28E1-413B-A018-766BEA6B14D1}"/>
          </ac:spMkLst>
        </pc:spChg>
        <pc:spChg chg="del">
          <ac:chgData name="Arjan van der Meer" userId="008f28a2-684e-4523-b3ca-dcb37d9c3e5d" providerId="ADAL" clId="{2B06979C-09FA-4ACE-9D1B-5392C9D6EE8C}" dt="2021-10-27T13:30:28.876" v="252" actId="478"/>
          <ac:spMkLst>
            <pc:docMk/>
            <pc:sldMk cId="2435104620" sldId="1098"/>
            <ac:spMk id="77" creationId="{150FC700-6CB0-49CC-B0A4-4C318AEDA55D}"/>
          </ac:spMkLst>
        </pc:spChg>
        <pc:spChg chg="add del mod">
          <ac:chgData name="Arjan van der Meer" userId="008f28a2-684e-4523-b3ca-dcb37d9c3e5d" providerId="ADAL" clId="{2B06979C-09FA-4ACE-9D1B-5392C9D6EE8C}" dt="2021-10-28T09:21:27.268" v="1498" actId="478"/>
          <ac:spMkLst>
            <pc:docMk/>
            <pc:sldMk cId="2435104620" sldId="1098"/>
            <ac:spMk id="78" creationId="{49BD15AA-45FF-45E9-86F9-6C6B32852640}"/>
          </ac:spMkLst>
        </pc:spChg>
        <pc:spChg chg="del">
          <ac:chgData name="Arjan van der Meer" userId="008f28a2-684e-4523-b3ca-dcb37d9c3e5d" providerId="ADAL" clId="{2B06979C-09FA-4ACE-9D1B-5392C9D6EE8C}" dt="2021-10-27T13:30:28.876" v="252" actId="478"/>
          <ac:spMkLst>
            <pc:docMk/>
            <pc:sldMk cId="2435104620" sldId="1098"/>
            <ac:spMk id="78" creationId="{5A3B0AD1-D52D-43BA-AB27-7492E8977A9A}"/>
          </ac:spMkLst>
        </pc:spChg>
        <pc:spChg chg="del">
          <ac:chgData name="Arjan van der Meer" userId="008f28a2-684e-4523-b3ca-dcb37d9c3e5d" providerId="ADAL" clId="{2B06979C-09FA-4ACE-9D1B-5392C9D6EE8C}" dt="2021-10-27T13:30:28.876" v="252" actId="478"/>
          <ac:spMkLst>
            <pc:docMk/>
            <pc:sldMk cId="2435104620" sldId="1098"/>
            <ac:spMk id="79" creationId="{56BDB6B5-933E-4725-8630-285D72D9C708}"/>
          </ac:spMkLst>
        </pc:spChg>
        <pc:spChg chg="add del mod">
          <ac:chgData name="Arjan van der Meer" userId="008f28a2-684e-4523-b3ca-dcb37d9c3e5d" providerId="ADAL" clId="{2B06979C-09FA-4ACE-9D1B-5392C9D6EE8C}" dt="2021-10-28T09:21:27.268" v="1498" actId="478"/>
          <ac:spMkLst>
            <pc:docMk/>
            <pc:sldMk cId="2435104620" sldId="1098"/>
            <ac:spMk id="79" creationId="{A0FAD39B-C324-481F-8248-2CCC8AF5D2D8}"/>
          </ac:spMkLst>
        </pc:spChg>
        <pc:spChg chg="add del mod">
          <ac:chgData name="Arjan van der Meer" userId="008f28a2-684e-4523-b3ca-dcb37d9c3e5d" providerId="ADAL" clId="{2B06979C-09FA-4ACE-9D1B-5392C9D6EE8C}" dt="2021-10-28T09:21:27.268" v="1498" actId="478"/>
          <ac:spMkLst>
            <pc:docMk/>
            <pc:sldMk cId="2435104620" sldId="1098"/>
            <ac:spMk id="80" creationId="{BF8175F8-908A-4CC4-A106-4770E94A1EBA}"/>
          </ac:spMkLst>
        </pc:spChg>
        <pc:spChg chg="del">
          <ac:chgData name="Arjan van der Meer" userId="008f28a2-684e-4523-b3ca-dcb37d9c3e5d" providerId="ADAL" clId="{2B06979C-09FA-4ACE-9D1B-5392C9D6EE8C}" dt="2021-10-27T13:30:28.876" v="252" actId="478"/>
          <ac:spMkLst>
            <pc:docMk/>
            <pc:sldMk cId="2435104620" sldId="1098"/>
            <ac:spMk id="81" creationId="{27122C6D-FCC5-436A-A11D-B0BDFBB55FC5}"/>
          </ac:spMkLst>
        </pc:spChg>
        <pc:spChg chg="del">
          <ac:chgData name="Arjan van der Meer" userId="008f28a2-684e-4523-b3ca-dcb37d9c3e5d" providerId="ADAL" clId="{2B06979C-09FA-4ACE-9D1B-5392C9D6EE8C}" dt="2021-10-27T13:30:28.876" v="252" actId="478"/>
          <ac:spMkLst>
            <pc:docMk/>
            <pc:sldMk cId="2435104620" sldId="1098"/>
            <ac:spMk id="82" creationId="{055CCC95-25A5-4B06-9D48-E091CFAAAD37}"/>
          </ac:spMkLst>
        </pc:spChg>
        <pc:spChg chg="add del mod">
          <ac:chgData name="Arjan van der Meer" userId="008f28a2-684e-4523-b3ca-dcb37d9c3e5d" providerId="ADAL" clId="{2B06979C-09FA-4ACE-9D1B-5392C9D6EE8C}" dt="2021-10-28T09:21:27.268" v="1498" actId="478"/>
          <ac:spMkLst>
            <pc:docMk/>
            <pc:sldMk cId="2435104620" sldId="1098"/>
            <ac:spMk id="82" creationId="{1BAC77FF-6161-4658-B445-655709D5042F}"/>
          </ac:spMkLst>
        </pc:spChg>
        <pc:spChg chg="add del mod">
          <ac:chgData name="Arjan van der Meer" userId="008f28a2-684e-4523-b3ca-dcb37d9c3e5d" providerId="ADAL" clId="{2B06979C-09FA-4ACE-9D1B-5392C9D6EE8C}" dt="2021-10-28T09:21:27.268" v="1498" actId="478"/>
          <ac:spMkLst>
            <pc:docMk/>
            <pc:sldMk cId="2435104620" sldId="1098"/>
            <ac:spMk id="84" creationId="{B4707A52-5811-4E6D-8927-EBE2EB29005F}"/>
          </ac:spMkLst>
        </pc:spChg>
        <pc:spChg chg="add del mod">
          <ac:chgData name="Arjan van der Meer" userId="008f28a2-684e-4523-b3ca-dcb37d9c3e5d" providerId="ADAL" clId="{2B06979C-09FA-4ACE-9D1B-5392C9D6EE8C}" dt="2021-10-28T09:21:27.268" v="1498" actId="478"/>
          <ac:spMkLst>
            <pc:docMk/>
            <pc:sldMk cId="2435104620" sldId="1098"/>
            <ac:spMk id="85" creationId="{E19743B0-F06F-47C1-9D02-B5F0595A705C}"/>
          </ac:spMkLst>
        </pc:spChg>
        <pc:spChg chg="del">
          <ac:chgData name="Arjan van der Meer" userId="008f28a2-684e-4523-b3ca-dcb37d9c3e5d" providerId="ADAL" clId="{2B06979C-09FA-4ACE-9D1B-5392C9D6EE8C}" dt="2021-10-27T13:30:28.876" v="252" actId="478"/>
          <ac:spMkLst>
            <pc:docMk/>
            <pc:sldMk cId="2435104620" sldId="1098"/>
            <ac:spMk id="86" creationId="{1ABD0C4F-5C84-4AC0-B226-CD1469C8E901}"/>
          </ac:spMkLst>
        </pc:spChg>
        <pc:spChg chg="add del mod">
          <ac:chgData name="Arjan van der Meer" userId="008f28a2-684e-4523-b3ca-dcb37d9c3e5d" providerId="ADAL" clId="{2B06979C-09FA-4ACE-9D1B-5392C9D6EE8C}" dt="2021-10-28T09:21:27.268" v="1498" actId="478"/>
          <ac:spMkLst>
            <pc:docMk/>
            <pc:sldMk cId="2435104620" sldId="1098"/>
            <ac:spMk id="86" creationId="{6D5366B5-0DD8-4B39-B71A-4ABDC9A47D65}"/>
          </ac:spMkLst>
        </pc:spChg>
        <pc:spChg chg="del">
          <ac:chgData name="Arjan van der Meer" userId="008f28a2-684e-4523-b3ca-dcb37d9c3e5d" providerId="ADAL" clId="{2B06979C-09FA-4ACE-9D1B-5392C9D6EE8C}" dt="2021-10-27T13:30:28.876" v="252" actId="478"/>
          <ac:spMkLst>
            <pc:docMk/>
            <pc:sldMk cId="2435104620" sldId="1098"/>
            <ac:spMk id="87" creationId="{35BEC41D-0611-4136-B9A0-FBA15FD7A128}"/>
          </ac:spMkLst>
        </pc:spChg>
        <pc:spChg chg="add del mod">
          <ac:chgData name="Arjan van der Meer" userId="008f28a2-684e-4523-b3ca-dcb37d9c3e5d" providerId="ADAL" clId="{2B06979C-09FA-4ACE-9D1B-5392C9D6EE8C}" dt="2021-10-28T09:21:27.268" v="1498" actId="478"/>
          <ac:spMkLst>
            <pc:docMk/>
            <pc:sldMk cId="2435104620" sldId="1098"/>
            <ac:spMk id="88" creationId="{5C0B8B5A-110B-410F-A502-7C7724BDCC79}"/>
          </ac:spMkLst>
        </pc:spChg>
        <pc:spChg chg="del">
          <ac:chgData name="Arjan van der Meer" userId="008f28a2-684e-4523-b3ca-dcb37d9c3e5d" providerId="ADAL" clId="{2B06979C-09FA-4ACE-9D1B-5392C9D6EE8C}" dt="2021-10-27T13:30:28.876" v="252" actId="478"/>
          <ac:spMkLst>
            <pc:docMk/>
            <pc:sldMk cId="2435104620" sldId="1098"/>
            <ac:spMk id="88" creationId="{EF295510-BD8B-4C8C-A86F-8E65CD341EA4}"/>
          </ac:spMkLst>
        </pc:spChg>
        <pc:spChg chg="add del mod">
          <ac:chgData name="Arjan van der Meer" userId="008f28a2-684e-4523-b3ca-dcb37d9c3e5d" providerId="ADAL" clId="{2B06979C-09FA-4ACE-9D1B-5392C9D6EE8C}" dt="2021-10-28T09:21:27.268" v="1498" actId="478"/>
          <ac:spMkLst>
            <pc:docMk/>
            <pc:sldMk cId="2435104620" sldId="1098"/>
            <ac:spMk id="89" creationId="{552D5940-6D3E-4EFB-AF41-FD94BA77963F}"/>
          </ac:spMkLst>
        </pc:spChg>
        <pc:spChg chg="del">
          <ac:chgData name="Arjan van der Meer" userId="008f28a2-684e-4523-b3ca-dcb37d9c3e5d" providerId="ADAL" clId="{2B06979C-09FA-4ACE-9D1B-5392C9D6EE8C}" dt="2021-10-27T13:30:28.876" v="252" actId="478"/>
          <ac:spMkLst>
            <pc:docMk/>
            <pc:sldMk cId="2435104620" sldId="1098"/>
            <ac:spMk id="89" creationId="{A0BD32FB-4B3A-40D2-8A0A-60783D2389FC}"/>
          </ac:spMkLst>
        </pc:spChg>
        <pc:spChg chg="del">
          <ac:chgData name="Arjan van der Meer" userId="008f28a2-684e-4523-b3ca-dcb37d9c3e5d" providerId="ADAL" clId="{2B06979C-09FA-4ACE-9D1B-5392C9D6EE8C}" dt="2021-10-27T13:30:28.876" v="252" actId="478"/>
          <ac:spMkLst>
            <pc:docMk/>
            <pc:sldMk cId="2435104620" sldId="1098"/>
            <ac:spMk id="90" creationId="{596BE23C-D7D7-4904-94D5-4ED792C7B3B7}"/>
          </ac:spMkLst>
        </pc:spChg>
        <pc:spChg chg="add del mod">
          <ac:chgData name="Arjan van der Meer" userId="008f28a2-684e-4523-b3ca-dcb37d9c3e5d" providerId="ADAL" clId="{2B06979C-09FA-4ACE-9D1B-5392C9D6EE8C}" dt="2021-10-28T09:21:27.268" v="1498" actId="478"/>
          <ac:spMkLst>
            <pc:docMk/>
            <pc:sldMk cId="2435104620" sldId="1098"/>
            <ac:spMk id="90" creationId="{A2CF8C4A-5352-4950-A588-52A3AD337321}"/>
          </ac:spMkLst>
        </pc:spChg>
        <pc:spChg chg="del">
          <ac:chgData name="Arjan van der Meer" userId="008f28a2-684e-4523-b3ca-dcb37d9c3e5d" providerId="ADAL" clId="{2B06979C-09FA-4ACE-9D1B-5392C9D6EE8C}" dt="2021-10-27T13:30:28.876" v="252" actId="478"/>
          <ac:spMkLst>
            <pc:docMk/>
            <pc:sldMk cId="2435104620" sldId="1098"/>
            <ac:spMk id="91" creationId="{8CF368C0-0E8D-4DCA-8461-FBB9BCF3DD0E}"/>
          </ac:spMkLst>
        </pc:spChg>
        <pc:spChg chg="add del mod">
          <ac:chgData name="Arjan van der Meer" userId="008f28a2-684e-4523-b3ca-dcb37d9c3e5d" providerId="ADAL" clId="{2B06979C-09FA-4ACE-9D1B-5392C9D6EE8C}" dt="2021-10-28T09:21:27.268" v="1498" actId="478"/>
          <ac:spMkLst>
            <pc:docMk/>
            <pc:sldMk cId="2435104620" sldId="1098"/>
            <ac:spMk id="91" creationId="{DDAFF4D5-9C0B-4FBB-ADE4-B1E0E09420D0}"/>
          </ac:spMkLst>
        </pc:spChg>
        <pc:spChg chg="add del mod">
          <ac:chgData name="Arjan van der Meer" userId="008f28a2-684e-4523-b3ca-dcb37d9c3e5d" providerId="ADAL" clId="{2B06979C-09FA-4ACE-9D1B-5392C9D6EE8C}" dt="2021-10-28T09:21:27.268" v="1498" actId="478"/>
          <ac:spMkLst>
            <pc:docMk/>
            <pc:sldMk cId="2435104620" sldId="1098"/>
            <ac:spMk id="92" creationId="{F084B9EF-5D5B-41AA-A88F-CF037AF3E64E}"/>
          </ac:spMkLst>
        </pc:spChg>
        <pc:spChg chg="del">
          <ac:chgData name="Arjan van der Meer" userId="008f28a2-684e-4523-b3ca-dcb37d9c3e5d" providerId="ADAL" clId="{2B06979C-09FA-4ACE-9D1B-5392C9D6EE8C}" dt="2021-10-27T13:30:28.876" v="252" actId="478"/>
          <ac:spMkLst>
            <pc:docMk/>
            <pc:sldMk cId="2435104620" sldId="1098"/>
            <ac:spMk id="94" creationId="{5F1C3CBB-4F6D-4FF0-A033-9D83208150A3}"/>
          </ac:spMkLst>
        </pc:spChg>
        <pc:spChg chg="add del mod">
          <ac:chgData name="Arjan van der Meer" userId="008f28a2-684e-4523-b3ca-dcb37d9c3e5d" providerId="ADAL" clId="{2B06979C-09FA-4ACE-9D1B-5392C9D6EE8C}" dt="2021-10-28T09:21:27.268" v="1498" actId="478"/>
          <ac:spMkLst>
            <pc:docMk/>
            <pc:sldMk cId="2435104620" sldId="1098"/>
            <ac:spMk id="94" creationId="{A9E54507-7152-4B02-BF49-2EA6F78842BD}"/>
          </ac:spMkLst>
        </pc:spChg>
        <pc:spChg chg="add mod">
          <ac:chgData name="Arjan van der Meer" userId="008f28a2-684e-4523-b3ca-dcb37d9c3e5d" providerId="ADAL" clId="{2B06979C-09FA-4ACE-9D1B-5392C9D6EE8C}" dt="2021-10-28T09:21:28.292" v="1499"/>
          <ac:spMkLst>
            <pc:docMk/>
            <pc:sldMk cId="2435104620" sldId="1098"/>
            <ac:spMk id="95" creationId="{4690EC3B-C10F-4C64-B23B-E22647DA3D8C}"/>
          </ac:spMkLst>
        </pc:spChg>
        <pc:spChg chg="del">
          <ac:chgData name="Arjan van der Meer" userId="008f28a2-684e-4523-b3ca-dcb37d9c3e5d" providerId="ADAL" clId="{2B06979C-09FA-4ACE-9D1B-5392C9D6EE8C}" dt="2021-10-27T13:30:28.876" v="252" actId="478"/>
          <ac:spMkLst>
            <pc:docMk/>
            <pc:sldMk cId="2435104620" sldId="1098"/>
            <ac:spMk id="95" creationId="{6980D8C7-5141-4A4E-90FE-BDFCA87C8EF7}"/>
          </ac:spMkLst>
        </pc:spChg>
        <pc:spChg chg="mod">
          <ac:chgData name="Arjan van der Meer" userId="008f28a2-684e-4523-b3ca-dcb37d9c3e5d" providerId="ADAL" clId="{2B06979C-09FA-4ACE-9D1B-5392C9D6EE8C}" dt="2021-10-28T07:57:00.665" v="981" actId="1037"/>
          <ac:spMkLst>
            <pc:docMk/>
            <pc:sldMk cId="2435104620" sldId="1098"/>
            <ac:spMk id="96" creationId="{31C389C5-7EB9-428B-957F-ECE9CA0994AC}"/>
          </ac:spMkLst>
        </pc:spChg>
        <pc:spChg chg="mod">
          <ac:chgData name="Arjan van der Meer" userId="008f28a2-684e-4523-b3ca-dcb37d9c3e5d" providerId="ADAL" clId="{2B06979C-09FA-4ACE-9D1B-5392C9D6EE8C}" dt="2021-10-28T07:57:00.665" v="981" actId="1037"/>
          <ac:spMkLst>
            <pc:docMk/>
            <pc:sldMk cId="2435104620" sldId="1098"/>
            <ac:spMk id="97" creationId="{5A9628B0-85DA-4991-88C5-2F55EEBACDB8}"/>
          </ac:spMkLst>
        </pc:spChg>
        <pc:spChg chg="mod">
          <ac:chgData name="Arjan van der Meer" userId="008f28a2-684e-4523-b3ca-dcb37d9c3e5d" providerId="ADAL" clId="{2B06979C-09FA-4ACE-9D1B-5392C9D6EE8C}" dt="2021-10-28T07:57:00.665" v="981" actId="1037"/>
          <ac:spMkLst>
            <pc:docMk/>
            <pc:sldMk cId="2435104620" sldId="1098"/>
            <ac:spMk id="100" creationId="{EC5FC586-4896-4DD1-A65B-972F82C8EE7B}"/>
          </ac:spMkLst>
        </pc:spChg>
        <pc:spChg chg="mod">
          <ac:chgData name="Arjan van der Meer" userId="008f28a2-684e-4523-b3ca-dcb37d9c3e5d" providerId="ADAL" clId="{2B06979C-09FA-4ACE-9D1B-5392C9D6EE8C}" dt="2021-10-28T07:57:00.665" v="981" actId="1037"/>
          <ac:spMkLst>
            <pc:docMk/>
            <pc:sldMk cId="2435104620" sldId="1098"/>
            <ac:spMk id="101" creationId="{F23B8817-B9D3-410F-8A7D-8C4A6E81B706}"/>
          </ac:spMkLst>
        </pc:spChg>
        <pc:spChg chg="mod">
          <ac:chgData name="Arjan van der Meer" userId="008f28a2-684e-4523-b3ca-dcb37d9c3e5d" providerId="ADAL" clId="{2B06979C-09FA-4ACE-9D1B-5392C9D6EE8C}" dt="2021-10-28T07:57:00.665" v="981" actId="1037"/>
          <ac:spMkLst>
            <pc:docMk/>
            <pc:sldMk cId="2435104620" sldId="1098"/>
            <ac:spMk id="102" creationId="{3DF5CF9C-8EFC-4FBE-ACD6-A581E36E0591}"/>
          </ac:spMkLst>
        </pc:spChg>
        <pc:spChg chg="mod">
          <ac:chgData name="Arjan van der Meer" userId="008f28a2-684e-4523-b3ca-dcb37d9c3e5d" providerId="ADAL" clId="{2B06979C-09FA-4ACE-9D1B-5392C9D6EE8C}" dt="2021-10-28T07:57:00.665" v="981" actId="1037"/>
          <ac:spMkLst>
            <pc:docMk/>
            <pc:sldMk cId="2435104620" sldId="1098"/>
            <ac:spMk id="106" creationId="{0D7F622F-8B33-4D0D-B4EB-490E3C30CF32}"/>
          </ac:spMkLst>
        </pc:spChg>
        <pc:spChg chg="add mod">
          <ac:chgData name="Arjan van der Meer" userId="008f28a2-684e-4523-b3ca-dcb37d9c3e5d" providerId="ADAL" clId="{2B06979C-09FA-4ACE-9D1B-5392C9D6EE8C}" dt="2021-10-28T09:21:28.292" v="1499"/>
          <ac:spMkLst>
            <pc:docMk/>
            <pc:sldMk cId="2435104620" sldId="1098"/>
            <ac:spMk id="107" creationId="{BBAFABE5-7DEF-4C54-A8F3-35C3096D319D}"/>
          </ac:spMkLst>
        </pc:spChg>
        <pc:spChg chg="add mod">
          <ac:chgData name="Arjan van der Meer" userId="008f28a2-684e-4523-b3ca-dcb37d9c3e5d" providerId="ADAL" clId="{2B06979C-09FA-4ACE-9D1B-5392C9D6EE8C}" dt="2021-10-28T09:21:28.292" v="1499"/>
          <ac:spMkLst>
            <pc:docMk/>
            <pc:sldMk cId="2435104620" sldId="1098"/>
            <ac:spMk id="108" creationId="{3BEA1D62-80DE-4BAE-9376-95B21CC49466}"/>
          </ac:spMkLst>
        </pc:spChg>
        <pc:spChg chg="add mod">
          <ac:chgData name="Arjan van der Meer" userId="008f28a2-684e-4523-b3ca-dcb37d9c3e5d" providerId="ADAL" clId="{2B06979C-09FA-4ACE-9D1B-5392C9D6EE8C}" dt="2021-10-28T09:21:28.292" v="1499"/>
          <ac:spMkLst>
            <pc:docMk/>
            <pc:sldMk cId="2435104620" sldId="1098"/>
            <ac:spMk id="109" creationId="{07B2BA40-486A-440C-B10C-EAD32CFF8B9A}"/>
          </ac:spMkLst>
        </pc:spChg>
        <pc:spChg chg="add mod">
          <ac:chgData name="Arjan van der Meer" userId="008f28a2-684e-4523-b3ca-dcb37d9c3e5d" providerId="ADAL" clId="{2B06979C-09FA-4ACE-9D1B-5392C9D6EE8C}" dt="2021-10-28T09:21:28.292" v="1499"/>
          <ac:spMkLst>
            <pc:docMk/>
            <pc:sldMk cId="2435104620" sldId="1098"/>
            <ac:spMk id="110" creationId="{DA1CB405-2490-4798-917D-758E2D604F47}"/>
          </ac:spMkLst>
        </pc:spChg>
        <pc:spChg chg="add mod">
          <ac:chgData name="Arjan van der Meer" userId="008f28a2-684e-4523-b3ca-dcb37d9c3e5d" providerId="ADAL" clId="{2B06979C-09FA-4ACE-9D1B-5392C9D6EE8C}" dt="2021-10-28T09:21:28.292" v="1499"/>
          <ac:spMkLst>
            <pc:docMk/>
            <pc:sldMk cId="2435104620" sldId="1098"/>
            <ac:spMk id="111" creationId="{DB937752-BCA8-4155-AB60-8AC053B05E53}"/>
          </ac:spMkLst>
        </pc:spChg>
        <pc:spChg chg="add mod">
          <ac:chgData name="Arjan van der Meer" userId="008f28a2-684e-4523-b3ca-dcb37d9c3e5d" providerId="ADAL" clId="{2B06979C-09FA-4ACE-9D1B-5392C9D6EE8C}" dt="2021-10-28T09:21:28.292" v="1499"/>
          <ac:spMkLst>
            <pc:docMk/>
            <pc:sldMk cId="2435104620" sldId="1098"/>
            <ac:spMk id="112" creationId="{88BF8230-BF42-49B5-A1C3-6282B66A6FA1}"/>
          </ac:spMkLst>
        </pc:spChg>
        <pc:spChg chg="add mod">
          <ac:chgData name="Arjan van der Meer" userId="008f28a2-684e-4523-b3ca-dcb37d9c3e5d" providerId="ADAL" clId="{2B06979C-09FA-4ACE-9D1B-5392C9D6EE8C}" dt="2021-10-28T09:21:28.292" v="1499"/>
          <ac:spMkLst>
            <pc:docMk/>
            <pc:sldMk cId="2435104620" sldId="1098"/>
            <ac:spMk id="116" creationId="{FEF0DDB8-1E8B-495E-872B-24566635F670}"/>
          </ac:spMkLst>
        </pc:spChg>
        <pc:spChg chg="add mod">
          <ac:chgData name="Arjan van der Meer" userId="008f28a2-684e-4523-b3ca-dcb37d9c3e5d" providerId="ADAL" clId="{2B06979C-09FA-4ACE-9D1B-5392C9D6EE8C}" dt="2021-10-28T09:21:28.292" v="1499"/>
          <ac:spMkLst>
            <pc:docMk/>
            <pc:sldMk cId="2435104620" sldId="1098"/>
            <ac:spMk id="117" creationId="{AEF2E6EF-210B-4D34-A44A-D8563CD456AF}"/>
          </ac:spMkLst>
        </pc:spChg>
        <pc:spChg chg="add mod">
          <ac:chgData name="Arjan van der Meer" userId="008f28a2-684e-4523-b3ca-dcb37d9c3e5d" providerId="ADAL" clId="{2B06979C-09FA-4ACE-9D1B-5392C9D6EE8C}" dt="2021-10-28T09:21:28.292" v="1499"/>
          <ac:spMkLst>
            <pc:docMk/>
            <pc:sldMk cId="2435104620" sldId="1098"/>
            <ac:spMk id="118" creationId="{16CEB961-C1D5-49B7-ABCC-64E3AC639805}"/>
          </ac:spMkLst>
        </pc:spChg>
        <pc:spChg chg="add mod">
          <ac:chgData name="Arjan van der Meer" userId="008f28a2-684e-4523-b3ca-dcb37d9c3e5d" providerId="ADAL" clId="{2B06979C-09FA-4ACE-9D1B-5392C9D6EE8C}" dt="2021-10-28T09:21:28.292" v="1499"/>
          <ac:spMkLst>
            <pc:docMk/>
            <pc:sldMk cId="2435104620" sldId="1098"/>
            <ac:spMk id="119" creationId="{D7923255-36EA-4EEB-B2FD-D6E83B516D18}"/>
          </ac:spMkLst>
        </pc:spChg>
        <pc:spChg chg="add mod">
          <ac:chgData name="Arjan van der Meer" userId="008f28a2-684e-4523-b3ca-dcb37d9c3e5d" providerId="ADAL" clId="{2B06979C-09FA-4ACE-9D1B-5392C9D6EE8C}" dt="2021-10-28T09:21:41.419" v="1502" actId="1076"/>
          <ac:spMkLst>
            <pc:docMk/>
            <pc:sldMk cId="2435104620" sldId="1098"/>
            <ac:spMk id="121" creationId="{0F6C94A0-06ED-4DB1-A424-B6DCCF7AE7D6}"/>
          </ac:spMkLst>
        </pc:spChg>
        <pc:spChg chg="add mod">
          <ac:chgData name="Arjan van der Meer" userId="008f28a2-684e-4523-b3ca-dcb37d9c3e5d" providerId="ADAL" clId="{2B06979C-09FA-4ACE-9D1B-5392C9D6EE8C}" dt="2021-10-28T09:22:00.036" v="1506" actId="1076"/>
          <ac:spMkLst>
            <pc:docMk/>
            <pc:sldMk cId="2435104620" sldId="1098"/>
            <ac:spMk id="123" creationId="{467F9376-5228-450E-8E7F-D70A0D9E3546}"/>
          </ac:spMkLst>
        </pc:spChg>
        <pc:spChg chg="add mod">
          <ac:chgData name="Arjan van der Meer" userId="008f28a2-684e-4523-b3ca-dcb37d9c3e5d" providerId="ADAL" clId="{2B06979C-09FA-4ACE-9D1B-5392C9D6EE8C}" dt="2021-10-28T09:21:28.292" v="1499"/>
          <ac:spMkLst>
            <pc:docMk/>
            <pc:sldMk cId="2435104620" sldId="1098"/>
            <ac:spMk id="124" creationId="{86F66712-99C8-4B90-85C5-2EF85AB675F8}"/>
          </ac:spMkLst>
        </pc:spChg>
        <pc:spChg chg="add mod">
          <ac:chgData name="Arjan van der Meer" userId="008f28a2-684e-4523-b3ca-dcb37d9c3e5d" providerId="ADAL" clId="{2B06979C-09FA-4ACE-9D1B-5392C9D6EE8C}" dt="2021-10-28T09:21:28.292" v="1499"/>
          <ac:spMkLst>
            <pc:docMk/>
            <pc:sldMk cId="2435104620" sldId="1098"/>
            <ac:spMk id="125" creationId="{31D18D97-8DDC-476C-A8E2-FB77F9A566E7}"/>
          </ac:spMkLst>
        </pc:spChg>
        <pc:spChg chg="add mod">
          <ac:chgData name="Arjan van der Meer" userId="008f28a2-684e-4523-b3ca-dcb37d9c3e5d" providerId="ADAL" clId="{2B06979C-09FA-4ACE-9D1B-5392C9D6EE8C}" dt="2021-10-28T09:22:14.196" v="1512" actId="20577"/>
          <ac:spMkLst>
            <pc:docMk/>
            <pc:sldMk cId="2435104620" sldId="1098"/>
            <ac:spMk id="127" creationId="{095AB1E0-035C-4172-8BAF-4C48A6981EB2}"/>
          </ac:spMkLst>
        </pc:spChg>
        <pc:spChg chg="add mod">
          <ac:chgData name="Arjan van der Meer" userId="008f28a2-684e-4523-b3ca-dcb37d9c3e5d" providerId="ADAL" clId="{2B06979C-09FA-4ACE-9D1B-5392C9D6EE8C}" dt="2021-10-28T09:21:28.292" v="1499"/>
          <ac:spMkLst>
            <pc:docMk/>
            <pc:sldMk cId="2435104620" sldId="1098"/>
            <ac:spMk id="128" creationId="{81D14678-E912-4E81-BB3E-FDAA44EC5884}"/>
          </ac:spMkLst>
        </pc:spChg>
        <pc:spChg chg="add mod">
          <ac:chgData name="Arjan van der Meer" userId="008f28a2-684e-4523-b3ca-dcb37d9c3e5d" providerId="ADAL" clId="{2B06979C-09FA-4ACE-9D1B-5392C9D6EE8C}" dt="2021-10-28T09:21:28.292" v="1499"/>
          <ac:spMkLst>
            <pc:docMk/>
            <pc:sldMk cId="2435104620" sldId="1098"/>
            <ac:spMk id="129" creationId="{F48B8940-A29E-4AE7-B4E5-5E1E2E7208CF}"/>
          </ac:spMkLst>
        </pc:spChg>
        <pc:spChg chg="add mod">
          <ac:chgData name="Arjan van der Meer" userId="008f28a2-684e-4523-b3ca-dcb37d9c3e5d" providerId="ADAL" clId="{2B06979C-09FA-4ACE-9D1B-5392C9D6EE8C}" dt="2021-10-28T09:21:28.292" v="1499"/>
          <ac:spMkLst>
            <pc:docMk/>
            <pc:sldMk cId="2435104620" sldId="1098"/>
            <ac:spMk id="130" creationId="{BEBADF82-7270-450E-85D6-BFFB11267211}"/>
          </ac:spMkLst>
        </pc:spChg>
        <pc:spChg chg="add mod">
          <ac:chgData name="Arjan van der Meer" userId="008f28a2-684e-4523-b3ca-dcb37d9c3e5d" providerId="ADAL" clId="{2B06979C-09FA-4ACE-9D1B-5392C9D6EE8C}" dt="2021-10-28T09:21:28.292" v="1499"/>
          <ac:spMkLst>
            <pc:docMk/>
            <pc:sldMk cId="2435104620" sldId="1098"/>
            <ac:spMk id="131" creationId="{6D30276D-F536-4F53-AD5F-1C4E3781CD17}"/>
          </ac:spMkLst>
        </pc:spChg>
        <pc:spChg chg="add mod">
          <ac:chgData name="Arjan van der Meer" userId="008f28a2-684e-4523-b3ca-dcb37d9c3e5d" providerId="ADAL" clId="{2B06979C-09FA-4ACE-9D1B-5392C9D6EE8C}" dt="2021-10-28T09:22:10.168" v="1509" actId="1076"/>
          <ac:spMkLst>
            <pc:docMk/>
            <pc:sldMk cId="2435104620" sldId="1098"/>
            <ac:spMk id="133" creationId="{B04BF20B-B310-4A36-BBD5-6286572EC36D}"/>
          </ac:spMkLst>
        </pc:spChg>
        <pc:cxnChg chg="add del">
          <ac:chgData name="Arjan van der Meer" userId="008f28a2-684e-4523-b3ca-dcb37d9c3e5d" providerId="ADAL" clId="{2B06979C-09FA-4ACE-9D1B-5392C9D6EE8C}" dt="2021-10-27T13:31:10.953" v="258" actId="478"/>
          <ac:cxnSpMkLst>
            <pc:docMk/>
            <pc:sldMk cId="2435104620" sldId="1098"/>
            <ac:cxnSpMk id="7" creationId="{786E7C68-34C1-4F95-90E1-635DF88C847F}"/>
          </ac:cxnSpMkLst>
        </pc:cxnChg>
        <pc:cxnChg chg="add del mod">
          <ac:chgData name="Arjan van der Meer" userId="008f28a2-684e-4523-b3ca-dcb37d9c3e5d" providerId="ADAL" clId="{2B06979C-09FA-4ACE-9D1B-5392C9D6EE8C}" dt="2021-10-28T09:21:27.268" v="1498" actId="478"/>
          <ac:cxnSpMkLst>
            <pc:docMk/>
            <pc:sldMk cId="2435104620" sldId="1098"/>
            <ac:cxnSpMk id="7" creationId="{EF52EE14-DED5-4E0B-A729-77A35B7A3D38}"/>
          </ac:cxnSpMkLst>
        </pc:cxnChg>
        <pc:cxnChg chg="add mod">
          <ac:chgData name="Arjan van der Meer" userId="008f28a2-684e-4523-b3ca-dcb37d9c3e5d" providerId="ADAL" clId="{2B06979C-09FA-4ACE-9D1B-5392C9D6EE8C}" dt="2021-10-28T09:25:30.785" v="1515" actId="1582"/>
          <ac:cxnSpMkLst>
            <pc:docMk/>
            <pc:sldMk cId="2435104620" sldId="1098"/>
            <ac:cxnSpMk id="9" creationId="{5DCFEDE2-C847-4BC3-80C7-5F7C3BBEC990}"/>
          </ac:cxnSpMkLst>
        </pc:cxnChg>
        <pc:cxnChg chg="del mod">
          <ac:chgData name="Arjan van der Meer" userId="008f28a2-684e-4523-b3ca-dcb37d9c3e5d" providerId="ADAL" clId="{2B06979C-09FA-4ACE-9D1B-5392C9D6EE8C}" dt="2021-10-27T13:30:28.876" v="252" actId="478"/>
          <ac:cxnSpMkLst>
            <pc:docMk/>
            <pc:sldMk cId="2435104620" sldId="1098"/>
            <ac:cxnSpMk id="9" creationId="{80481994-D2EB-45A0-8D5D-1B69E66E22EA}"/>
          </ac:cxnSpMkLst>
        </pc:cxnChg>
        <pc:cxnChg chg="add del">
          <ac:chgData name="Arjan van der Meer" userId="008f28a2-684e-4523-b3ca-dcb37d9c3e5d" providerId="ADAL" clId="{2B06979C-09FA-4ACE-9D1B-5392C9D6EE8C}" dt="2021-10-27T13:31:07.742" v="257" actId="478"/>
          <ac:cxnSpMkLst>
            <pc:docMk/>
            <pc:sldMk cId="2435104620" sldId="1098"/>
            <ac:cxnSpMk id="10" creationId="{1856AF35-FB37-435A-8BDA-52C5C4E984CD}"/>
          </ac:cxnSpMkLst>
        </pc:cxnChg>
        <pc:cxnChg chg="add del mod">
          <ac:chgData name="Arjan van der Meer" userId="008f28a2-684e-4523-b3ca-dcb37d9c3e5d" providerId="ADAL" clId="{2B06979C-09FA-4ACE-9D1B-5392C9D6EE8C}" dt="2021-10-27T13:31:28.985" v="261" actId="478"/>
          <ac:cxnSpMkLst>
            <pc:docMk/>
            <pc:sldMk cId="2435104620" sldId="1098"/>
            <ac:cxnSpMk id="12" creationId="{D4402932-B18A-448D-AFD4-BE847BFE6EDB}"/>
          </ac:cxnSpMkLst>
        </pc:cxnChg>
        <pc:cxnChg chg="add del mod">
          <ac:chgData name="Arjan van der Meer" userId="008f28a2-684e-4523-b3ca-dcb37d9c3e5d" providerId="ADAL" clId="{2B06979C-09FA-4ACE-9D1B-5392C9D6EE8C}" dt="2021-10-28T07:56:51.413" v="951" actId="478"/>
          <ac:cxnSpMkLst>
            <pc:docMk/>
            <pc:sldMk cId="2435104620" sldId="1098"/>
            <ac:cxnSpMk id="15" creationId="{1AD86A7C-638C-476A-8418-4E51FFE545F7}"/>
          </ac:cxnSpMkLst>
        </pc:cxnChg>
        <pc:cxnChg chg="add del mod">
          <ac:chgData name="Arjan van der Meer" userId="008f28a2-684e-4523-b3ca-dcb37d9c3e5d" providerId="ADAL" clId="{2B06979C-09FA-4ACE-9D1B-5392C9D6EE8C}" dt="2021-10-28T07:56:51.413" v="951" actId="478"/>
          <ac:cxnSpMkLst>
            <pc:docMk/>
            <pc:sldMk cId="2435104620" sldId="1098"/>
            <ac:cxnSpMk id="46" creationId="{D8DE0990-77FC-4066-862F-321102CECF69}"/>
          </ac:cxnSpMkLst>
        </pc:cxnChg>
        <pc:cxnChg chg="add del mod">
          <ac:chgData name="Arjan van der Meer" userId="008f28a2-684e-4523-b3ca-dcb37d9c3e5d" providerId="ADAL" clId="{2B06979C-09FA-4ACE-9D1B-5392C9D6EE8C}" dt="2021-10-28T07:56:51.413" v="951" actId="478"/>
          <ac:cxnSpMkLst>
            <pc:docMk/>
            <pc:sldMk cId="2435104620" sldId="1098"/>
            <ac:cxnSpMk id="47" creationId="{238C3EDC-E101-422C-9741-DEBC67E1AA3B}"/>
          </ac:cxnSpMkLst>
        </pc:cxnChg>
        <pc:cxnChg chg="add del mod">
          <ac:chgData name="Arjan van der Meer" userId="008f28a2-684e-4523-b3ca-dcb37d9c3e5d" providerId="ADAL" clId="{2B06979C-09FA-4ACE-9D1B-5392C9D6EE8C}" dt="2021-10-28T07:56:51.413" v="951" actId="478"/>
          <ac:cxnSpMkLst>
            <pc:docMk/>
            <pc:sldMk cId="2435104620" sldId="1098"/>
            <ac:cxnSpMk id="48" creationId="{FD8CEEE7-7D0A-4664-BFE7-F7A905DF2A07}"/>
          </ac:cxnSpMkLst>
        </pc:cxnChg>
        <pc:cxnChg chg="add del mod">
          <ac:chgData name="Arjan van der Meer" userId="008f28a2-684e-4523-b3ca-dcb37d9c3e5d" providerId="ADAL" clId="{2B06979C-09FA-4ACE-9D1B-5392C9D6EE8C}" dt="2021-10-28T07:56:51.413" v="951" actId="478"/>
          <ac:cxnSpMkLst>
            <pc:docMk/>
            <pc:sldMk cId="2435104620" sldId="1098"/>
            <ac:cxnSpMk id="55" creationId="{328CB029-BBF8-48F6-932A-8D6695C0C936}"/>
          </ac:cxnSpMkLst>
        </pc:cxnChg>
        <pc:cxnChg chg="add del mod">
          <ac:chgData name="Arjan van der Meer" userId="008f28a2-684e-4523-b3ca-dcb37d9c3e5d" providerId="ADAL" clId="{2B06979C-09FA-4ACE-9D1B-5392C9D6EE8C}" dt="2021-10-28T07:56:51.413" v="951" actId="478"/>
          <ac:cxnSpMkLst>
            <pc:docMk/>
            <pc:sldMk cId="2435104620" sldId="1098"/>
            <ac:cxnSpMk id="57" creationId="{8AB95C29-7667-4932-992B-1A43F76B6F7E}"/>
          </ac:cxnSpMkLst>
        </pc:cxnChg>
        <pc:cxnChg chg="add del mod">
          <ac:chgData name="Arjan van der Meer" userId="008f28a2-684e-4523-b3ca-dcb37d9c3e5d" providerId="ADAL" clId="{2B06979C-09FA-4ACE-9D1B-5392C9D6EE8C}" dt="2021-10-28T07:56:51.413" v="951" actId="478"/>
          <ac:cxnSpMkLst>
            <pc:docMk/>
            <pc:sldMk cId="2435104620" sldId="1098"/>
            <ac:cxnSpMk id="62" creationId="{EBB521FC-CF88-4C11-9B15-0FD64F55B787}"/>
          </ac:cxnSpMkLst>
        </pc:cxnChg>
        <pc:cxnChg chg="add del mod">
          <ac:chgData name="Arjan van der Meer" userId="008f28a2-684e-4523-b3ca-dcb37d9c3e5d" providerId="ADAL" clId="{2B06979C-09FA-4ACE-9D1B-5392C9D6EE8C}" dt="2021-10-28T09:21:27.268" v="1498" actId="478"/>
          <ac:cxnSpMkLst>
            <pc:docMk/>
            <pc:sldMk cId="2435104620" sldId="1098"/>
            <ac:cxnSpMk id="74" creationId="{C1913772-BA5D-4CB7-86B8-B2C689B4E42E}"/>
          </ac:cxnSpMkLst>
        </pc:cxnChg>
        <pc:cxnChg chg="add del mod">
          <ac:chgData name="Arjan van der Meer" userId="008f28a2-684e-4523-b3ca-dcb37d9c3e5d" providerId="ADAL" clId="{2B06979C-09FA-4ACE-9D1B-5392C9D6EE8C}" dt="2021-10-28T09:21:27.268" v="1498" actId="478"/>
          <ac:cxnSpMkLst>
            <pc:docMk/>
            <pc:sldMk cId="2435104620" sldId="1098"/>
            <ac:cxnSpMk id="75" creationId="{01E0E82C-C473-4AD4-B5C3-18186B024683}"/>
          </ac:cxnSpMkLst>
        </pc:cxnChg>
        <pc:cxnChg chg="add del mod">
          <ac:chgData name="Arjan van der Meer" userId="008f28a2-684e-4523-b3ca-dcb37d9c3e5d" providerId="ADAL" clId="{2B06979C-09FA-4ACE-9D1B-5392C9D6EE8C}" dt="2021-10-28T09:21:27.268" v="1498" actId="478"/>
          <ac:cxnSpMkLst>
            <pc:docMk/>
            <pc:sldMk cId="2435104620" sldId="1098"/>
            <ac:cxnSpMk id="76" creationId="{4646E2A2-C66F-4166-80FE-2B3E6B1DF0EA}"/>
          </ac:cxnSpMkLst>
        </pc:cxnChg>
        <pc:cxnChg chg="add del mod">
          <ac:chgData name="Arjan van der Meer" userId="008f28a2-684e-4523-b3ca-dcb37d9c3e5d" providerId="ADAL" clId="{2B06979C-09FA-4ACE-9D1B-5392C9D6EE8C}" dt="2021-10-28T09:21:27.268" v="1498" actId="478"/>
          <ac:cxnSpMkLst>
            <pc:docMk/>
            <pc:sldMk cId="2435104620" sldId="1098"/>
            <ac:cxnSpMk id="81" creationId="{8E5531DE-CA77-487B-98BB-CB2FFA86A0F8}"/>
          </ac:cxnSpMkLst>
        </pc:cxnChg>
        <pc:cxnChg chg="del mod">
          <ac:chgData name="Arjan van der Meer" userId="008f28a2-684e-4523-b3ca-dcb37d9c3e5d" providerId="ADAL" clId="{2B06979C-09FA-4ACE-9D1B-5392C9D6EE8C}" dt="2021-10-27T13:30:28.876" v="252" actId="478"/>
          <ac:cxnSpMkLst>
            <pc:docMk/>
            <pc:sldMk cId="2435104620" sldId="1098"/>
            <ac:cxnSpMk id="83" creationId="{4277BD9A-C377-468B-A661-67297092A84A}"/>
          </ac:cxnSpMkLst>
        </pc:cxnChg>
        <pc:cxnChg chg="add del mod">
          <ac:chgData name="Arjan van der Meer" userId="008f28a2-684e-4523-b3ca-dcb37d9c3e5d" providerId="ADAL" clId="{2B06979C-09FA-4ACE-9D1B-5392C9D6EE8C}" dt="2021-10-28T09:21:27.268" v="1498" actId="478"/>
          <ac:cxnSpMkLst>
            <pc:docMk/>
            <pc:sldMk cId="2435104620" sldId="1098"/>
            <ac:cxnSpMk id="83" creationId="{C747FE43-BD1E-4F7C-9BD4-0E728F0F3B30}"/>
          </ac:cxnSpMkLst>
        </pc:cxnChg>
        <pc:cxnChg chg="del mod">
          <ac:chgData name="Arjan van der Meer" userId="008f28a2-684e-4523-b3ca-dcb37d9c3e5d" providerId="ADAL" clId="{2B06979C-09FA-4ACE-9D1B-5392C9D6EE8C}" dt="2021-10-27T13:30:28.876" v="252" actId="478"/>
          <ac:cxnSpMkLst>
            <pc:docMk/>
            <pc:sldMk cId="2435104620" sldId="1098"/>
            <ac:cxnSpMk id="84" creationId="{F1815A4E-912B-4291-915F-BF0394E5C6EB}"/>
          </ac:cxnSpMkLst>
        </pc:cxnChg>
        <pc:cxnChg chg="del mod">
          <ac:chgData name="Arjan van der Meer" userId="008f28a2-684e-4523-b3ca-dcb37d9c3e5d" providerId="ADAL" clId="{2B06979C-09FA-4ACE-9D1B-5392C9D6EE8C}" dt="2021-10-27T13:30:28.876" v="252" actId="478"/>
          <ac:cxnSpMkLst>
            <pc:docMk/>
            <pc:sldMk cId="2435104620" sldId="1098"/>
            <ac:cxnSpMk id="85" creationId="{59F75A52-599C-4FF0-85AD-2CF1D30FD7D8}"/>
          </ac:cxnSpMkLst>
        </pc:cxnChg>
        <pc:cxnChg chg="add del mod">
          <ac:chgData name="Arjan van der Meer" userId="008f28a2-684e-4523-b3ca-dcb37d9c3e5d" providerId="ADAL" clId="{2B06979C-09FA-4ACE-9D1B-5392C9D6EE8C}" dt="2021-10-28T09:21:27.268" v="1498" actId="478"/>
          <ac:cxnSpMkLst>
            <pc:docMk/>
            <pc:sldMk cId="2435104620" sldId="1098"/>
            <ac:cxnSpMk id="87" creationId="{1CEDE34B-7861-42F3-8581-21160E22908A}"/>
          </ac:cxnSpMkLst>
        </pc:cxnChg>
        <pc:cxnChg chg="del">
          <ac:chgData name="Arjan van der Meer" userId="008f28a2-684e-4523-b3ca-dcb37d9c3e5d" providerId="ADAL" clId="{2B06979C-09FA-4ACE-9D1B-5392C9D6EE8C}" dt="2021-10-27T13:30:28.876" v="252" actId="478"/>
          <ac:cxnSpMkLst>
            <pc:docMk/>
            <pc:sldMk cId="2435104620" sldId="1098"/>
            <ac:cxnSpMk id="92" creationId="{9567D8D8-BA8F-4182-9094-8D7934E85770}"/>
          </ac:cxnSpMkLst>
        </pc:cxnChg>
        <pc:cxnChg chg="add del mod">
          <ac:chgData name="Arjan van der Meer" userId="008f28a2-684e-4523-b3ca-dcb37d9c3e5d" providerId="ADAL" clId="{2B06979C-09FA-4ACE-9D1B-5392C9D6EE8C}" dt="2021-10-28T09:21:27.268" v="1498" actId="478"/>
          <ac:cxnSpMkLst>
            <pc:docMk/>
            <pc:sldMk cId="2435104620" sldId="1098"/>
            <ac:cxnSpMk id="93" creationId="{A0B681F2-E08F-4811-99B0-4315AD663ED1}"/>
          </ac:cxnSpMkLst>
        </pc:cxnChg>
        <pc:cxnChg chg="del mod">
          <ac:chgData name="Arjan van der Meer" userId="008f28a2-684e-4523-b3ca-dcb37d9c3e5d" providerId="ADAL" clId="{2B06979C-09FA-4ACE-9D1B-5392C9D6EE8C}" dt="2021-10-27T13:30:28.876" v="252" actId="478"/>
          <ac:cxnSpMkLst>
            <pc:docMk/>
            <pc:sldMk cId="2435104620" sldId="1098"/>
            <ac:cxnSpMk id="93" creationId="{A33811C2-44C5-4B2B-ABB0-F1183074ED75}"/>
          </ac:cxnSpMkLst>
        </pc:cxnChg>
        <pc:cxnChg chg="mod">
          <ac:chgData name="Arjan van der Meer" userId="008f28a2-684e-4523-b3ca-dcb37d9c3e5d" providerId="ADAL" clId="{2B06979C-09FA-4ACE-9D1B-5392C9D6EE8C}" dt="2021-10-28T07:57:00.665" v="981" actId="1037"/>
          <ac:cxnSpMkLst>
            <pc:docMk/>
            <pc:sldMk cId="2435104620" sldId="1098"/>
            <ac:cxnSpMk id="98" creationId="{B2581B55-F228-4882-B29A-E9B2B7F9C1C4}"/>
          </ac:cxnSpMkLst>
        </pc:cxnChg>
        <pc:cxnChg chg="mod">
          <ac:chgData name="Arjan van der Meer" userId="008f28a2-684e-4523-b3ca-dcb37d9c3e5d" providerId="ADAL" clId="{2B06979C-09FA-4ACE-9D1B-5392C9D6EE8C}" dt="2021-10-28T07:57:00.665" v="981" actId="1037"/>
          <ac:cxnSpMkLst>
            <pc:docMk/>
            <pc:sldMk cId="2435104620" sldId="1098"/>
            <ac:cxnSpMk id="99" creationId="{535EAC64-488B-4113-915C-376CD8B4ADA5}"/>
          </ac:cxnSpMkLst>
        </pc:cxnChg>
        <pc:cxnChg chg="mod">
          <ac:chgData name="Arjan van der Meer" userId="008f28a2-684e-4523-b3ca-dcb37d9c3e5d" providerId="ADAL" clId="{2B06979C-09FA-4ACE-9D1B-5392C9D6EE8C}" dt="2021-10-28T07:57:00.665" v="981" actId="1037"/>
          <ac:cxnSpMkLst>
            <pc:docMk/>
            <pc:sldMk cId="2435104620" sldId="1098"/>
            <ac:cxnSpMk id="103" creationId="{6E70E93C-26BC-4797-94CE-DA021D83E357}"/>
          </ac:cxnSpMkLst>
        </pc:cxnChg>
        <pc:cxnChg chg="mod">
          <ac:chgData name="Arjan van der Meer" userId="008f28a2-684e-4523-b3ca-dcb37d9c3e5d" providerId="ADAL" clId="{2B06979C-09FA-4ACE-9D1B-5392C9D6EE8C}" dt="2021-10-28T07:57:00.665" v="981" actId="1037"/>
          <ac:cxnSpMkLst>
            <pc:docMk/>
            <pc:sldMk cId="2435104620" sldId="1098"/>
            <ac:cxnSpMk id="104" creationId="{368616DD-6F5B-4E6C-9FC5-F6F5218FBC8F}"/>
          </ac:cxnSpMkLst>
        </pc:cxnChg>
        <pc:cxnChg chg="mod">
          <ac:chgData name="Arjan van der Meer" userId="008f28a2-684e-4523-b3ca-dcb37d9c3e5d" providerId="ADAL" clId="{2B06979C-09FA-4ACE-9D1B-5392C9D6EE8C}" dt="2021-10-28T07:57:00.665" v="981" actId="1037"/>
          <ac:cxnSpMkLst>
            <pc:docMk/>
            <pc:sldMk cId="2435104620" sldId="1098"/>
            <ac:cxnSpMk id="105" creationId="{30754E02-B119-4044-92C3-E839E08A4414}"/>
          </ac:cxnSpMkLst>
        </pc:cxnChg>
        <pc:cxnChg chg="add mod">
          <ac:chgData name="Arjan van der Meer" userId="008f28a2-684e-4523-b3ca-dcb37d9c3e5d" providerId="ADAL" clId="{2B06979C-09FA-4ACE-9D1B-5392C9D6EE8C}" dt="2021-10-28T09:21:28.292" v="1499"/>
          <ac:cxnSpMkLst>
            <pc:docMk/>
            <pc:sldMk cId="2435104620" sldId="1098"/>
            <ac:cxnSpMk id="113" creationId="{23E429E2-1979-4444-9D2A-CB4407BAAB6C}"/>
          </ac:cxnSpMkLst>
        </pc:cxnChg>
        <pc:cxnChg chg="add mod">
          <ac:chgData name="Arjan van der Meer" userId="008f28a2-684e-4523-b3ca-dcb37d9c3e5d" providerId="ADAL" clId="{2B06979C-09FA-4ACE-9D1B-5392C9D6EE8C}" dt="2021-10-28T09:21:28.292" v="1499"/>
          <ac:cxnSpMkLst>
            <pc:docMk/>
            <pc:sldMk cId="2435104620" sldId="1098"/>
            <ac:cxnSpMk id="114" creationId="{095125F4-07BF-4E61-868E-5E0C24F2DAD0}"/>
          </ac:cxnSpMkLst>
        </pc:cxnChg>
        <pc:cxnChg chg="add mod">
          <ac:chgData name="Arjan van der Meer" userId="008f28a2-684e-4523-b3ca-dcb37d9c3e5d" providerId="ADAL" clId="{2B06979C-09FA-4ACE-9D1B-5392C9D6EE8C}" dt="2021-10-28T09:21:28.292" v="1499"/>
          <ac:cxnSpMkLst>
            <pc:docMk/>
            <pc:sldMk cId="2435104620" sldId="1098"/>
            <ac:cxnSpMk id="115" creationId="{83CEB723-01FF-485A-B78B-89D81C1B3656}"/>
          </ac:cxnSpMkLst>
        </pc:cxnChg>
        <pc:cxnChg chg="add mod">
          <ac:chgData name="Arjan van der Meer" userId="008f28a2-684e-4523-b3ca-dcb37d9c3e5d" providerId="ADAL" clId="{2B06979C-09FA-4ACE-9D1B-5392C9D6EE8C}" dt="2021-10-28T09:21:28.292" v="1499"/>
          <ac:cxnSpMkLst>
            <pc:docMk/>
            <pc:sldMk cId="2435104620" sldId="1098"/>
            <ac:cxnSpMk id="120" creationId="{1EA7EE29-923E-4967-B28B-C260AC3DF6DF}"/>
          </ac:cxnSpMkLst>
        </pc:cxnChg>
        <pc:cxnChg chg="add mod">
          <ac:chgData name="Arjan van der Meer" userId="008f28a2-684e-4523-b3ca-dcb37d9c3e5d" providerId="ADAL" clId="{2B06979C-09FA-4ACE-9D1B-5392C9D6EE8C}" dt="2021-10-28T09:21:28.292" v="1499"/>
          <ac:cxnSpMkLst>
            <pc:docMk/>
            <pc:sldMk cId="2435104620" sldId="1098"/>
            <ac:cxnSpMk id="122" creationId="{546791DB-8AF6-4E5B-B56C-DA94C9FDBE6C}"/>
          </ac:cxnSpMkLst>
        </pc:cxnChg>
        <pc:cxnChg chg="add mod">
          <ac:chgData name="Arjan van der Meer" userId="008f28a2-684e-4523-b3ca-dcb37d9c3e5d" providerId="ADAL" clId="{2B06979C-09FA-4ACE-9D1B-5392C9D6EE8C}" dt="2021-10-28T09:21:28.292" v="1499"/>
          <ac:cxnSpMkLst>
            <pc:docMk/>
            <pc:sldMk cId="2435104620" sldId="1098"/>
            <ac:cxnSpMk id="126" creationId="{9F1762FE-B052-4599-A8AD-2F2A386E42D4}"/>
          </ac:cxnSpMkLst>
        </pc:cxnChg>
        <pc:cxnChg chg="add mod">
          <ac:chgData name="Arjan van der Meer" userId="008f28a2-684e-4523-b3ca-dcb37d9c3e5d" providerId="ADAL" clId="{2B06979C-09FA-4ACE-9D1B-5392C9D6EE8C}" dt="2021-10-28T09:21:28.292" v="1499"/>
          <ac:cxnSpMkLst>
            <pc:docMk/>
            <pc:sldMk cId="2435104620" sldId="1098"/>
            <ac:cxnSpMk id="132" creationId="{9B8AAD35-758C-49F3-9385-1578AA6AA371}"/>
          </ac:cxnSpMkLst>
        </pc:cxnChg>
      </pc:sldChg>
      <pc:sldChg chg="addSp delSp modSp mod">
        <pc:chgData name="Arjan van der Meer" userId="008f28a2-684e-4523-b3ca-dcb37d9c3e5d" providerId="ADAL" clId="{2B06979C-09FA-4ACE-9D1B-5392C9D6EE8C}" dt="2021-10-27T14:10:29.914" v="780" actId="20577"/>
        <pc:sldMkLst>
          <pc:docMk/>
          <pc:sldMk cId="3385077853" sldId="1108"/>
        </pc:sldMkLst>
        <pc:spChg chg="mod">
          <ac:chgData name="Arjan van der Meer" userId="008f28a2-684e-4523-b3ca-dcb37d9c3e5d" providerId="ADAL" clId="{2B06979C-09FA-4ACE-9D1B-5392C9D6EE8C}" dt="2021-10-27T14:10:29.914" v="780" actId="20577"/>
          <ac:spMkLst>
            <pc:docMk/>
            <pc:sldMk cId="3385077853" sldId="1108"/>
            <ac:spMk id="2" creationId="{53CB77FA-CF1B-4B0E-A304-10CE6620EE56}"/>
          </ac:spMkLst>
        </pc:spChg>
        <pc:spChg chg="mod">
          <ac:chgData name="Arjan van der Meer" userId="008f28a2-684e-4523-b3ca-dcb37d9c3e5d" providerId="ADAL" clId="{2B06979C-09FA-4ACE-9D1B-5392C9D6EE8C}" dt="2021-10-27T14:09:45.693" v="724" actId="1076"/>
          <ac:spMkLst>
            <pc:docMk/>
            <pc:sldMk cId="3385077853" sldId="1108"/>
            <ac:spMk id="17" creationId="{6B8B1B31-0262-4A85-AF84-B56C12108DB4}"/>
          </ac:spMkLst>
        </pc:spChg>
        <pc:spChg chg="del">
          <ac:chgData name="Arjan van der Meer" userId="008f28a2-684e-4523-b3ca-dcb37d9c3e5d" providerId="ADAL" clId="{2B06979C-09FA-4ACE-9D1B-5392C9D6EE8C}" dt="2021-10-27T14:05:34.917" v="687" actId="478"/>
          <ac:spMkLst>
            <pc:docMk/>
            <pc:sldMk cId="3385077853" sldId="1108"/>
            <ac:spMk id="23" creationId="{7B928710-CFEA-4C93-8E4E-B0BA78976132}"/>
          </ac:spMkLst>
        </pc:spChg>
        <pc:spChg chg="del">
          <ac:chgData name="Arjan van der Meer" userId="008f28a2-684e-4523-b3ca-dcb37d9c3e5d" providerId="ADAL" clId="{2B06979C-09FA-4ACE-9D1B-5392C9D6EE8C}" dt="2021-10-27T14:05:34.917" v="687" actId="478"/>
          <ac:spMkLst>
            <pc:docMk/>
            <pc:sldMk cId="3385077853" sldId="1108"/>
            <ac:spMk id="24" creationId="{48D9ABD7-7264-4594-B970-644D9D2572F6}"/>
          </ac:spMkLst>
        </pc:spChg>
        <pc:spChg chg="del">
          <ac:chgData name="Arjan van der Meer" userId="008f28a2-684e-4523-b3ca-dcb37d9c3e5d" providerId="ADAL" clId="{2B06979C-09FA-4ACE-9D1B-5392C9D6EE8C}" dt="2021-10-27T14:05:34.917" v="687" actId="478"/>
          <ac:spMkLst>
            <pc:docMk/>
            <pc:sldMk cId="3385077853" sldId="1108"/>
            <ac:spMk id="25" creationId="{E556E4FF-D9FD-4837-9246-0BDD414DD379}"/>
          </ac:spMkLst>
        </pc:spChg>
        <pc:spChg chg="del">
          <ac:chgData name="Arjan van der Meer" userId="008f28a2-684e-4523-b3ca-dcb37d9c3e5d" providerId="ADAL" clId="{2B06979C-09FA-4ACE-9D1B-5392C9D6EE8C}" dt="2021-10-27T14:05:34.917" v="687" actId="478"/>
          <ac:spMkLst>
            <pc:docMk/>
            <pc:sldMk cId="3385077853" sldId="1108"/>
            <ac:spMk id="43" creationId="{612C57C5-C3FD-4AEA-AFAC-2BEBFF75A352}"/>
          </ac:spMkLst>
        </pc:spChg>
        <pc:spChg chg="del">
          <ac:chgData name="Arjan van der Meer" userId="008f28a2-684e-4523-b3ca-dcb37d9c3e5d" providerId="ADAL" clId="{2B06979C-09FA-4ACE-9D1B-5392C9D6EE8C}" dt="2021-10-27T14:05:34.917" v="687" actId="478"/>
          <ac:spMkLst>
            <pc:docMk/>
            <pc:sldMk cId="3385077853" sldId="1108"/>
            <ac:spMk id="44" creationId="{E5069FFA-849E-4BA4-9473-7F1CE922EF2F}"/>
          </ac:spMkLst>
        </pc:spChg>
        <pc:spChg chg="del">
          <ac:chgData name="Arjan van der Meer" userId="008f28a2-684e-4523-b3ca-dcb37d9c3e5d" providerId="ADAL" clId="{2B06979C-09FA-4ACE-9D1B-5392C9D6EE8C}" dt="2021-10-27T14:05:34.917" v="687" actId="478"/>
          <ac:spMkLst>
            <pc:docMk/>
            <pc:sldMk cId="3385077853" sldId="1108"/>
            <ac:spMk id="45" creationId="{EEE96D66-0D38-47E6-9E79-47E159DAAF1A}"/>
          </ac:spMkLst>
        </pc:spChg>
        <pc:spChg chg="del">
          <ac:chgData name="Arjan van der Meer" userId="008f28a2-684e-4523-b3ca-dcb37d9c3e5d" providerId="ADAL" clId="{2B06979C-09FA-4ACE-9D1B-5392C9D6EE8C}" dt="2021-10-27T14:05:34.917" v="687" actId="478"/>
          <ac:spMkLst>
            <pc:docMk/>
            <pc:sldMk cId="3385077853" sldId="1108"/>
            <ac:spMk id="46" creationId="{816C7730-AB87-4611-AAF6-2DB6A7B7CC88}"/>
          </ac:spMkLst>
        </pc:spChg>
        <pc:spChg chg="del">
          <ac:chgData name="Arjan van der Meer" userId="008f28a2-684e-4523-b3ca-dcb37d9c3e5d" providerId="ADAL" clId="{2B06979C-09FA-4ACE-9D1B-5392C9D6EE8C}" dt="2021-10-27T14:05:34.917" v="687" actId="478"/>
          <ac:spMkLst>
            <pc:docMk/>
            <pc:sldMk cId="3385077853" sldId="1108"/>
            <ac:spMk id="47" creationId="{4CA176E9-1CB4-4217-A72F-FB73A0959F9F}"/>
          </ac:spMkLst>
        </pc:spChg>
        <pc:spChg chg="del">
          <ac:chgData name="Arjan van der Meer" userId="008f28a2-684e-4523-b3ca-dcb37d9c3e5d" providerId="ADAL" clId="{2B06979C-09FA-4ACE-9D1B-5392C9D6EE8C}" dt="2021-10-27T14:05:34.917" v="687" actId="478"/>
          <ac:spMkLst>
            <pc:docMk/>
            <pc:sldMk cId="3385077853" sldId="1108"/>
            <ac:spMk id="48" creationId="{EC47B659-3763-453D-B857-EC9F829B5BC3}"/>
          </ac:spMkLst>
        </pc:spChg>
        <pc:spChg chg="del">
          <ac:chgData name="Arjan van der Meer" userId="008f28a2-684e-4523-b3ca-dcb37d9c3e5d" providerId="ADAL" clId="{2B06979C-09FA-4ACE-9D1B-5392C9D6EE8C}" dt="2021-10-27T14:05:34.917" v="687" actId="478"/>
          <ac:spMkLst>
            <pc:docMk/>
            <pc:sldMk cId="3385077853" sldId="1108"/>
            <ac:spMk id="49" creationId="{6EA8BC74-6012-4D65-A66B-05786ED0F00B}"/>
          </ac:spMkLst>
        </pc:spChg>
        <pc:spChg chg="del">
          <ac:chgData name="Arjan van der Meer" userId="008f28a2-684e-4523-b3ca-dcb37d9c3e5d" providerId="ADAL" clId="{2B06979C-09FA-4ACE-9D1B-5392C9D6EE8C}" dt="2021-10-27T14:05:34.917" v="687" actId="478"/>
          <ac:spMkLst>
            <pc:docMk/>
            <pc:sldMk cId="3385077853" sldId="1108"/>
            <ac:spMk id="50" creationId="{3B87FBEB-1F4B-46FE-BFA4-1A1B44E76407}"/>
          </ac:spMkLst>
        </pc:spChg>
        <pc:spChg chg="del">
          <ac:chgData name="Arjan van der Meer" userId="008f28a2-684e-4523-b3ca-dcb37d9c3e5d" providerId="ADAL" clId="{2B06979C-09FA-4ACE-9D1B-5392C9D6EE8C}" dt="2021-10-27T14:05:34.917" v="687" actId="478"/>
          <ac:spMkLst>
            <pc:docMk/>
            <pc:sldMk cId="3385077853" sldId="1108"/>
            <ac:spMk id="51" creationId="{ABED5051-E556-4DEB-BD67-B61E160BB524}"/>
          </ac:spMkLst>
        </pc:spChg>
        <pc:spChg chg="del">
          <ac:chgData name="Arjan van der Meer" userId="008f28a2-684e-4523-b3ca-dcb37d9c3e5d" providerId="ADAL" clId="{2B06979C-09FA-4ACE-9D1B-5392C9D6EE8C}" dt="2021-10-27T14:05:34.917" v="687" actId="478"/>
          <ac:spMkLst>
            <pc:docMk/>
            <pc:sldMk cId="3385077853" sldId="1108"/>
            <ac:spMk id="52" creationId="{6BF31AE1-CE56-4607-AF74-01BE3587081D}"/>
          </ac:spMkLst>
        </pc:spChg>
        <pc:spChg chg="del">
          <ac:chgData name="Arjan van der Meer" userId="008f28a2-684e-4523-b3ca-dcb37d9c3e5d" providerId="ADAL" clId="{2B06979C-09FA-4ACE-9D1B-5392C9D6EE8C}" dt="2021-10-27T14:05:34.917" v="687" actId="478"/>
          <ac:spMkLst>
            <pc:docMk/>
            <pc:sldMk cId="3385077853" sldId="1108"/>
            <ac:spMk id="53" creationId="{8B6F1395-B070-43A9-BA99-E60CA023686C}"/>
          </ac:spMkLst>
        </pc:spChg>
        <pc:spChg chg="del">
          <ac:chgData name="Arjan van der Meer" userId="008f28a2-684e-4523-b3ca-dcb37d9c3e5d" providerId="ADAL" clId="{2B06979C-09FA-4ACE-9D1B-5392C9D6EE8C}" dt="2021-10-27T14:05:34.917" v="687" actId="478"/>
          <ac:spMkLst>
            <pc:docMk/>
            <pc:sldMk cId="3385077853" sldId="1108"/>
            <ac:spMk id="54" creationId="{1CBCF7D9-7F19-4D92-8E16-4A7E4A26F631}"/>
          </ac:spMkLst>
        </pc:spChg>
        <pc:spChg chg="del">
          <ac:chgData name="Arjan van der Meer" userId="008f28a2-684e-4523-b3ca-dcb37d9c3e5d" providerId="ADAL" clId="{2B06979C-09FA-4ACE-9D1B-5392C9D6EE8C}" dt="2021-10-27T14:05:34.917" v="687" actId="478"/>
          <ac:spMkLst>
            <pc:docMk/>
            <pc:sldMk cId="3385077853" sldId="1108"/>
            <ac:spMk id="55" creationId="{6900E034-B2C4-4FB1-A4FB-3726A37CF0F0}"/>
          </ac:spMkLst>
        </pc:spChg>
        <pc:spChg chg="del">
          <ac:chgData name="Arjan van der Meer" userId="008f28a2-684e-4523-b3ca-dcb37d9c3e5d" providerId="ADAL" clId="{2B06979C-09FA-4ACE-9D1B-5392C9D6EE8C}" dt="2021-10-27T14:05:34.917" v="687" actId="478"/>
          <ac:spMkLst>
            <pc:docMk/>
            <pc:sldMk cId="3385077853" sldId="1108"/>
            <ac:spMk id="56" creationId="{21DA479D-3C31-4776-9981-576F6F930F62}"/>
          </ac:spMkLst>
        </pc:spChg>
        <pc:spChg chg="del">
          <ac:chgData name="Arjan van der Meer" userId="008f28a2-684e-4523-b3ca-dcb37d9c3e5d" providerId="ADAL" clId="{2B06979C-09FA-4ACE-9D1B-5392C9D6EE8C}" dt="2021-10-27T14:05:34.917" v="687" actId="478"/>
          <ac:spMkLst>
            <pc:docMk/>
            <pc:sldMk cId="3385077853" sldId="1108"/>
            <ac:spMk id="57" creationId="{38EB5E1C-FEA8-4B93-A5EF-232FEBE6B8E1}"/>
          </ac:spMkLst>
        </pc:spChg>
        <pc:spChg chg="del">
          <ac:chgData name="Arjan van der Meer" userId="008f28a2-684e-4523-b3ca-dcb37d9c3e5d" providerId="ADAL" clId="{2B06979C-09FA-4ACE-9D1B-5392C9D6EE8C}" dt="2021-10-27T14:05:34.917" v="687" actId="478"/>
          <ac:spMkLst>
            <pc:docMk/>
            <pc:sldMk cId="3385077853" sldId="1108"/>
            <ac:spMk id="58" creationId="{ECD1B08B-245D-46B1-AED9-616831266093}"/>
          </ac:spMkLst>
        </pc:spChg>
        <pc:spChg chg="del">
          <ac:chgData name="Arjan van der Meer" userId="008f28a2-684e-4523-b3ca-dcb37d9c3e5d" providerId="ADAL" clId="{2B06979C-09FA-4ACE-9D1B-5392C9D6EE8C}" dt="2021-10-27T14:05:34.917" v="687" actId="478"/>
          <ac:spMkLst>
            <pc:docMk/>
            <pc:sldMk cId="3385077853" sldId="1108"/>
            <ac:spMk id="59" creationId="{9B632230-2158-4DCA-84E9-87BD563DD015}"/>
          </ac:spMkLst>
        </pc:spChg>
        <pc:spChg chg="del">
          <ac:chgData name="Arjan van der Meer" userId="008f28a2-684e-4523-b3ca-dcb37d9c3e5d" providerId="ADAL" clId="{2B06979C-09FA-4ACE-9D1B-5392C9D6EE8C}" dt="2021-10-27T14:05:34.917" v="687" actId="478"/>
          <ac:spMkLst>
            <pc:docMk/>
            <pc:sldMk cId="3385077853" sldId="1108"/>
            <ac:spMk id="60" creationId="{7E6CDC38-72DB-41AC-B19A-8753615EA670}"/>
          </ac:spMkLst>
        </pc:spChg>
        <pc:spChg chg="del">
          <ac:chgData name="Arjan van der Meer" userId="008f28a2-684e-4523-b3ca-dcb37d9c3e5d" providerId="ADAL" clId="{2B06979C-09FA-4ACE-9D1B-5392C9D6EE8C}" dt="2021-10-27T14:05:34.917" v="687" actId="478"/>
          <ac:spMkLst>
            <pc:docMk/>
            <pc:sldMk cId="3385077853" sldId="1108"/>
            <ac:spMk id="61" creationId="{B6D9D146-44B6-4C3D-8792-0E236F709A4F}"/>
          </ac:spMkLst>
        </pc:spChg>
        <pc:spChg chg="add del mod">
          <ac:chgData name="Arjan van der Meer" userId="008f28a2-684e-4523-b3ca-dcb37d9c3e5d" providerId="ADAL" clId="{2B06979C-09FA-4ACE-9D1B-5392C9D6EE8C}" dt="2021-10-27T14:07:22.662" v="711" actId="478"/>
          <ac:spMkLst>
            <pc:docMk/>
            <pc:sldMk cId="3385077853" sldId="1108"/>
            <ac:spMk id="62" creationId="{F3CEEFA9-41E7-4DF0-AE0E-38F9FAB9AD6B}"/>
          </ac:spMkLst>
        </pc:spChg>
        <pc:spChg chg="del">
          <ac:chgData name="Arjan van der Meer" userId="008f28a2-684e-4523-b3ca-dcb37d9c3e5d" providerId="ADAL" clId="{2B06979C-09FA-4ACE-9D1B-5392C9D6EE8C}" dt="2021-10-27T14:05:34.917" v="687" actId="478"/>
          <ac:spMkLst>
            <pc:docMk/>
            <pc:sldMk cId="3385077853" sldId="1108"/>
            <ac:spMk id="63" creationId="{29840CFB-7BAF-46F5-9F7E-A7BB349F2C97}"/>
          </ac:spMkLst>
        </pc:spChg>
        <pc:spChg chg="del">
          <ac:chgData name="Arjan van der Meer" userId="008f28a2-684e-4523-b3ca-dcb37d9c3e5d" providerId="ADAL" clId="{2B06979C-09FA-4ACE-9D1B-5392C9D6EE8C}" dt="2021-10-27T14:05:34.917" v="687" actId="478"/>
          <ac:spMkLst>
            <pc:docMk/>
            <pc:sldMk cId="3385077853" sldId="1108"/>
            <ac:spMk id="64" creationId="{213DC8BF-D902-4576-AA95-EA3BA35FC62D}"/>
          </ac:spMkLst>
        </pc:spChg>
        <pc:spChg chg="del">
          <ac:chgData name="Arjan van der Meer" userId="008f28a2-684e-4523-b3ca-dcb37d9c3e5d" providerId="ADAL" clId="{2B06979C-09FA-4ACE-9D1B-5392C9D6EE8C}" dt="2021-10-27T14:05:34.917" v="687" actId="478"/>
          <ac:spMkLst>
            <pc:docMk/>
            <pc:sldMk cId="3385077853" sldId="1108"/>
            <ac:spMk id="66" creationId="{822E3748-69C1-4EF9-995D-D3710AD58186}"/>
          </ac:spMkLst>
        </pc:spChg>
        <pc:spChg chg="del">
          <ac:chgData name="Arjan van der Meer" userId="008f28a2-684e-4523-b3ca-dcb37d9c3e5d" providerId="ADAL" clId="{2B06979C-09FA-4ACE-9D1B-5392C9D6EE8C}" dt="2021-10-27T14:05:34.917" v="687" actId="478"/>
          <ac:spMkLst>
            <pc:docMk/>
            <pc:sldMk cId="3385077853" sldId="1108"/>
            <ac:spMk id="67" creationId="{1EA5AF2F-C784-4F93-951D-F67CF68D92BD}"/>
          </ac:spMkLst>
        </pc:spChg>
        <pc:spChg chg="add del mod">
          <ac:chgData name="Arjan van der Meer" userId="008f28a2-684e-4523-b3ca-dcb37d9c3e5d" providerId="ADAL" clId="{2B06979C-09FA-4ACE-9D1B-5392C9D6EE8C}" dt="2021-10-27T14:07:22.662" v="711" actId="478"/>
          <ac:spMkLst>
            <pc:docMk/>
            <pc:sldMk cId="3385077853" sldId="1108"/>
            <ac:spMk id="69" creationId="{34454477-19E2-45DF-8E0F-D468B30DF4C8}"/>
          </ac:spMkLst>
        </pc:spChg>
        <pc:spChg chg="add del mod">
          <ac:chgData name="Arjan van der Meer" userId="008f28a2-684e-4523-b3ca-dcb37d9c3e5d" providerId="ADAL" clId="{2B06979C-09FA-4ACE-9D1B-5392C9D6EE8C}" dt="2021-10-27T14:07:22.662" v="711" actId="478"/>
          <ac:spMkLst>
            <pc:docMk/>
            <pc:sldMk cId="3385077853" sldId="1108"/>
            <ac:spMk id="74" creationId="{2B313830-9A69-417C-806C-2B14CB30F65A}"/>
          </ac:spMkLst>
        </pc:spChg>
        <pc:spChg chg="add del mod">
          <ac:chgData name="Arjan van der Meer" userId="008f28a2-684e-4523-b3ca-dcb37d9c3e5d" providerId="ADAL" clId="{2B06979C-09FA-4ACE-9D1B-5392C9D6EE8C}" dt="2021-10-27T14:07:22.662" v="711" actId="478"/>
          <ac:spMkLst>
            <pc:docMk/>
            <pc:sldMk cId="3385077853" sldId="1108"/>
            <ac:spMk id="75" creationId="{61104AAE-EDA1-47D7-B217-483269103EF1}"/>
          </ac:spMkLst>
        </pc:spChg>
        <pc:spChg chg="add del mod">
          <ac:chgData name="Arjan van der Meer" userId="008f28a2-684e-4523-b3ca-dcb37d9c3e5d" providerId="ADAL" clId="{2B06979C-09FA-4ACE-9D1B-5392C9D6EE8C}" dt="2021-10-27T14:07:22.662" v="711" actId="478"/>
          <ac:spMkLst>
            <pc:docMk/>
            <pc:sldMk cId="3385077853" sldId="1108"/>
            <ac:spMk id="76" creationId="{5161AEDC-C061-4FCD-B18B-41C7C22C5EE3}"/>
          </ac:spMkLst>
        </pc:spChg>
        <pc:spChg chg="add del mod">
          <ac:chgData name="Arjan van der Meer" userId="008f28a2-684e-4523-b3ca-dcb37d9c3e5d" providerId="ADAL" clId="{2B06979C-09FA-4ACE-9D1B-5392C9D6EE8C}" dt="2021-10-27T14:07:22.662" v="711" actId="478"/>
          <ac:spMkLst>
            <pc:docMk/>
            <pc:sldMk cId="3385077853" sldId="1108"/>
            <ac:spMk id="77" creationId="{D8F59220-F7B6-411E-8745-37FEBA93751F}"/>
          </ac:spMkLst>
        </pc:spChg>
        <pc:spChg chg="add del mod">
          <ac:chgData name="Arjan van der Meer" userId="008f28a2-684e-4523-b3ca-dcb37d9c3e5d" providerId="ADAL" clId="{2B06979C-09FA-4ACE-9D1B-5392C9D6EE8C}" dt="2021-10-27T14:07:22.662" v="711" actId="478"/>
          <ac:spMkLst>
            <pc:docMk/>
            <pc:sldMk cId="3385077853" sldId="1108"/>
            <ac:spMk id="78" creationId="{1B93D1E7-049E-421B-AA0E-99CE104A4B76}"/>
          </ac:spMkLst>
        </pc:spChg>
        <pc:spChg chg="add del mod">
          <ac:chgData name="Arjan van der Meer" userId="008f28a2-684e-4523-b3ca-dcb37d9c3e5d" providerId="ADAL" clId="{2B06979C-09FA-4ACE-9D1B-5392C9D6EE8C}" dt="2021-10-27T14:07:22.662" v="711" actId="478"/>
          <ac:spMkLst>
            <pc:docMk/>
            <pc:sldMk cId="3385077853" sldId="1108"/>
            <ac:spMk id="79" creationId="{3B9256F8-6B32-4B9C-9846-862D4A49EF6C}"/>
          </ac:spMkLst>
        </pc:spChg>
        <pc:spChg chg="add del mod">
          <ac:chgData name="Arjan van der Meer" userId="008f28a2-684e-4523-b3ca-dcb37d9c3e5d" providerId="ADAL" clId="{2B06979C-09FA-4ACE-9D1B-5392C9D6EE8C}" dt="2021-10-27T14:07:22.662" v="711" actId="478"/>
          <ac:spMkLst>
            <pc:docMk/>
            <pc:sldMk cId="3385077853" sldId="1108"/>
            <ac:spMk id="80" creationId="{B4FA9128-AB85-47E4-8C33-E85508D6CF8B}"/>
          </ac:spMkLst>
        </pc:spChg>
        <pc:spChg chg="del">
          <ac:chgData name="Arjan van der Meer" userId="008f28a2-684e-4523-b3ca-dcb37d9c3e5d" providerId="ADAL" clId="{2B06979C-09FA-4ACE-9D1B-5392C9D6EE8C}" dt="2021-10-27T14:05:34.917" v="687" actId="478"/>
          <ac:spMkLst>
            <pc:docMk/>
            <pc:sldMk cId="3385077853" sldId="1108"/>
            <ac:spMk id="81" creationId="{FCA63C88-F6AF-4A3F-9DAF-05EFF0212178}"/>
          </ac:spMkLst>
        </pc:spChg>
        <pc:spChg chg="add del mod">
          <ac:chgData name="Arjan van der Meer" userId="008f28a2-684e-4523-b3ca-dcb37d9c3e5d" providerId="ADAL" clId="{2B06979C-09FA-4ACE-9D1B-5392C9D6EE8C}" dt="2021-10-27T14:07:22.662" v="711" actId="478"/>
          <ac:spMkLst>
            <pc:docMk/>
            <pc:sldMk cId="3385077853" sldId="1108"/>
            <ac:spMk id="82" creationId="{B875F7C4-3CF2-4917-ACB5-55553FC9CDA3}"/>
          </ac:spMkLst>
        </pc:spChg>
        <pc:spChg chg="add del mod">
          <ac:chgData name="Arjan van der Meer" userId="008f28a2-684e-4523-b3ca-dcb37d9c3e5d" providerId="ADAL" clId="{2B06979C-09FA-4ACE-9D1B-5392C9D6EE8C}" dt="2021-10-27T14:07:22.662" v="711" actId="478"/>
          <ac:spMkLst>
            <pc:docMk/>
            <pc:sldMk cId="3385077853" sldId="1108"/>
            <ac:spMk id="86" creationId="{269D8B87-B3F0-476A-B3CD-35F4EABAD50A}"/>
          </ac:spMkLst>
        </pc:spChg>
        <pc:spChg chg="add del mod">
          <ac:chgData name="Arjan van der Meer" userId="008f28a2-684e-4523-b3ca-dcb37d9c3e5d" providerId="ADAL" clId="{2B06979C-09FA-4ACE-9D1B-5392C9D6EE8C}" dt="2021-10-27T14:07:22.662" v="711" actId="478"/>
          <ac:spMkLst>
            <pc:docMk/>
            <pc:sldMk cId="3385077853" sldId="1108"/>
            <ac:spMk id="89" creationId="{B54D844B-A888-40DD-9966-A3E0F8684FC2}"/>
          </ac:spMkLst>
        </pc:spChg>
        <pc:spChg chg="add del mod">
          <ac:chgData name="Arjan van der Meer" userId="008f28a2-684e-4523-b3ca-dcb37d9c3e5d" providerId="ADAL" clId="{2B06979C-09FA-4ACE-9D1B-5392C9D6EE8C}" dt="2021-10-27T14:07:22.662" v="711" actId="478"/>
          <ac:spMkLst>
            <pc:docMk/>
            <pc:sldMk cId="3385077853" sldId="1108"/>
            <ac:spMk id="90" creationId="{B3085430-BCAC-490F-A24A-8A0ADD4F5EB4}"/>
          </ac:spMkLst>
        </pc:spChg>
        <pc:spChg chg="add del mod">
          <ac:chgData name="Arjan van der Meer" userId="008f28a2-684e-4523-b3ca-dcb37d9c3e5d" providerId="ADAL" clId="{2B06979C-09FA-4ACE-9D1B-5392C9D6EE8C}" dt="2021-10-27T14:07:22.662" v="711" actId="478"/>
          <ac:spMkLst>
            <pc:docMk/>
            <pc:sldMk cId="3385077853" sldId="1108"/>
            <ac:spMk id="92" creationId="{E2C5491D-11E8-43C4-A463-A1F7E4CDC9CA}"/>
          </ac:spMkLst>
        </pc:spChg>
        <pc:spChg chg="add del mod">
          <ac:chgData name="Arjan van der Meer" userId="008f28a2-684e-4523-b3ca-dcb37d9c3e5d" providerId="ADAL" clId="{2B06979C-09FA-4ACE-9D1B-5392C9D6EE8C}" dt="2021-10-27T14:07:22.662" v="711" actId="478"/>
          <ac:spMkLst>
            <pc:docMk/>
            <pc:sldMk cId="3385077853" sldId="1108"/>
            <ac:spMk id="93" creationId="{F716956F-D19F-4BB1-87CB-721E431B1B0C}"/>
          </ac:spMkLst>
        </pc:spChg>
        <pc:spChg chg="add del mod">
          <ac:chgData name="Arjan van der Meer" userId="008f28a2-684e-4523-b3ca-dcb37d9c3e5d" providerId="ADAL" clId="{2B06979C-09FA-4ACE-9D1B-5392C9D6EE8C}" dt="2021-10-27T14:07:22.662" v="711" actId="478"/>
          <ac:spMkLst>
            <pc:docMk/>
            <pc:sldMk cId="3385077853" sldId="1108"/>
            <ac:spMk id="94" creationId="{FDE0136C-EC62-4848-BAC4-5328B8A3A880}"/>
          </ac:spMkLst>
        </pc:spChg>
        <pc:spChg chg="add del mod">
          <ac:chgData name="Arjan van der Meer" userId="008f28a2-684e-4523-b3ca-dcb37d9c3e5d" providerId="ADAL" clId="{2B06979C-09FA-4ACE-9D1B-5392C9D6EE8C}" dt="2021-10-27T14:07:22.662" v="711" actId="478"/>
          <ac:spMkLst>
            <pc:docMk/>
            <pc:sldMk cId="3385077853" sldId="1108"/>
            <ac:spMk id="96" creationId="{15F17B12-7197-489A-955C-B73C30E48EE0}"/>
          </ac:spMkLst>
        </pc:spChg>
        <pc:spChg chg="add del mod">
          <ac:chgData name="Arjan van der Meer" userId="008f28a2-684e-4523-b3ca-dcb37d9c3e5d" providerId="ADAL" clId="{2B06979C-09FA-4ACE-9D1B-5392C9D6EE8C}" dt="2021-10-27T14:07:22.662" v="711" actId="478"/>
          <ac:spMkLst>
            <pc:docMk/>
            <pc:sldMk cId="3385077853" sldId="1108"/>
            <ac:spMk id="97" creationId="{5E886566-21B0-4475-9BA1-85A43CEB1D0F}"/>
          </ac:spMkLst>
        </pc:spChg>
        <pc:spChg chg="add del mod">
          <ac:chgData name="Arjan van der Meer" userId="008f28a2-684e-4523-b3ca-dcb37d9c3e5d" providerId="ADAL" clId="{2B06979C-09FA-4ACE-9D1B-5392C9D6EE8C}" dt="2021-10-27T14:06:28.941" v="702" actId="478"/>
          <ac:spMkLst>
            <pc:docMk/>
            <pc:sldMk cId="3385077853" sldId="1108"/>
            <ac:spMk id="98" creationId="{87853374-6926-4405-AB0D-CFE0481A7E00}"/>
          </ac:spMkLst>
        </pc:spChg>
        <pc:spChg chg="add del mod">
          <ac:chgData name="Arjan van der Meer" userId="008f28a2-684e-4523-b3ca-dcb37d9c3e5d" providerId="ADAL" clId="{2B06979C-09FA-4ACE-9D1B-5392C9D6EE8C}" dt="2021-10-27T14:07:22.662" v="711" actId="478"/>
          <ac:spMkLst>
            <pc:docMk/>
            <pc:sldMk cId="3385077853" sldId="1108"/>
            <ac:spMk id="99" creationId="{BFA65F0A-A77D-4666-BABD-4DCC60FD6D3B}"/>
          </ac:spMkLst>
        </pc:spChg>
        <pc:spChg chg="add del mod">
          <ac:chgData name="Arjan van der Meer" userId="008f28a2-684e-4523-b3ca-dcb37d9c3e5d" providerId="ADAL" clId="{2B06979C-09FA-4ACE-9D1B-5392C9D6EE8C}" dt="2021-10-27T14:07:22.662" v="711" actId="478"/>
          <ac:spMkLst>
            <pc:docMk/>
            <pc:sldMk cId="3385077853" sldId="1108"/>
            <ac:spMk id="100" creationId="{AEEB4B89-D8B4-4F5B-A81E-176E94EEA878}"/>
          </ac:spMkLst>
        </pc:spChg>
        <pc:spChg chg="add del mod">
          <ac:chgData name="Arjan van der Meer" userId="008f28a2-684e-4523-b3ca-dcb37d9c3e5d" providerId="ADAL" clId="{2B06979C-09FA-4ACE-9D1B-5392C9D6EE8C}" dt="2021-10-27T14:07:22.662" v="711" actId="478"/>
          <ac:spMkLst>
            <pc:docMk/>
            <pc:sldMk cId="3385077853" sldId="1108"/>
            <ac:spMk id="101" creationId="{F4AADC8A-13CB-40E1-AE82-4EB9146427D0}"/>
          </ac:spMkLst>
        </pc:spChg>
        <pc:spChg chg="add del mod">
          <ac:chgData name="Arjan van der Meer" userId="008f28a2-684e-4523-b3ca-dcb37d9c3e5d" providerId="ADAL" clId="{2B06979C-09FA-4ACE-9D1B-5392C9D6EE8C}" dt="2021-10-27T14:07:22.662" v="711" actId="478"/>
          <ac:spMkLst>
            <pc:docMk/>
            <pc:sldMk cId="3385077853" sldId="1108"/>
            <ac:spMk id="102" creationId="{A007222E-8AE7-48A3-9EFF-464A1BF7F3A0}"/>
          </ac:spMkLst>
        </pc:spChg>
        <pc:spChg chg="add del mod">
          <ac:chgData name="Arjan van der Meer" userId="008f28a2-684e-4523-b3ca-dcb37d9c3e5d" providerId="ADAL" clId="{2B06979C-09FA-4ACE-9D1B-5392C9D6EE8C}" dt="2021-10-27T14:07:22.662" v="711" actId="478"/>
          <ac:spMkLst>
            <pc:docMk/>
            <pc:sldMk cId="3385077853" sldId="1108"/>
            <ac:spMk id="103" creationId="{80BAD291-D967-4632-8F7E-6BD78E2622CC}"/>
          </ac:spMkLst>
        </pc:spChg>
        <pc:spChg chg="add del mod">
          <ac:chgData name="Arjan van der Meer" userId="008f28a2-684e-4523-b3ca-dcb37d9c3e5d" providerId="ADAL" clId="{2B06979C-09FA-4ACE-9D1B-5392C9D6EE8C}" dt="2021-10-27T14:07:22.662" v="711" actId="478"/>
          <ac:spMkLst>
            <pc:docMk/>
            <pc:sldMk cId="3385077853" sldId="1108"/>
            <ac:spMk id="104" creationId="{FAD53377-1C69-490A-97CF-646B63E6B05E}"/>
          </ac:spMkLst>
        </pc:spChg>
        <pc:spChg chg="add del mod">
          <ac:chgData name="Arjan van der Meer" userId="008f28a2-684e-4523-b3ca-dcb37d9c3e5d" providerId="ADAL" clId="{2B06979C-09FA-4ACE-9D1B-5392C9D6EE8C}" dt="2021-10-27T14:07:22.662" v="711" actId="478"/>
          <ac:spMkLst>
            <pc:docMk/>
            <pc:sldMk cId="3385077853" sldId="1108"/>
            <ac:spMk id="105" creationId="{16B125B1-03E1-4DC1-A2C4-BF7697D750D1}"/>
          </ac:spMkLst>
        </pc:spChg>
        <pc:spChg chg="add mod">
          <ac:chgData name="Arjan van der Meer" userId="008f28a2-684e-4523-b3ca-dcb37d9c3e5d" providerId="ADAL" clId="{2B06979C-09FA-4ACE-9D1B-5392C9D6EE8C}" dt="2021-10-27T14:05:36.137" v="688"/>
          <ac:spMkLst>
            <pc:docMk/>
            <pc:sldMk cId="3385077853" sldId="1108"/>
            <ac:spMk id="106" creationId="{744068FE-853F-4040-9699-50C91560FC1D}"/>
          </ac:spMkLst>
        </pc:spChg>
        <pc:spChg chg="add mod">
          <ac:chgData name="Arjan van der Meer" userId="008f28a2-684e-4523-b3ca-dcb37d9c3e5d" providerId="ADAL" clId="{2B06979C-09FA-4ACE-9D1B-5392C9D6EE8C}" dt="2021-10-27T14:05:36.137" v="688"/>
          <ac:spMkLst>
            <pc:docMk/>
            <pc:sldMk cId="3385077853" sldId="1108"/>
            <ac:spMk id="107" creationId="{64F6EB8A-E993-40C8-A0FF-18C067363C06}"/>
          </ac:spMkLst>
        </pc:spChg>
        <pc:spChg chg="add mod">
          <ac:chgData name="Arjan van der Meer" userId="008f28a2-684e-4523-b3ca-dcb37d9c3e5d" providerId="ADAL" clId="{2B06979C-09FA-4ACE-9D1B-5392C9D6EE8C}" dt="2021-10-27T14:05:36.137" v="688"/>
          <ac:spMkLst>
            <pc:docMk/>
            <pc:sldMk cId="3385077853" sldId="1108"/>
            <ac:spMk id="108" creationId="{FF4500EA-E51C-4A0D-8879-AA67FD6F6E64}"/>
          </ac:spMkLst>
        </pc:spChg>
        <pc:spChg chg="add mod">
          <ac:chgData name="Arjan van der Meer" userId="008f28a2-684e-4523-b3ca-dcb37d9c3e5d" providerId="ADAL" clId="{2B06979C-09FA-4ACE-9D1B-5392C9D6EE8C}" dt="2021-10-27T14:05:36.137" v="688"/>
          <ac:spMkLst>
            <pc:docMk/>
            <pc:sldMk cId="3385077853" sldId="1108"/>
            <ac:spMk id="113" creationId="{9CE2952C-BBAC-44ED-90B0-E6E65CE4BDC1}"/>
          </ac:spMkLst>
        </pc:spChg>
        <pc:spChg chg="add mod">
          <ac:chgData name="Arjan van der Meer" userId="008f28a2-684e-4523-b3ca-dcb37d9c3e5d" providerId="ADAL" clId="{2B06979C-09FA-4ACE-9D1B-5392C9D6EE8C}" dt="2021-10-27T14:05:36.137" v="688"/>
          <ac:spMkLst>
            <pc:docMk/>
            <pc:sldMk cId="3385077853" sldId="1108"/>
            <ac:spMk id="114" creationId="{D9D20914-F764-4C59-837C-8804B3EFE86B}"/>
          </ac:spMkLst>
        </pc:spChg>
        <pc:spChg chg="add mod">
          <ac:chgData name="Arjan van der Meer" userId="008f28a2-684e-4523-b3ca-dcb37d9c3e5d" providerId="ADAL" clId="{2B06979C-09FA-4ACE-9D1B-5392C9D6EE8C}" dt="2021-10-27T14:05:36.137" v="688"/>
          <ac:spMkLst>
            <pc:docMk/>
            <pc:sldMk cId="3385077853" sldId="1108"/>
            <ac:spMk id="115" creationId="{5C1AA5E7-F00D-4C39-8A11-004F4BFBA0E2}"/>
          </ac:spMkLst>
        </pc:spChg>
        <pc:spChg chg="add mod">
          <ac:chgData name="Arjan van der Meer" userId="008f28a2-684e-4523-b3ca-dcb37d9c3e5d" providerId="ADAL" clId="{2B06979C-09FA-4ACE-9D1B-5392C9D6EE8C}" dt="2021-10-27T14:05:36.137" v="688"/>
          <ac:spMkLst>
            <pc:docMk/>
            <pc:sldMk cId="3385077853" sldId="1108"/>
            <ac:spMk id="116" creationId="{CBD61B44-E0B8-4FB4-ADA4-82B3CF917A0B}"/>
          </ac:spMkLst>
        </pc:spChg>
        <pc:spChg chg="add mod">
          <ac:chgData name="Arjan van der Meer" userId="008f28a2-684e-4523-b3ca-dcb37d9c3e5d" providerId="ADAL" clId="{2B06979C-09FA-4ACE-9D1B-5392C9D6EE8C}" dt="2021-10-27T14:07:23.665" v="712"/>
          <ac:spMkLst>
            <pc:docMk/>
            <pc:sldMk cId="3385077853" sldId="1108"/>
            <ac:spMk id="117" creationId="{00D3D2EE-E562-44F0-84EF-5AD65FDC06DD}"/>
          </ac:spMkLst>
        </pc:spChg>
        <pc:spChg chg="add mod">
          <ac:chgData name="Arjan van der Meer" userId="008f28a2-684e-4523-b3ca-dcb37d9c3e5d" providerId="ADAL" clId="{2B06979C-09FA-4ACE-9D1B-5392C9D6EE8C}" dt="2021-10-27T14:07:23.665" v="712"/>
          <ac:spMkLst>
            <pc:docMk/>
            <pc:sldMk cId="3385077853" sldId="1108"/>
            <ac:spMk id="118" creationId="{45CBF8BD-1339-4F65-BCB7-1F260ADCC70B}"/>
          </ac:spMkLst>
        </pc:spChg>
        <pc:spChg chg="add mod">
          <ac:chgData name="Arjan van der Meer" userId="008f28a2-684e-4523-b3ca-dcb37d9c3e5d" providerId="ADAL" clId="{2B06979C-09FA-4ACE-9D1B-5392C9D6EE8C}" dt="2021-10-27T14:07:23.665" v="712"/>
          <ac:spMkLst>
            <pc:docMk/>
            <pc:sldMk cId="3385077853" sldId="1108"/>
            <ac:spMk id="119" creationId="{FA4B4D03-C8D6-4D3D-A097-0F224FB0785B}"/>
          </ac:spMkLst>
        </pc:spChg>
        <pc:spChg chg="add mod">
          <ac:chgData name="Arjan van der Meer" userId="008f28a2-684e-4523-b3ca-dcb37d9c3e5d" providerId="ADAL" clId="{2B06979C-09FA-4ACE-9D1B-5392C9D6EE8C}" dt="2021-10-27T14:07:23.665" v="712"/>
          <ac:spMkLst>
            <pc:docMk/>
            <pc:sldMk cId="3385077853" sldId="1108"/>
            <ac:spMk id="120" creationId="{1B0474F9-D7D9-4907-BEC5-F5693C85ACC8}"/>
          </ac:spMkLst>
        </pc:spChg>
        <pc:spChg chg="add mod">
          <ac:chgData name="Arjan van der Meer" userId="008f28a2-684e-4523-b3ca-dcb37d9c3e5d" providerId="ADAL" clId="{2B06979C-09FA-4ACE-9D1B-5392C9D6EE8C}" dt="2021-10-27T14:07:23.665" v="712"/>
          <ac:spMkLst>
            <pc:docMk/>
            <pc:sldMk cId="3385077853" sldId="1108"/>
            <ac:spMk id="121" creationId="{238F7D01-82BA-4E46-9B0F-F3ED11138F7D}"/>
          </ac:spMkLst>
        </pc:spChg>
        <pc:spChg chg="add mod">
          <ac:chgData name="Arjan van der Meer" userId="008f28a2-684e-4523-b3ca-dcb37d9c3e5d" providerId="ADAL" clId="{2B06979C-09FA-4ACE-9D1B-5392C9D6EE8C}" dt="2021-10-27T14:07:23.665" v="712"/>
          <ac:spMkLst>
            <pc:docMk/>
            <pc:sldMk cId="3385077853" sldId="1108"/>
            <ac:spMk id="122" creationId="{54599D27-C169-4EE3-B70B-DF6012086187}"/>
          </ac:spMkLst>
        </pc:spChg>
        <pc:spChg chg="add mod">
          <ac:chgData name="Arjan van der Meer" userId="008f28a2-684e-4523-b3ca-dcb37d9c3e5d" providerId="ADAL" clId="{2B06979C-09FA-4ACE-9D1B-5392C9D6EE8C}" dt="2021-10-27T14:07:23.665" v="712"/>
          <ac:spMkLst>
            <pc:docMk/>
            <pc:sldMk cId="3385077853" sldId="1108"/>
            <ac:spMk id="123" creationId="{3E9845CD-CADE-4C2C-933A-8513BFF8F3E4}"/>
          </ac:spMkLst>
        </pc:spChg>
        <pc:spChg chg="add mod">
          <ac:chgData name="Arjan van der Meer" userId="008f28a2-684e-4523-b3ca-dcb37d9c3e5d" providerId="ADAL" clId="{2B06979C-09FA-4ACE-9D1B-5392C9D6EE8C}" dt="2021-10-27T14:07:23.665" v="712"/>
          <ac:spMkLst>
            <pc:docMk/>
            <pc:sldMk cId="3385077853" sldId="1108"/>
            <ac:spMk id="124" creationId="{C832BDB2-5A51-43D5-8D61-4F208ADFBD07}"/>
          </ac:spMkLst>
        </pc:spChg>
        <pc:spChg chg="add mod">
          <ac:chgData name="Arjan van der Meer" userId="008f28a2-684e-4523-b3ca-dcb37d9c3e5d" providerId="ADAL" clId="{2B06979C-09FA-4ACE-9D1B-5392C9D6EE8C}" dt="2021-10-27T14:07:23.665" v="712"/>
          <ac:spMkLst>
            <pc:docMk/>
            <pc:sldMk cId="3385077853" sldId="1108"/>
            <ac:spMk id="128" creationId="{0B74FAD1-B727-4090-AB4D-052DB1261625}"/>
          </ac:spMkLst>
        </pc:spChg>
        <pc:spChg chg="add mod">
          <ac:chgData name="Arjan van der Meer" userId="008f28a2-684e-4523-b3ca-dcb37d9c3e5d" providerId="ADAL" clId="{2B06979C-09FA-4ACE-9D1B-5392C9D6EE8C}" dt="2021-10-27T14:07:23.665" v="712"/>
          <ac:spMkLst>
            <pc:docMk/>
            <pc:sldMk cId="3385077853" sldId="1108"/>
            <ac:spMk id="131" creationId="{5ED22741-9057-4B33-A55C-3BAB893B8B6E}"/>
          </ac:spMkLst>
        </pc:spChg>
        <pc:spChg chg="add mod">
          <ac:chgData name="Arjan van der Meer" userId="008f28a2-684e-4523-b3ca-dcb37d9c3e5d" providerId="ADAL" clId="{2B06979C-09FA-4ACE-9D1B-5392C9D6EE8C}" dt="2021-10-27T14:07:23.665" v="712"/>
          <ac:spMkLst>
            <pc:docMk/>
            <pc:sldMk cId="3385077853" sldId="1108"/>
            <ac:spMk id="132" creationId="{0C1B862E-BB34-4C9B-AF5C-E199FB1BF6A2}"/>
          </ac:spMkLst>
        </pc:spChg>
        <pc:spChg chg="add mod">
          <ac:chgData name="Arjan van der Meer" userId="008f28a2-684e-4523-b3ca-dcb37d9c3e5d" providerId="ADAL" clId="{2B06979C-09FA-4ACE-9D1B-5392C9D6EE8C}" dt="2021-10-27T14:07:23.665" v="712"/>
          <ac:spMkLst>
            <pc:docMk/>
            <pc:sldMk cId="3385077853" sldId="1108"/>
            <ac:spMk id="134" creationId="{372B66B1-9229-4335-99D8-16E8D8D76979}"/>
          </ac:spMkLst>
        </pc:spChg>
        <pc:spChg chg="add mod">
          <ac:chgData name="Arjan van der Meer" userId="008f28a2-684e-4523-b3ca-dcb37d9c3e5d" providerId="ADAL" clId="{2B06979C-09FA-4ACE-9D1B-5392C9D6EE8C}" dt="2021-10-27T14:07:23.665" v="712"/>
          <ac:spMkLst>
            <pc:docMk/>
            <pc:sldMk cId="3385077853" sldId="1108"/>
            <ac:spMk id="135" creationId="{51B63BCB-5612-4C12-A2FF-760BEE170E8F}"/>
          </ac:spMkLst>
        </pc:spChg>
        <pc:spChg chg="add mod">
          <ac:chgData name="Arjan van der Meer" userId="008f28a2-684e-4523-b3ca-dcb37d9c3e5d" providerId="ADAL" clId="{2B06979C-09FA-4ACE-9D1B-5392C9D6EE8C}" dt="2021-10-27T14:07:23.665" v="712"/>
          <ac:spMkLst>
            <pc:docMk/>
            <pc:sldMk cId="3385077853" sldId="1108"/>
            <ac:spMk id="136" creationId="{3BA22B86-F382-4AAA-9272-F8F9C4EFC5B3}"/>
          </ac:spMkLst>
        </pc:spChg>
        <pc:spChg chg="add mod">
          <ac:chgData name="Arjan van der Meer" userId="008f28a2-684e-4523-b3ca-dcb37d9c3e5d" providerId="ADAL" clId="{2B06979C-09FA-4ACE-9D1B-5392C9D6EE8C}" dt="2021-10-27T14:07:23.665" v="712"/>
          <ac:spMkLst>
            <pc:docMk/>
            <pc:sldMk cId="3385077853" sldId="1108"/>
            <ac:spMk id="138" creationId="{3BD6D066-91A8-4C8D-B3C9-86D1D24748A8}"/>
          </ac:spMkLst>
        </pc:spChg>
        <pc:spChg chg="add mod">
          <ac:chgData name="Arjan van der Meer" userId="008f28a2-684e-4523-b3ca-dcb37d9c3e5d" providerId="ADAL" clId="{2B06979C-09FA-4ACE-9D1B-5392C9D6EE8C}" dt="2021-10-27T14:07:23.665" v="712"/>
          <ac:spMkLst>
            <pc:docMk/>
            <pc:sldMk cId="3385077853" sldId="1108"/>
            <ac:spMk id="139" creationId="{3C8A62BB-A0AA-4DE4-BBF7-B77A8FD3160D}"/>
          </ac:spMkLst>
        </pc:spChg>
        <pc:spChg chg="add mod">
          <ac:chgData name="Arjan van der Meer" userId="008f28a2-684e-4523-b3ca-dcb37d9c3e5d" providerId="ADAL" clId="{2B06979C-09FA-4ACE-9D1B-5392C9D6EE8C}" dt="2021-10-27T14:07:23.665" v="712"/>
          <ac:spMkLst>
            <pc:docMk/>
            <pc:sldMk cId="3385077853" sldId="1108"/>
            <ac:spMk id="140" creationId="{E9C18CCD-EA34-432C-BC51-77568D63AF98}"/>
          </ac:spMkLst>
        </pc:spChg>
        <pc:spChg chg="add del mod">
          <ac:chgData name="Arjan van der Meer" userId="008f28a2-684e-4523-b3ca-dcb37d9c3e5d" providerId="ADAL" clId="{2B06979C-09FA-4ACE-9D1B-5392C9D6EE8C}" dt="2021-10-27T14:07:26.876" v="713" actId="478"/>
          <ac:spMkLst>
            <pc:docMk/>
            <pc:sldMk cId="3385077853" sldId="1108"/>
            <ac:spMk id="141" creationId="{B7483D91-FE14-48E5-BF2F-41404C2DF067}"/>
          </ac:spMkLst>
        </pc:spChg>
        <pc:spChg chg="add mod">
          <ac:chgData name="Arjan van der Meer" userId="008f28a2-684e-4523-b3ca-dcb37d9c3e5d" providerId="ADAL" clId="{2B06979C-09FA-4ACE-9D1B-5392C9D6EE8C}" dt="2021-10-27T14:07:23.665" v="712"/>
          <ac:spMkLst>
            <pc:docMk/>
            <pc:sldMk cId="3385077853" sldId="1108"/>
            <ac:spMk id="142" creationId="{63CB430B-45BA-421B-9539-B1ADA8C80BB5}"/>
          </ac:spMkLst>
        </pc:spChg>
        <pc:spChg chg="add mod">
          <ac:chgData name="Arjan van der Meer" userId="008f28a2-684e-4523-b3ca-dcb37d9c3e5d" providerId="ADAL" clId="{2B06979C-09FA-4ACE-9D1B-5392C9D6EE8C}" dt="2021-10-27T14:07:23.665" v="712"/>
          <ac:spMkLst>
            <pc:docMk/>
            <pc:sldMk cId="3385077853" sldId="1108"/>
            <ac:spMk id="143" creationId="{E14E28A1-7C52-4E59-99F2-06083C2525BD}"/>
          </ac:spMkLst>
        </pc:spChg>
        <pc:spChg chg="add mod">
          <ac:chgData name="Arjan van der Meer" userId="008f28a2-684e-4523-b3ca-dcb37d9c3e5d" providerId="ADAL" clId="{2B06979C-09FA-4ACE-9D1B-5392C9D6EE8C}" dt="2021-10-27T14:07:23.665" v="712"/>
          <ac:spMkLst>
            <pc:docMk/>
            <pc:sldMk cId="3385077853" sldId="1108"/>
            <ac:spMk id="144" creationId="{0BE3AA61-5D7F-43C1-AAA5-75F3851E6057}"/>
          </ac:spMkLst>
        </pc:spChg>
        <pc:spChg chg="add mod">
          <ac:chgData name="Arjan van der Meer" userId="008f28a2-684e-4523-b3ca-dcb37d9c3e5d" providerId="ADAL" clId="{2B06979C-09FA-4ACE-9D1B-5392C9D6EE8C}" dt="2021-10-27T14:07:23.665" v="712"/>
          <ac:spMkLst>
            <pc:docMk/>
            <pc:sldMk cId="3385077853" sldId="1108"/>
            <ac:spMk id="145" creationId="{4CA7374F-A355-454C-838E-D43C1F38C0C1}"/>
          </ac:spMkLst>
        </pc:spChg>
        <pc:spChg chg="add mod">
          <ac:chgData name="Arjan van der Meer" userId="008f28a2-684e-4523-b3ca-dcb37d9c3e5d" providerId="ADAL" clId="{2B06979C-09FA-4ACE-9D1B-5392C9D6EE8C}" dt="2021-10-27T14:07:23.665" v="712"/>
          <ac:spMkLst>
            <pc:docMk/>
            <pc:sldMk cId="3385077853" sldId="1108"/>
            <ac:spMk id="146" creationId="{88DD6C8F-5EE0-4344-B4FF-6FE180FA7F22}"/>
          </ac:spMkLst>
        </pc:spChg>
        <pc:spChg chg="add mod">
          <ac:chgData name="Arjan van der Meer" userId="008f28a2-684e-4523-b3ca-dcb37d9c3e5d" providerId="ADAL" clId="{2B06979C-09FA-4ACE-9D1B-5392C9D6EE8C}" dt="2021-10-27T14:07:23.665" v="712"/>
          <ac:spMkLst>
            <pc:docMk/>
            <pc:sldMk cId="3385077853" sldId="1108"/>
            <ac:spMk id="147" creationId="{B67F4027-8518-4AD8-B402-834ECEE70599}"/>
          </ac:spMkLst>
        </pc:spChg>
        <pc:cxnChg chg="add mod">
          <ac:chgData name="Arjan van der Meer" userId="008f28a2-684e-4523-b3ca-dcb37d9c3e5d" providerId="ADAL" clId="{2B06979C-09FA-4ACE-9D1B-5392C9D6EE8C}" dt="2021-10-27T14:09:13.114" v="722" actId="208"/>
          <ac:cxnSpMkLst>
            <pc:docMk/>
            <pc:sldMk cId="3385077853" sldId="1108"/>
            <ac:cxnSpMk id="7" creationId="{F88C8D90-D521-4F62-B2F3-A864CDB3B794}"/>
          </ac:cxnSpMkLst>
        </pc:cxnChg>
        <pc:cxnChg chg="del mod">
          <ac:chgData name="Arjan van der Meer" userId="008f28a2-684e-4523-b3ca-dcb37d9c3e5d" providerId="ADAL" clId="{2B06979C-09FA-4ACE-9D1B-5392C9D6EE8C}" dt="2021-10-27T14:05:34.917" v="687" actId="478"/>
          <ac:cxnSpMkLst>
            <pc:docMk/>
            <pc:sldMk cId="3385077853" sldId="1108"/>
            <ac:cxnSpMk id="9" creationId="{4CF306CB-070B-480E-9974-E4B10A6B72EC}"/>
          </ac:cxnSpMkLst>
        </pc:cxnChg>
        <pc:cxnChg chg="add mod">
          <ac:chgData name="Arjan van der Meer" userId="008f28a2-684e-4523-b3ca-dcb37d9c3e5d" providerId="ADAL" clId="{2B06979C-09FA-4ACE-9D1B-5392C9D6EE8C}" dt="2021-10-27T14:09:13.114" v="722" actId="208"/>
          <ac:cxnSpMkLst>
            <pc:docMk/>
            <pc:sldMk cId="3385077853" sldId="1108"/>
            <ac:cxnSpMk id="10" creationId="{2FF6DDE9-AF9A-4AB0-8B1C-7D3D784E4FBB}"/>
          </ac:cxnSpMkLst>
        </pc:cxnChg>
        <pc:cxnChg chg="del mod">
          <ac:chgData name="Arjan van der Meer" userId="008f28a2-684e-4523-b3ca-dcb37d9c3e5d" providerId="ADAL" clId="{2B06979C-09FA-4ACE-9D1B-5392C9D6EE8C}" dt="2021-10-27T14:05:34.917" v="687" actId="478"/>
          <ac:cxnSpMkLst>
            <pc:docMk/>
            <pc:sldMk cId="3385077853" sldId="1108"/>
            <ac:cxnSpMk id="11" creationId="{F6BA81DD-0E63-4D2E-82EE-AE35C2EDB8E5}"/>
          </ac:cxnSpMkLst>
        </pc:cxnChg>
        <pc:cxnChg chg="del mod">
          <ac:chgData name="Arjan van der Meer" userId="008f28a2-684e-4523-b3ca-dcb37d9c3e5d" providerId="ADAL" clId="{2B06979C-09FA-4ACE-9D1B-5392C9D6EE8C}" dt="2021-10-27T14:05:34.917" v="687" actId="478"/>
          <ac:cxnSpMkLst>
            <pc:docMk/>
            <pc:sldMk cId="3385077853" sldId="1108"/>
            <ac:cxnSpMk id="27" creationId="{CE7A14BE-996D-4CF0-8686-0DCA4E83B931}"/>
          </ac:cxnSpMkLst>
        </pc:cxnChg>
        <pc:cxnChg chg="del mod">
          <ac:chgData name="Arjan van der Meer" userId="008f28a2-684e-4523-b3ca-dcb37d9c3e5d" providerId="ADAL" clId="{2B06979C-09FA-4ACE-9D1B-5392C9D6EE8C}" dt="2021-10-27T14:05:34.917" v="687" actId="478"/>
          <ac:cxnSpMkLst>
            <pc:docMk/>
            <pc:sldMk cId="3385077853" sldId="1108"/>
            <ac:cxnSpMk id="29" creationId="{37D08D09-832E-4053-8A7C-E43CDBAB492F}"/>
          </ac:cxnSpMkLst>
        </pc:cxnChg>
        <pc:cxnChg chg="del mod">
          <ac:chgData name="Arjan van der Meer" userId="008f28a2-684e-4523-b3ca-dcb37d9c3e5d" providerId="ADAL" clId="{2B06979C-09FA-4ACE-9D1B-5392C9D6EE8C}" dt="2021-10-27T14:05:34.917" v="687" actId="478"/>
          <ac:cxnSpMkLst>
            <pc:docMk/>
            <pc:sldMk cId="3385077853" sldId="1108"/>
            <ac:cxnSpMk id="30" creationId="{62407B0A-973B-41DF-A3BD-14A3A8E6950E}"/>
          </ac:cxnSpMkLst>
        </pc:cxnChg>
        <pc:cxnChg chg="del mod">
          <ac:chgData name="Arjan van der Meer" userId="008f28a2-684e-4523-b3ca-dcb37d9c3e5d" providerId="ADAL" clId="{2B06979C-09FA-4ACE-9D1B-5392C9D6EE8C}" dt="2021-10-27T14:05:34.917" v="687" actId="478"/>
          <ac:cxnSpMkLst>
            <pc:docMk/>
            <pc:sldMk cId="3385077853" sldId="1108"/>
            <ac:cxnSpMk id="31" creationId="{53800698-7D7E-4280-879F-1AFE554B56EA}"/>
          </ac:cxnSpMkLst>
        </pc:cxnChg>
        <pc:cxnChg chg="del mod">
          <ac:chgData name="Arjan van der Meer" userId="008f28a2-684e-4523-b3ca-dcb37d9c3e5d" providerId="ADAL" clId="{2B06979C-09FA-4ACE-9D1B-5392C9D6EE8C}" dt="2021-10-27T14:05:34.917" v="687" actId="478"/>
          <ac:cxnSpMkLst>
            <pc:docMk/>
            <pc:sldMk cId="3385077853" sldId="1108"/>
            <ac:cxnSpMk id="65" creationId="{440C266A-EE67-4640-9FFF-3DC7EA31CF1E}"/>
          </ac:cxnSpMkLst>
        </pc:cxnChg>
        <pc:cxnChg chg="del mod">
          <ac:chgData name="Arjan van der Meer" userId="008f28a2-684e-4523-b3ca-dcb37d9c3e5d" providerId="ADAL" clId="{2B06979C-09FA-4ACE-9D1B-5392C9D6EE8C}" dt="2021-10-27T14:05:34.917" v="687" actId="478"/>
          <ac:cxnSpMkLst>
            <pc:docMk/>
            <pc:sldMk cId="3385077853" sldId="1108"/>
            <ac:cxnSpMk id="68" creationId="{35195038-BE4D-49D1-AD3E-7370D0DC45CB}"/>
          </ac:cxnSpMkLst>
        </pc:cxnChg>
        <pc:cxnChg chg="del mod">
          <ac:chgData name="Arjan van der Meer" userId="008f28a2-684e-4523-b3ca-dcb37d9c3e5d" providerId="ADAL" clId="{2B06979C-09FA-4ACE-9D1B-5392C9D6EE8C}" dt="2021-10-27T14:05:34.917" v="687" actId="478"/>
          <ac:cxnSpMkLst>
            <pc:docMk/>
            <pc:sldMk cId="3385077853" sldId="1108"/>
            <ac:cxnSpMk id="70" creationId="{E7AEC630-BED6-4D5B-987D-9F430BBD884B}"/>
          </ac:cxnSpMkLst>
        </pc:cxnChg>
        <pc:cxnChg chg="del mod">
          <ac:chgData name="Arjan van der Meer" userId="008f28a2-684e-4523-b3ca-dcb37d9c3e5d" providerId="ADAL" clId="{2B06979C-09FA-4ACE-9D1B-5392C9D6EE8C}" dt="2021-10-27T14:05:34.917" v="687" actId="478"/>
          <ac:cxnSpMkLst>
            <pc:docMk/>
            <pc:sldMk cId="3385077853" sldId="1108"/>
            <ac:cxnSpMk id="71" creationId="{550A011D-5A95-4B7C-8699-A3BF00C224A5}"/>
          </ac:cxnSpMkLst>
        </pc:cxnChg>
        <pc:cxnChg chg="del mod">
          <ac:chgData name="Arjan van der Meer" userId="008f28a2-684e-4523-b3ca-dcb37d9c3e5d" providerId="ADAL" clId="{2B06979C-09FA-4ACE-9D1B-5392C9D6EE8C}" dt="2021-10-27T14:05:34.917" v="687" actId="478"/>
          <ac:cxnSpMkLst>
            <pc:docMk/>
            <pc:sldMk cId="3385077853" sldId="1108"/>
            <ac:cxnSpMk id="72" creationId="{79D84D01-1E0D-4633-A15D-B33DF333C1DE}"/>
          </ac:cxnSpMkLst>
        </pc:cxnChg>
        <pc:cxnChg chg="del mod">
          <ac:chgData name="Arjan van der Meer" userId="008f28a2-684e-4523-b3ca-dcb37d9c3e5d" providerId="ADAL" clId="{2B06979C-09FA-4ACE-9D1B-5392C9D6EE8C}" dt="2021-10-27T14:05:34.917" v="687" actId="478"/>
          <ac:cxnSpMkLst>
            <pc:docMk/>
            <pc:sldMk cId="3385077853" sldId="1108"/>
            <ac:cxnSpMk id="73" creationId="{888376A2-2E75-4D81-9E46-D787EB1946CF}"/>
          </ac:cxnSpMkLst>
        </pc:cxnChg>
        <pc:cxnChg chg="add del mod">
          <ac:chgData name="Arjan van der Meer" userId="008f28a2-684e-4523-b3ca-dcb37d9c3e5d" providerId="ADAL" clId="{2B06979C-09FA-4ACE-9D1B-5392C9D6EE8C}" dt="2021-10-27T14:07:22.662" v="711" actId="478"/>
          <ac:cxnSpMkLst>
            <pc:docMk/>
            <pc:sldMk cId="3385077853" sldId="1108"/>
            <ac:cxnSpMk id="83" creationId="{E8998BB5-50A0-4D9B-8674-2517D2114BD2}"/>
          </ac:cxnSpMkLst>
        </pc:cxnChg>
        <pc:cxnChg chg="add del mod">
          <ac:chgData name="Arjan van der Meer" userId="008f28a2-684e-4523-b3ca-dcb37d9c3e5d" providerId="ADAL" clId="{2B06979C-09FA-4ACE-9D1B-5392C9D6EE8C}" dt="2021-10-27T14:07:22.662" v="711" actId="478"/>
          <ac:cxnSpMkLst>
            <pc:docMk/>
            <pc:sldMk cId="3385077853" sldId="1108"/>
            <ac:cxnSpMk id="84" creationId="{826BEB45-DCD1-4376-91F8-028AFAAB0EC7}"/>
          </ac:cxnSpMkLst>
        </pc:cxnChg>
        <pc:cxnChg chg="add del mod">
          <ac:chgData name="Arjan van der Meer" userId="008f28a2-684e-4523-b3ca-dcb37d9c3e5d" providerId="ADAL" clId="{2B06979C-09FA-4ACE-9D1B-5392C9D6EE8C}" dt="2021-10-27T14:07:22.662" v="711" actId="478"/>
          <ac:cxnSpMkLst>
            <pc:docMk/>
            <pc:sldMk cId="3385077853" sldId="1108"/>
            <ac:cxnSpMk id="85" creationId="{8ED93E96-A528-4AD8-9E96-3A445BE3AAF9}"/>
          </ac:cxnSpMkLst>
        </pc:cxnChg>
        <pc:cxnChg chg="add del mod">
          <ac:chgData name="Arjan van der Meer" userId="008f28a2-684e-4523-b3ca-dcb37d9c3e5d" providerId="ADAL" clId="{2B06979C-09FA-4ACE-9D1B-5392C9D6EE8C}" dt="2021-10-27T14:07:22.662" v="711" actId="478"/>
          <ac:cxnSpMkLst>
            <pc:docMk/>
            <pc:sldMk cId="3385077853" sldId="1108"/>
            <ac:cxnSpMk id="87" creationId="{12D10C62-897B-413B-9CD0-C513BC13E3F7}"/>
          </ac:cxnSpMkLst>
        </pc:cxnChg>
        <pc:cxnChg chg="add del mod">
          <ac:chgData name="Arjan van der Meer" userId="008f28a2-684e-4523-b3ca-dcb37d9c3e5d" providerId="ADAL" clId="{2B06979C-09FA-4ACE-9D1B-5392C9D6EE8C}" dt="2021-10-27T14:07:22.662" v="711" actId="478"/>
          <ac:cxnSpMkLst>
            <pc:docMk/>
            <pc:sldMk cId="3385077853" sldId="1108"/>
            <ac:cxnSpMk id="88" creationId="{5B5E1635-B0AB-436D-944D-08CF460B5E1A}"/>
          </ac:cxnSpMkLst>
        </pc:cxnChg>
        <pc:cxnChg chg="add del mod">
          <ac:chgData name="Arjan van der Meer" userId="008f28a2-684e-4523-b3ca-dcb37d9c3e5d" providerId="ADAL" clId="{2B06979C-09FA-4ACE-9D1B-5392C9D6EE8C}" dt="2021-10-27T14:07:22.662" v="711" actId="478"/>
          <ac:cxnSpMkLst>
            <pc:docMk/>
            <pc:sldMk cId="3385077853" sldId="1108"/>
            <ac:cxnSpMk id="91" creationId="{5777DEBE-2BCF-4CB3-BC4A-083E5D519F22}"/>
          </ac:cxnSpMkLst>
        </pc:cxnChg>
        <pc:cxnChg chg="add del mod">
          <ac:chgData name="Arjan van der Meer" userId="008f28a2-684e-4523-b3ca-dcb37d9c3e5d" providerId="ADAL" clId="{2B06979C-09FA-4ACE-9D1B-5392C9D6EE8C}" dt="2021-10-27T14:06:31.367" v="703" actId="478"/>
          <ac:cxnSpMkLst>
            <pc:docMk/>
            <pc:sldMk cId="3385077853" sldId="1108"/>
            <ac:cxnSpMk id="95" creationId="{EBC94FCF-8010-4A67-A488-D61ADFC51E22}"/>
          </ac:cxnSpMkLst>
        </pc:cxnChg>
        <pc:cxnChg chg="add mod">
          <ac:chgData name="Arjan van der Meer" userId="008f28a2-684e-4523-b3ca-dcb37d9c3e5d" providerId="ADAL" clId="{2B06979C-09FA-4ACE-9D1B-5392C9D6EE8C}" dt="2021-10-27T14:05:36.137" v="688"/>
          <ac:cxnSpMkLst>
            <pc:docMk/>
            <pc:sldMk cId="3385077853" sldId="1108"/>
            <ac:cxnSpMk id="109" creationId="{AC9FFDF2-6848-4ED5-9B18-5C91E82BD759}"/>
          </ac:cxnSpMkLst>
        </pc:cxnChg>
        <pc:cxnChg chg="add mod">
          <ac:chgData name="Arjan van der Meer" userId="008f28a2-684e-4523-b3ca-dcb37d9c3e5d" providerId="ADAL" clId="{2B06979C-09FA-4ACE-9D1B-5392C9D6EE8C}" dt="2021-10-27T14:05:36.137" v="688"/>
          <ac:cxnSpMkLst>
            <pc:docMk/>
            <pc:sldMk cId="3385077853" sldId="1108"/>
            <ac:cxnSpMk id="110" creationId="{26A3A167-1028-49A0-ACAF-D99823B119CD}"/>
          </ac:cxnSpMkLst>
        </pc:cxnChg>
        <pc:cxnChg chg="add mod">
          <ac:chgData name="Arjan van der Meer" userId="008f28a2-684e-4523-b3ca-dcb37d9c3e5d" providerId="ADAL" clId="{2B06979C-09FA-4ACE-9D1B-5392C9D6EE8C}" dt="2021-10-27T14:05:36.137" v="688"/>
          <ac:cxnSpMkLst>
            <pc:docMk/>
            <pc:sldMk cId="3385077853" sldId="1108"/>
            <ac:cxnSpMk id="111" creationId="{CB73F765-9486-4A87-AC78-4139E6ADDD0F}"/>
          </ac:cxnSpMkLst>
        </pc:cxnChg>
        <pc:cxnChg chg="add mod">
          <ac:chgData name="Arjan van der Meer" userId="008f28a2-684e-4523-b3ca-dcb37d9c3e5d" providerId="ADAL" clId="{2B06979C-09FA-4ACE-9D1B-5392C9D6EE8C}" dt="2021-10-27T14:05:36.137" v="688"/>
          <ac:cxnSpMkLst>
            <pc:docMk/>
            <pc:sldMk cId="3385077853" sldId="1108"/>
            <ac:cxnSpMk id="112" creationId="{9139E062-A0C6-4B5F-9BDB-58851EB87F7E}"/>
          </ac:cxnSpMkLst>
        </pc:cxnChg>
        <pc:cxnChg chg="add mod">
          <ac:chgData name="Arjan van der Meer" userId="008f28a2-684e-4523-b3ca-dcb37d9c3e5d" providerId="ADAL" clId="{2B06979C-09FA-4ACE-9D1B-5392C9D6EE8C}" dt="2021-10-27T14:07:23.665" v="712"/>
          <ac:cxnSpMkLst>
            <pc:docMk/>
            <pc:sldMk cId="3385077853" sldId="1108"/>
            <ac:cxnSpMk id="125" creationId="{E9D96CA1-919A-4BB5-8303-6E01979C137F}"/>
          </ac:cxnSpMkLst>
        </pc:cxnChg>
        <pc:cxnChg chg="add mod">
          <ac:chgData name="Arjan van der Meer" userId="008f28a2-684e-4523-b3ca-dcb37d9c3e5d" providerId="ADAL" clId="{2B06979C-09FA-4ACE-9D1B-5392C9D6EE8C}" dt="2021-10-27T14:07:23.665" v="712"/>
          <ac:cxnSpMkLst>
            <pc:docMk/>
            <pc:sldMk cId="3385077853" sldId="1108"/>
            <ac:cxnSpMk id="126" creationId="{F4B0453C-0120-471A-8DCA-49A1806F2929}"/>
          </ac:cxnSpMkLst>
        </pc:cxnChg>
        <pc:cxnChg chg="add mod">
          <ac:chgData name="Arjan van der Meer" userId="008f28a2-684e-4523-b3ca-dcb37d9c3e5d" providerId="ADAL" clId="{2B06979C-09FA-4ACE-9D1B-5392C9D6EE8C}" dt="2021-10-27T14:07:23.665" v="712"/>
          <ac:cxnSpMkLst>
            <pc:docMk/>
            <pc:sldMk cId="3385077853" sldId="1108"/>
            <ac:cxnSpMk id="127" creationId="{E758920D-1977-4892-B03A-55C297AAB196}"/>
          </ac:cxnSpMkLst>
        </pc:cxnChg>
        <pc:cxnChg chg="add mod">
          <ac:chgData name="Arjan van der Meer" userId="008f28a2-684e-4523-b3ca-dcb37d9c3e5d" providerId="ADAL" clId="{2B06979C-09FA-4ACE-9D1B-5392C9D6EE8C}" dt="2021-10-27T14:07:23.665" v="712"/>
          <ac:cxnSpMkLst>
            <pc:docMk/>
            <pc:sldMk cId="3385077853" sldId="1108"/>
            <ac:cxnSpMk id="129" creationId="{9602B8C6-17CE-41BD-B92C-8DABAD90B552}"/>
          </ac:cxnSpMkLst>
        </pc:cxnChg>
        <pc:cxnChg chg="add mod">
          <ac:chgData name="Arjan van der Meer" userId="008f28a2-684e-4523-b3ca-dcb37d9c3e5d" providerId="ADAL" clId="{2B06979C-09FA-4ACE-9D1B-5392C9D6EE8C}" dt="2021-10-27T14:07:23.665" v="712"/>
          <ac:cxnSpMkLst>
            <pc:docMk/>
            <pc:sldMk cId="3385077853" sldId="1108"/>
            <ac:cxnSpMk id="130" creationId="{CD912165-749C-41D9-BC39-59873A4F91B4}"/>
          </ac:cxnSpMkLst>
        </pc:cxnChg>
        <pc:cxnChg chg="add mod">
          <ac:chgData name="Arjan van der Meer" userId="008f28a2-684e-4523-b3ca-dcb37d9c3e5d" providerId="ADAL" clId="{2B06979C-09FA-4ACE-9D1B-5392C9D6EE8C}" dt="2021-10-27T14:07:23.665" v="712"/>
          <ac:cxnSpMkLst>
            <pc:docMk/>
            <pc:sldMk cId="3385077853" sldId="1108"/>
            <ac:cxnSpMk id="133" creationId="{1AD4E36F-93CF-4231-892D-4329AC5C6141}"/>
          </ac:cxnSpMkLst>
        </pc:cxnChg>
        <pc:cxnChg chg="add del mod">
          <ac:chgData name="Arjan van der Meer" userId="008f28a2-684e-4523-b3ca-dcb37d9c3e5d" providerId="ADAL" clId="{2B06979C-09FA-4ACE-9D1B-5392C9D6EE8C}" dt="2021-10-27T14:07:52.469" v="716" actId="478"/>
          <ac:cxnSpMkLst>
            <pc:docMk/>
            <pc:sldMk cId="3385077853" sldId="1108"/>
            <ac:cxnSpMk id="137" creationId="{62CF3E0B-98F3-402A-84FB-A6DDDFCC4DBE}"/>
          </ac:cxnSpMkLst>
        </pc:cxnChg>
      </pc:sldChg>
      <pc:sldChg chg="modSp modNotesTx">
        <pc:chgData name="Arjan van der Meer" userId="008f28a2-684e-4523-b3ca-dcb37d9c3e5d" providerId="ADAL" clId="{2B06979C-09FA-4ACE-9D1B-5392C9D6EE8C}" dt="2021-10-28T07:36:31.014" v="785" actId="20577"/>
        <pc:sldMkLst>
          <pc:docMk/>
          <pc:sldMk cId="3959803911" sldId="1113"/>
        </pc:sldMkLst>
        <pc:picChg chg="mod">
          <ac:chgData name="Arjan van der Meer" userId="008f28a2-684e-4523-b3ca-dcb37d9c3e5d" providerId="ADAL" clId="{2B06979C-09FA-4ACE-9D1B-5392C9D6EE8C}" dt="2021-10-28T07:36:08.757" v="784" actId="14826"/>
          <ac:picMkLst>
            <pc:docMk/>
            <pc:sldMk cId="3959803911" sldId="1113"/>
            <ac:picMk id="12" creationId="{8D67FA59-26D7-48E6-987E-D832F6960A59}"/>
          </ac:picMkLst>
        </pc:picChg>
      </pc:sldChg>
      <pc:sldChg chg="modSp mod">
        <pc:chgData name="Arjan van der Meer" userId="008f28a2-684e-4523-b3ca-dcb37d9c3e5d" providerId="ADAL" clId="{2B06979C-09FA-4ACE-9D1B-5392C9D6EE8C}" dt="2021-10-27T14:03:13.156" v="615" actId="20577"/>
        <pc:sldMkLst>
          <pc:docMk/>
          <pc:sldMk cId="4228508098" sldId="1115"/>
        </pc:sldMkLst>
        <pc:spChg chg="mod">
          <ac:chgData name="Arjan van der Meer" userId="008f28a2-684e-4523-b3ca-dcb37d9c3e5d" providerId="ADAL" clId="{2B06979C-09FA-4ACE-9D1B-5392C9D6EE8C}" dt="2021-10-27T14:03:13.156" v="615" actId="20577"/>
          <ac:spMkLst>
            <pc:docMk/>
            <pc:sldMk cId="4228508098" sldId="1115"/>
            <ac:spMk id="2" creationId="{A077C089-3A7E-44C2-88D4-DE7D0F1EA5A2}"/>
          </ac:spMkLst>
        </pc:spChg>
      </pc:sldChg>
      <pc:sldChg chg="addSp delSp modSp mod addCm modCm">
        <pc:chgData name="Arjan van der Meer" userId="008f28a2-684e-4523-b3ca-dcb37d9c3e5d" providerId="ADAL" clId="{2B06979C-09FA-4ACE-9D1B-5392C9D6EE8C}" dt="2021-10-28T14:29:17.625" v="1522" actId="1589"/>
        <pc:sldMkLst>
          <pc:docMk/>
          <pc:sldMk cId="1057191630" sldId="1122"/>
        </pc:sldMkLst>
        <pc:spChg chg="mod">
          <ac:chgData name="Arjan van der Meer" userId="008f28a2-684e-4523-b3ca-dcb37d9c3e5d" providerId="ADAL" clId="{2B06979C-09FA-4ACE-9D1B-5392C9D6EE8C}" dt="2021-10-27T13:29:39.672" v="228" actId="1036"/>
          <ac:spMkLst>
            <pc:docMk/>
            <pc:sldMk cId="1057191630" sldId="1122"/>
            <ac:spMk id="6" creationId="{EFF25976-C0D4-4259-AB50-81301790BD65}"/>
          </ac:spMkLst>
        </pc:spChg>
        <pc:spChg chg="mod">
          <ac:chgData name="Arjan van der Meer" userId="008f28a2-684e-4523-b3ca-dcb37d9c3e5d" providerId="ADAL" clId="{2B06979C-09FA-4ACE-9D1B-5392C9D6EE8C}" dt="2021-10-27T13:29:39.672" v="228" actId="1036"/>
          <ac:spMkLst>
            <pc:docMk/>
            <pc:sldMk cId="1057191630" sldId="1122"/>
            <ac:spMk id="8" creationId="{C3406E72-D449-4FB0-8390-1D03AFE00053}"/>
          </ac:spMkLst>
        </pc:spChg>
        <pc:spChg chg="add del mod">
          <ac:chgData name="Arjan van der Meer" userId="008f28a2-684e-4523-b3ca-dcb37d9c3e5d" providerId="ADAL" clId="{2B06979C-09FA-4ACE-9D1B-5392C9D6EE8C}" dt="2021-10-28T09:25:57.157" v="1516" actId="478"/>
          <ac:spMkLst>
            <pc:docMk/>
            <pc:sldMk cId="1057191630" sldId="1122"/>
            <ac:spMk id="11" creationId="{6338D3BE-A5F8-40BF-A554-90ABBC7D9C6E}"/>
          </ac:spMkLst>
        </pc:spChg>
        <pc:spChg chg="mod">
          <ac:chgData name="Arjan van der Meer" userId="008f28a2-684e-4523-b3ca-dcb37d9c3e5d" providerId="ADAL" clId="{2B06979C-09FA-4ACE-9D1B-5392C9D6EE8C}" dt="2021-10-28T07:53:57.683" v="821" actId="1038"/>
          <ac:spMkLst>
            <pc:docMk/>
            <pc:sldMk cId="1057191630" sldId="1122"/>
            <ac:spMk id="14" creationId="{312C6B6A-834E-4D5E-8FF4-40FF86BD9DEB}"/>
          </ac:spMkLst>
        </pc:spChg>
        <pc:spChg chg="del mod">
          <ac:chgData name="Arjan van der Meer" userId="008f28a2-684e-4523-b3ca-dcb37d9c3e5d" providerId="ADAL" clId="{2B06979C-09FA-4ACE-9D1B-5392C9D6EE8C}" dt="2021-10-28T09:25:57.157" v="1516" actId="478"/>
          <ac:spMkLst>
            <pc:docMk/>
            <pc:sldMk cId="1057191630" sldId="1122"/>
            <ac:spMk id="28" creationId="{F0E48F8D-C071-4581-A9C5-B5AC90BB64D8}"/>
          </ac:spMkLst>
        </pc:spChg>
        <pc:spChg chg="del mod">
          <ac:chgData name="Arjan van der Meer" userId="008f28a2-684e-4523-b3ca-dcb37d9c3e5d" providerId="ADAL" clId="{2B06979C-09FA-4ACE-9D1B-5392C9D6EE8C}" dt="2021-10-28T09:25:57.157" v="1516" actId="478"/>
          <ac:spMkLst>
            <pc:docMk/>
            <pc:sldMk cId="1057191630" sldId="1122"/>
            <ac:spMk id="29" creationId="{6D322FB5-30D4-4C01-B356-951D89C08DBD}"/>
          </ac:spMkLst>
        </pc:spChg>
        <pc:spChg chg="del mod">
          <ac:chgData name="Arjan van der Meer" userId="008f28a2-684e-4523-b3ca-dcb37d9c3e5d" providerId="ADAL" clId="{2B06979C-09FA-4ACE-9D1B-5392C9D6EE8C}" dt="2021-10-28T09:25:57.157" v="1516" actId="478"/>
          <ac:spMkLst>
            <pc:docMk/>
            <pc:sldMk cId="1057191630" sldId="1122"/>
            <ac:spMk id="30" creationId="{AC0E10EE-2D3E-4F8F-9FCF-394CADC514ED}"/>
          </ac:spMkLst>
        </pc:spChg>
        <pc:spChg chg="del mod">
          <ac:chgData name="Arjan van der Meer" userId="008f28a2-684e-4523-b3ca-dcb37d9c3e5d" providerId="ADAL" clId="{2B06979C-09FA-4ACE-9D1B-5392C9D6EE8C}" dt="2021-10-28T09:25:57.157" v="1516" actId="478"/>
          <ac:spMkLst>
            <pc:docMk/>
            <pc:sldMk cId="1057191630" sldId="1122"/>
            <ac:spMk id="31" creationId="{C16A223B-73C3-419A-9AC0-2AB7FB7CEAE6}"/>
          </ac:spMkLst>
        </pc:spChg>
        <pc:spChg chg="del mod">
          <ac:chgData name="Arjan van der Meer" userId="008f28a2-684e-4523-b3ca-dcb37d9c3e5d" providerId="ADAL" clId="{2B06979C-09FA-4ACE-9D1B-5392C9D6EE8C}" dt="2021-10-28T09:25:57.157" v="1516" actId="478"/>
          <ac:spMkLst>
            <pc:docMk/>
            <pc:sldMk cId="1057191630" sldId="1122"/>
            <ac:spMk id="32" creationId="{AFD41579-109B-4E22-8855-FC2D6F935732}"/>
          </ac:spMkLst>
        </pc:spChg>
        <pc:spChg chg="add del mod">
          <ac:chgData name="Arjan van der Meer" userId="008f28a2-684e-4523-b3ca-dcb37d9c3e5d" providerId="ADAL" clId="{2B06979C-09FA-4ACE-9D1B-5392C9D6EE8C}" dt="2021-10-28T09:25:57.157" v="1516" actId="478"/>
          <ac:spMkLst>
            <pc:docMk/>
            <pc:sldMk cId="1057191630" sldId="1122"/>
            <ac:spMk id="33" creationId="{F2FC94B3-CB69-4DF9-B587-E4EB037291F1}"/>
          </ac:spMkLst>
        </pc:spChg>
        <pc:spChg chg="add del mod">
          <ac:chgData name="Arjan van der Meer" userId="008f28a2-684e-4523-b3ca-dcb37d9c3e5d" providerId="ADAL" clId="{2B06979C-09FA-4ACE-9D1B-5392C9D6EE8C}" dt="2021-10-28T09:25:57.157" v="1516" actId="478"/>
          <ac:spMkLst>
            <pc:docMk/>
            <pc:sldMk cId="1057191630" sldId="1122"/>
            <ac:spMk id="35" creationId="{2A59EC47-578B-478F-B0B7-820316D54525}"/>
          </ac:spMkLst>
        </pc:spChg>
        <pc:spChg chg="del mod">
          <ac:chgData name="Arjan van der Meer" userId="008f28a2-684e-4523-b3ca-dcb37d9c3e5d" providerId="ADAL" clId="{2B06979C-09FA-4ACE-9D1B-5392C9D6EE8C}" dt="2021-10-28T09:25:57.157" v="1516" actId="478"/>
          <ac:spMkLst>
            <pc:docMk/>
            <pc:sldMk cId="1057191630" sldId="1122"/>
            <ac:spMk id="36" creationId="{43FFFAD8-4908-4803-930B-2EC5F5A1C745}"/>
          </ac:spMkLst>
        </pc:spChg>
        <pc:spChg chg="del mod">
          <ac:chgData name="Arjan van der Meer" userId="008f28a2-684e-4523-b3ca-dcb37d9c3e5d" providerId="ADAL" clId="{2B06979C-09FA-4ACE-9D1B-5392C9D6EE8C}" dt="2021-10-28T09:25:57.157" v="1516" actId="478"/>
          <ac:spMkLst>
            <pc:docMk/>
            <pc:sldMk cId="1057191630" sldId="1122"/>
            <ac:spMk id="38" creationId="{8F045400-06D8-48E2-9083-8FAFDB8E009B}"/>
          </ac:spMkLst>
        </pc:spChg>
        <pc:spChg chg="del mod">
          <ac:chgData name="Arjan van der Meer" userId="008f28a2-684e-4523-b3ca-dcb37d9c3e5d" providerId="ADAL" clId="{2B06979C-09FA-4ACE-9D1B-5392C9D6EE8C}" dt="2021-10-28T09:25:57.157" v="1516" actId="478"/>
          <ac:spMkLst>
            <pc:docMk/>
            <pc:sldMk cId="1057191630" sldId="1122"/>
            <ac:spMk id="39" creationId="{36B7E453-BCA2-4681-BA1F-23E845D84100}"/>
          </ac:spMkLst>
        </pc:spChg>
        <pc:spChg chg="del mod">
          <ac:chgData name="Arjan van der Meer" userId="008f28a2-684e-4523-b3ca-dcb37d9c3e5d" providerId="ADAL" clId="{2B06979C-09FA-4ACE-9D1B-5392C9D6EE8C}" dt="2021-10-28T09:25:57.157" v="1516" actId="478"/>
          <ac:spMkLst>
            <pc:docMk/>
            <pc:sldMk cId="1057191630" sldId="1122"/>
            <ac:spMk id="41" creationId="{E564BBDB-5B67-4BD0-A5B1-49B109987096}"/>
          </ac:spMkLst>
        </pc:spChg>
        <pc:spChg chg="add del mod">
          <ac:chgData name="Arjan van der Meer" userId="008f28a2-684e-4523-b3ca-dcb37d9c3e5d" providerId="ADAL" clId="{2B06979C-09FA-4ACE-9D1B-5392C9D6EE8C}" dt="2021-10-28T09:25:57.157" v="1516" actId="478"/>
          <ac:spMkLst>
            <pc:docMk/>
            <pc:sldMk cId="1057191630" sldId="1122"/>
            <ac:spMk id="42" creationId="{60B0504A-E9FC-4755-BC75-58A4F297E6AC}"/>
          </ac:spMkLst>
        </pc:spChg>
        <pc:spChg chg="mod">
          <ac:chgData name="Arjan van der Meer" userId="008f28a2-684e-4523-b3ca-dcb37d9c3e5d" providerId="ADAL" clId="{2B06979C-09FA-4ACE-9D1B-5392C9D6EE8C}" dt="2021-10-27T13:32:51.313" v="266" actId="1076"/>
          <ac:spMkLst>
            <pc:docMk/>
            <pc:sldMk cId="1057191630" sldId="1122"/>
            <ac:spMk id="43" creationId="{770814A7-D04E-4868-9932-F853D318A0C0}"/>
          </ac:spMkLst>
        </pc:spChg>
        <pc:spChg chg="add del mod">
          <ac:chgData name="Arjan van der Meer" userId="008f28a2-684e-4523-b3ca-dcb37d9c3e5d" providerId="ADAL" clId="{2B06979C-09FA-4ACE-9D1B-5392C9D6EE8C}" dt="2021-10-28T09:25:57.157" v="1516" actId="478"/>
          <ac:spMkLst>
            <pc:docMk/>
            <pc:sldMk cId="1057191630" sldId="1122"/>
            <ac:spMk id="44" creationId="{74F0C617-587E-40A4-8760-7F367DA37D58}"/>
          </ac:spMkLst>
        </pc:spChg>
        <pc:spChg chg="add del mod">
          <ac:chgData name="Arjan van der Meer" userId="008f28a2-684e-4523-b3ca-dcb37d9c3e5d" providerId="ADAL" clId="{2B06979C-09FA-4ACE-9D1B-5392C9D6EE8C}" dt="2021-10-28T09:25:57.157" v="1516" actId="478"/>
          <ac:spMkLst>
            <pc:docMk/>
            <pc:sldMk cId="1057191630" sldId="1122"/>
            <ac:spMk id="45" creationId="{605C92C4-90A8-4B5E-984F-AACD0DB11103}"/>
          </ac:spMkLst>
        </pc:spChg>
        <pc:spChg chg="add del mod">
          <ac:chgData name="Arjan van der Meer" userId="008f28a2-684e-4523-b3ca-dcb37d9c3e5d" providerId="ADAL" clId="{2B06979C-09FA-4ACE-9D1B-5392C9D6EE8C}" dt="2021-10-28T09:25:57.157" v="1516" actId="478"/>
          <ac:spMkLst>
            <pc:docMk/>
            <pc:sldMk cId="1057191630" sldId="1122"/>
            <ac:spMk id="46" creationId="{39A8EA63-FA28-40A5-8C53-1F33D5769D79}"/>
          </ac:spMkLst>
        </pc:spChg>
        <pc:spChg chg="add del mod">
          <ac:chgData name="Arjan van der Meer" userId="008f28a2-684e-4523-b3ca-dcb37d9c3e5d" providerId="ADAL" clId="{2B06979C-09FA-4ACE-9D1B-5392C9D6EE8C}" dt="2021-10-28T09:25:57.157" v="1516" actId="478"/>
          <ac:spMkLst>
            <pc:docMk/>
            <pc:sldMk cId="1057191630" sldId="1122"/>
            <ac:spMk id="47" creationId="{C72E6033-B6E6-41BC-A1C0-766C76BF69BA}"/>
          </ac:spMkLst>
        </pc:spChg>
        <pc:spChg chg="add mod">
          <ac:chgData name="Arjan van der Meer" userId="008f28a2-684e-4523-b3ca-dcb37d9c3e5d" providerId="ADAL" clId="{2B06979C-09FA-4ACE-9D1B-5392C9D6EE8C}" dt="2021-10-28T09:25:58.229" v="1517"/>
          <ac:spMkLst>
            <pc:docMk/>
            <pc:sldMk cId="1057191630" sldId="1122"/>
            <ac:spMk id="48" creationId="{07EF9849-5C6B-4DEF-9B24-80399DAE5D55}"/>
          </ac:spMkLst>
        </pc:spChg>
        <pc:spChg chg="del mod">
          <ac:chgData name="Arjan van der Meer" userId="008f28a2-684e-4523-b3ca-dcb37d9c3e5d" providerId="ADAL" clId="{2B06979C-09FA-4ACE-9D1B-5392C9D6EE8C}" dt="2021-10-28T09:25:57.157" v="1516" actId="478"/>
          <ac:spMkLst>
            <pc:docMk/>
            <pc:sldMk cId="1057191630" sldId="1122"/>
            <ac:spMk id="52" creationId="{9F51B146-5A62-4F16-A297-12913B5DB8C4}"/>
          </ac:spMkLst>
        </pc:spChg>
        <pc:spChg chg="add mod">
          <ac:chgData name="Arjan van der Meer" userId="008f28a2-684e-4523-b3ca-dcb37d9c3e5d" providerId="ADAL" clId="{2B06979C-09FA-4ACE-9D1B-5392C9D6EE8C}" dt="2021-10-28T09:25:58.229" v="1517"/>
          <ac:spMkLst>
            <pc:docMk/>
            <pc:sldMk cId="1057191630" sldId="1122"/>
            <ac:spMk id="53" creationId="{C029D3F4-2C50-4B98-9D77-ED4661401773}"/>
          </ac:spMkLst>
        </pc:spChg>
        <pc:spChg chg="add mod">
          <ac:chgData name="Arjan van der Meer" userId="008f28a2-684e-4523-b3ca-dcb37d9c3e5d" providerId="ADAL" clId="{2B06979C-09FA-4ACE-9D1B-5392C9D6EE8C}" dt="2021-10-28T09:25:58.229" v="1517"/>
          <ac:spMkLst>
            <pc:docMk/>
            <pc:sldMk cId="1057191630" sldId="1122"/>
            <ac:spMk id="54" creationId="{3F57A8E0-B057-4EAA-AE85-2EE7DDDB50A3}"/>
          </ac:spMkLst>
        </pc:spChg>
        <pc:spChg chg="add mod">
          <ac:chgData name="Arjan van der Meer" userId="008f28a2-684e-4523-b3ca-dcb37d9c3e5d" providerId="ADAL" clId="{2B06979C-09FA-4ACE-9D1B-5392C9D6EE8C}" dt="2021-10-28T09:25:58.229" v="1517"/>
          <ac:spMkLst>
            <pc:docMk/>
            <pc:sldMk cId="1057191630" sldId="1122"/>
            <ac:spMk id="55" creationId="{E515EE08-B601-4E2B-B383-ECC1E7318987}"/>
          </ac:spMkLst>
        </pc:spChg>
        <pc:spChg chg="del mod">
          <ac:chgData name="Arjan van der Meer" userId="008f28a2-684e-4523-b3ca-dcb37d9c3e5d" providerId="ADAL" clId="{2B06979C-09FA-4ACE-9D1B-5392C9D6EE8C}" dt="2021-10-28T09:25:57.157" v="1516" actId="478"/>
          <ac:spMkLst>
            <pc:docMk/>
            <pc:sldMk cId="1057191630" sldId="1122"/>
            <ac:spMk id="56" creationId="{226676F7-CACB-4408-B3B8-495C7B5578CD}"/>
          </ac:spMkLst>
        </pc:spChg>
        <pc:spChg chg="del mod">
          <ac:chgData name="Arjan van der Meer" userId="008f28a2-684e-4523-b3ca-dcb37d9c3e5d" providerId="ADAL" clId="{2B06979C-09FA-4ACE-9D1B-5392C9D6EE8C}" dt="2021-10-28T09:25:57.157" v="1516" actId="478"/>
          <ac:spMkLst>
            <pc:docMk/>
            <pc:sldMk cId="1057191630" sldId="1122"/>
            <ac:spMk id="57" creationId="{D0C84354-0BD0-433F-BED2-E07A32F4BD3E}"/>
          </ac:spMkLst>
        </pc:spChg>
        <pc:spChg chg="del mod">
          <ac:chgData name="Arjan van der Meer" userId="008f28a2-684e-4523-b3ca-dcb37d9c3e5d" providerId="ADAL" clId="{2B06979C-09FA-4ACE-9D1B-5392C9D6EE8C}" dt="2021-10-28T09:25:57.157" v="1516" actId="478"/>
          <ac:spMkLst>
            <pc:docMk/>
            <pc:sldMk cId="1057191630" sldId="1122"/>
            <ac:spMk id="58" creationId="{16F5055A-AA4F-466A-88F0-FF2A20EF94B2}"/>
          </ac:spMkLst>
        </pc:spChg>
        <pc:spChg chg="add mod">
          <ac:chgData name="Arjan van der Meer" userId="008f28a2-684e-4523-b3ca-dcb37d9c3e5d" providerId="ADAL" clId="{2B06979C-09FA-4ACE-9D1B-5392C9D6EE8C}" dt="2021-10-28T09:25:58.229" v="1517"/>
          <ac:spMkLst>
            <pc:docMk/>
            <pc:sldMk cId="1057191630" sldId="1122"/>
            <ac:spMk id="59" creationId="{D8F9AC27-43B8-42CF-9F11-6C2415CA75A7}"/>
          </ac:spMkLst>
        </pc:spChg>
        <pc:spChg chg="mod">
          <ac:chgData name="Arjan van der Meer" userId="008f28a2-684e-4523-b3ca-dcb37d9c3e5d" providerId="ADAL" clId="{2B06979C-09FA-4ACE-9D1B-5392C9D6EE8C}" dt="2021-10-27T13:32:51.313" v="266" actId="1076"/>
          <ac:spMkLst>
            <pc:docMk/>
            <pc:sldMk cId="1057191630" sldId="1122"/>
            <ac:spMk id="61" creationId="{DFB961A7-07C0-48FC-A394-2EA6CD6FDBCC}"/>
          </ac:spMkLst>
        </pc:spChg>
        <pc:spChg chg="add mod">
          <ac:chgData name="Arjan van der Meer" userId="008f28a2-684e-4523-b3ca-dcb37d9c3e5d" providerId="ADAL" clId="{2B06979C-09FA-4ACE-9D1B-5392C9D6EE8C}" dt="2021-10-28T09:25:58.229" v="1517"/>
          <ac:spMkLst>
            <pc:docMk/>
            <pc:sldMk cId="1057191630" sldId="1122"/>
            <ac:spMk id="62" creationId="{F5503F13-5BFE-45CF-9100-778A14E4EDF3}"/>
          </ac:spMkLst>
        </pc:spChg>
        <pc:spChg chg="mod">
          <ac:chgData name="Arjan van der Meer" userId="008f28a2-684e-4523-b3ca-dcb37d9c3e5d" providerId="ADAL" clId="{2B06979C-09FA-4ACE-9D1B-5392C9D6EE8C}" dt="2021-10-27T13:33:57.052" v="274" actId="1076"/>
          <ac:spMkLst>
            <pc:docMk/>
            <pc:sldMk cId="1057191630" sldId="1122"/>
            <ac:spMk id="63" creationId="{3C9738C2-8D59-42C0-8252-EBB2956C2A73}"/>
          </ac:spMkLst>
        </pc:spChg>
        <pc:spChg chg="mod">
          <ac:chgData name="Arjan van der Meer" userId="008f28a2-684e-4523-b3ca-dcb37d9c3e5d" providerId="ADAL" clId="{2B06979C-09FA-4ACE-9D1B-5392C9D6EE8C}" dt="2021-10-27T13:33:53.407" v="273" actId="1076"/>
          <ac:spMkLst>
            <pc:docMk/>
            <pc:sldMk cId="1057191630" sldId="1122"/>
            <ac:spMk id="64" creationId="{EAB20B6E-BB39-4127-8094-86661EDEBC61}"/>
          </ac:spMkLst>
        </pc:spChg>
        <pc:spChg chg="add mod">
          <ac:chgData name="Arjan van der Meer" userId="008f28a2-684e-4523-b3ca-dcb37d9c3e5d" providerId="ADAL" clId="{2B06979C-09FA-4ACE-9D1B-5392C9D6EE8C}" dt="2021-10-28T09:25:58.229" v="1517"/>
          <ac:spMkLst>
            <pc:docMk/>
            <pc:sldMk cId="1057191630" sldId="1122"/>
            <ac:spMk id="65" creationId="{F1C6992A-5C3E-4772-8365-47AE1AD048D8}"/>
          </ac:spMkLst>
        </pc:spChg>
        <pc:spChg chg="add mod">
          <ac:chgData name="Arjan van der Meer" userId="008f28a2-684e-4523-b3ca-dcb37d9c3e5d" providerId="ADAL" clId="{2B06979C-09FA-4ACE-9D1B-5392C9D6EE8C}" dt="2021-10-28T09:25:58.229" v="1517"/>
          <ac:spMkLst>
            <pc:docMk/>
            <pc:sldMk cId="1057191630" sldId="1122"/>
            <ac:spMk id="69" creationId="{486336B8-6B98-4656-80E7-7DA82F8F9873}"/>
          </ac:spMkLst>
        </pc:spChg>
        <pc:spChg chg="add mod">
          <ac:chgData name="Arjan van der Meer" userId="008f28a2-684e-4523-b3ca-dcb37d9c3e5d" providerId="ADAL" clId="{2B06979C-09FA-4ACE-9D1B-5392C9D6EE8C}" dt="2021-10-28T09:25:58.229" v="1517"/>
          <ac:spMkLst>
            <pc:docMk/>
            <pc:sldMk cId="1057191630" sldId="1122"/>
            <ac:spMk id="70" creationId="{4D3C9E1C-04F1-4F2E-A0F6-81182C8057F0}"/>
          </ac:spMkLst>
        </pc:spChg>
        <pc:spChg chg="add mod">
          <ac:chgData name="Arjan van der Meer" userId="008f28a2-684e-4523-b3ca-dcb37d9c3e5d" providerId="ADAL" clId="{2B06979C-09FA-4ACE-9D1B-5392C9D6EE8C}" dt="2021-10-28T09:25:58.229" v="1517"/>
          <ac:spMkLst>
            <pc:docMk/>
            <pc:sldMk cId="1057191630" sldId="1122"/>
            <ac:spMk id="71" creationId="{EA0B9878-1728-46D0-A279-2598ADA1A458}"/>
          </ac:spMkLst>
        </pc:spChg>
        <pc:spChg chg="add mod">
          <ac:chgData name="Arjan van der Meer" userId="008f28a2-684e-4523-b3ca-dcb37d9c3e5d" providerId="ADAL" clId="{2B06979C-09FA-4ACE-9D1B-5392C9D6EE8C}" dt="2021-10-28T09:25:58.229" v="1517"/>
          <ac:spMkLst>
            <pc:docMk/>
            <pc:sldMk cId="1057191630" sldId="1122"/>
            <ac:spMk id="72" creationId="{89DE5936-CDED-4424-B38F-BC407459E2C6}"/>
          </ac:spMkLst>
        </pc:spChg>
        <pc:spChg chg="add mod">
          <ac:chgData name="Arjan van der Meer" userId="008f28a2-684e-4523-b3ca-dcb37d9c3e5d" providerId="ADAL" clId="{2B06979C-09FA-4ACE-9D1B-5392C9D6EE8C}" dt="2021-10-28T09:25:58.229" v="1517"/>
          <ac:spMkLst>
            <pc:docMk/>
            <pc:sldMk cId="1057191630" sldId="1122"/>
            <ac:spMk id="74" creationId="{EA1FBD3F-15F1-4510-8B29-8010804FD214}"/>
          </ac:spMkLst>
        </pc:spChg>
        <pc:spChg chg="add mod">
          <ac:chgData name="Arjan van der Meer" userId="008f28a2-684e-4523-b3ca-dcb37d9c3e5d" providerId="ADAL" clId="{2B06979C-09FA-4ACE-9D1B-5392C9D6EE8C}" dt="2021-10-28T09:25:58.229" v="1517"/>
          <ac:spMkLst>
            <pc:docMk/>
            <pc:sldMk cId="1057191630" sldId="1122"/>
            <ac:spMk id="76" creationId="{B6C93001-826F-4AA6-9E76-3E75C53E39EB}"/>
          </ac:spMkLst>
        </pc:spChg>
        <pc:spChg chg="add mod">
          <ac:chgData name="Arjan van der Meer" userId="008f28a2-684e-4523-b3ca-dcb37d9c3e5d" providerId="ADAL" clId="{2B06979C-09FA-4ACE-9D1B-5392C9D6EE8C}" dt="2021-10-28T09:25:58.229" v="1517"/>
          <ac:spMkLst>
            <pc:docMk/>
            <pc:sldMk cId="1057191630" sldId="1122"/>
            <ac:spMk id="77" creationId="{FD0FF40C-E81A-43C8-AF03-A01F301D532C}"/>
          </ac:spMkLst>
        </pc:spChg>
        <pc:spChg chg="add mod">
          <ac:chgData name="Arjan van der Meer" userId="008f28a2-684e-4523-b3ca-dcb37d9c3e5d" providerId="ADAL" clId="{2B06979C-09FA-4ACE-9D1B-5392C9D6EE8C}" dt="2021-10-28T09:25:58.229" v="1517"/>
          <ac:spMkLst>
            <pc:docMk/>
            <pc:sldMk cId="1057191630" sldId="1122"/>
            <ac:spMk id="78" creationId="{2B19A692-582A-4D54-9E51-9C1387A2F31C}"/>
          </ac:spMkLst>
        </pc:spChg>
        <pc:spChg chg="add mod">
          <ac:chgData name="Arjan van der Meer" userId="008f28a2-684e-4523-b3ca-dcb37d9c3e5d" providerId="ADAL" clId="{2B06979C-09FA-4ACE-9D1B-5392C9D6EE8C}" dt="2021-10-28T09:25:58.229" v="1517"/>
          <ac:spMkLst>
            <pc:docMk/>
            <pc:sldMk cId="1057191630" sldId="1122"/>
            <ac:spMk id="80" creationId="{E52AE323-77B9-4607-814C-48279910CF69}"/>
          </ac:spMkLst>
        </pc:spChg>
        <pc:spChg chg="add mod">
          <ac:chgData name="Arjan van der Meer" userId="008f28a2-684e-4523-b3ca-dcb37d9c3e5d" providerId="ADAL" clId="{2B06979C-09FA-4ACE-9D1B-5392C9D6EE8C}" dt="2021-10-28T09:25:58.229" v="1517"/>
          <ac:spMkLst>
            <pc:docMk/>
            <pc:sldMk cId="1057191630" sldId="1122"/>
            <ac:spMk id="81" creationId="{8DDCD678-6C71-4622-AA4C-D9215F7694F2}"/>
          </ac:spMkLst>
        </pc:spChg>
        <pc:spChg chg="add mod">
          <ac:chgData name="Arjan van der Meer" userId="008f28a2-684e-4523-b3ca-dcb37d9c3e5d" providerId="ADAL" clId="{2B06979C-09FA-4ACE-9D1B-5392C9D6EE8C}" dt="2021-10-28T09:25:58.229" v="1517"/>
          <ac:spMkLst>
            <pc:docMk/>
            <pc:sldMk cId="1057191630" sldId="1122"/>
            <ac:spMk id="82" creationId="{B05E6330-EC84-4F0F-90FC-86980CCCAD8B}"/>
          </ac:spMkLst>
        </pc:spChg>
        <pc:spChg chg="add mod">
          <ac:chgData name="Arjan van der Meer" userId="008f28a2-684e-4523-b3ca-dcb37d9c3e5d" providerId="ADAL" clId="{2B06979C-09FA-4ACE-9D1B-5392C9D6EE8C}" dt="2021-10-28T09:25:58.229" v="1517"/>
          <ac:spMkLst>
            <pc:docMk/>
            <pc:sldMk cId="1057191630" sldId="1122"/>
            <ac:spMk id="83" creationId="{6534D0AA-ED31-4382-A45C-A94F85D449FD}"/>
          </ac:spMkLst>
        </pc:spChg>
        <pc:spChg chg="add mod">
          <ac:chgData name="Arjan van der Meer" userId="008f28a2-684e-4523-b3ca-dcb37d9c3e5d" providerId="ADAL" clId="{2B06979C-09FA-4ACE-9D1B-5392C9D6EE8C}" dt="2021-10-28T09:25:58.229" v="1517"/>
          <ac:spMkLst>
            <pc:docMk/>
            <pc:sldMk cId="1057191630" sldId="1122"/>
            <ac:spMk id="84" creationId="{7F402ADF-137B-417A-B83C-D4F9E6465593}"/>
          </ac:spMkLst>
        </pc:spChg>
        <pc:spChg chg="add mod">
          <ac:chgData name="Arjan van der Meer" userId="008f28a2-684e-4523-b3ca-dcb37d9c3e5d" providerId="ADAL" clId="{2B06979C-09FA-4ACE-9D1B-5392C9D6EE8C}" dt="2021-10-28T09:25:58.229" v="1517"/>
          <ac:spMkLst>
            <pc:docMk/>
            <pc:sldMk cId="1057191630" sldId="1122"/>
            <ac:spMk id="86" creationId="{A46BD5B0-6B11-434E-8B52-25865E6EA9E2}"/>
          </ac:spMkLst>
        </pc:spChg>
        <pc:cxnChg chg="mod">
          <ac:chgData name="Arjan van der Meer" userId="008f28a2-684e-4523-b3ca-dcb37d9c3e5d" providerId="ADAL" clId="{2B06979C-09FA-4ACE-9D1B-5392C9D6EE8C}" dt="2021-10-27T13:33:00.032" v="269" actId="14100"/>
          <ac:cxnSpMkLst>
            <pc:docMk/>
            <pc:sldMk cId="1057191630" sldId="1122"/>
            <ac:cxnSpMk id="7" creationId="{9C07DE62-A8D9-4B58-8D06-22DA10518B49}"/>
          </ac:cxnSpMkLst>
        </pc:cxnChg>
        <pc:cxnChg chg="add del mod">
          <ac:chgData name="Arjan van der Meer" userId="008f28a2-684e-4523-b3ca-dcb37d9c3e5d" providerId="ADAL" clId="{2B06979C-09FA-4ACE-9D1B-5392C9D6EE8C}" dt="2021-10-28T09:25:57.157" v="1516" actId="478"/>
          <ac:cxnSpMkLst>
            <pc:docMk/>
            <pc:sldMk cId="1057191630" sldId="1122"/>
            <ac:cxnSpMk id="10" creationId="{139E69A2-8949-43CF-8243-C16BAB9E5001}"/>
          </ac:cxnSpMkLst>
        </pc:cxnChg>
        <pc:cxnChg chg="add mod">
          <ac:chgData name="Arjan van der Meer" userId="008f28a2-684e-4523-b3ca-dcb37d9c3e5d" providerId="ADAL" clId="{2B06979C-09FA-4ACE-9D1B-5392C9D6EE8C}" dt="2021-10-27T13:34:15.902" v="275" actId="1582"/>
          <ac:cxnSpMkLst>
            <pc:docMk/>
            <pc:sldMk cId="1057191630" sldId="1122"/>
            <ac:cxnSpMk id="15" creationId="{B17D155E-1FA0-4AE5-BACB-F779F700399B}"/>
          </ac:cxnSpMkLst>
        </pc:cxnChg>
        <pc:cxnChg chg="add mod">
          <ac:chgData name="Arjan van der Meer" userId="008f28a2-684e-4523-b3ca-dcb37d9c3e5d" providerId="ADAL" clId="{2B06979C-09FA-4ACE-9D1B-5392C9D6EE8C}" dt="2021-10-27T13:34:15.902" v="275" actId="1582"/>
          <ac:cxnSpMkLst>
            <pc:docMk/>
            <pc:sldMk cId="1057191630" sldId="1122"/>
            <ac:cxnSpMk id="17" creationId="{C9686E58-6C7F-4903-B62D-80DB98DED21C}"/>
          </ac:cxnSpMkLst>
        </pc:cxnChg>
        <pc:cxnChg chg="del mod">
          <ac:chgData name="Arjan van der Meer" userId="008f28a2-684e-4523-b3ca-dcb37d9c3e5d" providerId="ADAL" clId="{2B06979C-09FA-4ACE-9D1B-5392C9D6EE8C}" dt="2021-10-28T09:25:57.157" v="1516" actId="478"/>
          <ac:cxnSpMkLst>
            <pc:docMk/>
            <pc:sldMk cId="1057191630" sldId="1122"/>
            <ac:cxnSpMk id="34" creationId="{6106B9A8-8F0E-457F-B871-E67980A2780E}"/>
          </ac:cxnSpMkLst>
        </pc:cxnChg>
        <pc:cxnChg chg="add del mod">
          <ac:chgData name="Arjan van der Meer" userId="008f28a2-684e-4523-b3ca-dcb37d9c3e5d" providerId="ADAL" clId="{2B06979C-09FA-4ACE-9D1B-5392C9D6EE8C}" dt="2021-10-28T09:25:57.157" v="1516" actId="478"/>
          <ac:cxnSpMkLst>
            <pc:docMk/>
            <pc:sldMk cId="1057191630" sldId="1122"/>
            <ac:cxnSpMk id="37" creationId="{5BBD43B4-DD8B-409C-B308-896E521CD0FD}"/>
          </ac:cxnSpMkLst>
        </pc:cxnChg>
        <pc:cxnChg chg="del mod">
          <ac:chgData name="Arjan van der Meer" userId="008f28a2-684e-4523-b3ca-dcb37d9c3e5d" providerId="ADAL" clId="{2B06979C-09FA-4ACE-9D1B-5392C9D6EE8C}" dt="2021-10-28T09:25:57.157" v="1516" actId="478"/>
          <ac:cxnSpMkLst>
            <pc:docMk/>
            <pc:sldMk cId="1057191630" sldId="1122"/>
            <ac:cxnSpMk id="40" creationId="{5DFC4400-F082-4A45-9F7F-4218034A6058}"/>
          </ac:cxnSpMkLst>
        </pc:cxnChg>
        <pc:cxnChg chg="del mod">
          <ac:chgData name="Arjan van der Meer" userId="008f28a2-684e-4523-b3ca-dcb37d9c3e5d" providerId="ADAL" clId="{2B06979C-09FA-4ACE-9D1B-5392C9D6EE8C}" dt="2021-10-28T09:25:57.157" v="1516" actId="478"/>
          <ac:cxnSpMkLst>
            <pc:docMk/>
            <pc:sldMk cId="1057191630" sldId="1122"/>
            <ac:cxnSpMk id="49" creationId="{DDCA1091-D361-430C-827D-D3C762563321}"/>
          </ac:cxnSpMkLst>
        </pc:cxnChg>
        <pc:cxnChg chg="del mod">
          <ac:chgData name="Arjan van der Meer" userId="008f28a2-684e-4523-b3ca-dcb37d9c3e5d" providerId="ADAL" clId="{2B06979C-09FA-4ACE-9D1B-5392C9D6EE8C}" dt="2021-10-28T09:25:57.157" v="1516" actId="478"/>
          <ac:cxnSpMkLst>
            <pc:docMk/>
            <pc:sldMk cId="1057191630" sldId="1122"/>
            <ac:cxnSpMk id="50" creationId="{B7522B28-564A-49F2-BBE9-9D02968C1FA2}"/>
          </ac:cxnSpMkLst>
        </pc:cxnChg>
        <pc:cxnChg chg="del mod">
          <ac:chgData name="Arjan van der Meer" userId="008f28a2-684e-4523-b3ca-dcb37d9c3e5d" providerId="ADAL" clId="{2B06979C-09FA-4ACE-9D1B-5392C9D6EE8C}" dt="2021-10-28T09:25:57.157" v="1516" actId="478"/>
          <ac:cxnSpMkLst>
            <pc:docMk/>
            <pc:sldMk cId="1057191630" sldId="1122"/>
            <ac:cxnSpMk id="51" creationId="{11060D11-EC1E-4458-ABF7-17E2EC4BB6DF}"/>
          </ac:cxnSpMkLst>
        </pc:cxnChg>
        <pc:cxnChg chg="mod">
          <ac:chgData name="Arjan van der Meer" userId="008f28a2-684e-4523-b3ca-dcb37d9c3e5d" providerId="ADAL" clId="{2B06979C-09FA-4ACE-9D1B-5392C9D6EE8C}" dt="2021-10-27T13:32:51.313" v="266" actId="1076"/>
          <ac:cxnSpMkLst>
            <pc:docMk/>
            <pc:sldMk cId="1057191630" sldId="1122"/>
            <ac:cxnSpMk id="60" creationId="{CBAA7CE2-9385-430B-A8A1-EF8DD6393C2C}"/>
          </ac:cxnSpMkLst>
        </pc:cxnChg>
        <pc:cxnChg chg="add mod">
          <ac:chgData name="Arjan van der Meer" userId="008f28a2-684e-4523-b3ca-dcb37d9c3e5d" providerId="ADAL" clId="{2B06979C-09FA-4ACE-9D1B-5392C9D6EE8C}" dt="2021-10-28T09:25:58.229" v="1517"/>
          <ac:cxnSpMkLst>
            <pc:docMk/>
            <pc:sldMk cId="1057191630" sldId="1122"/>
            <ac:cxnSpMk id="66" creationId="{ADE4656E-3D0E-4AFF-B77E-D0BB6197A78E}"/>
          </ac:cxnSpMkLst>
        </pc:cxnChg>
        <pc:cxnChg chg="add mod">
          <ac:chgData name="Arjan van der Meer" userId="008f28a2-684e-4523-b3ca-dcb37d9c3e5d" providerId="ADAL" clId="{2B06979C-09FA-4ACE-9D1B-5392C9D6EE8C}" dt="2021-10-28T09:25:58.229" v="1517"/>
          <ac:cxnSpMkLst>
            <pc:docMk/>
            <pc:sldMk cId="1057191630" sldId="1122"/>
            <ac:cxnSpMk id="67" creationId="{D7ABFF10-F376-480A-BD75-CAA6AC7E74D0}"/>
          </ac:cxnSpMkLst>
        </pc:cxnChg>
        <pc:cxnChg chg="add mod">
          <ac:chgData name="Arjan van der Meer" userId="008f28a2-684e-4523-b3ca-dcb37d9c3e5d" providerId="ADAL" clId="{2B06979C-09FA-4ACE-9D1B-5392C9D6EE8C}" dt="2021-10-28T09:25:58.229" v="1517"/>
          <ac:cxnSpMkLst>
            <pc:docMk/>
            <pc:sldMk cId="1057191630" sldId="1122"/>
            <ac:cxnSpMk id="68" creationId="{EFAFACB4-7104-46A3-B3D5-18C9895C436A}"/>
          </ac:cxnSpMkLst>
        </pc:cxnChg>
        <pc:cxnChg chg="add mod">
          <ac:chgData name="Arjan van der Meer" userId="008f28a2-684e-4523-b3ca-dcb37d9c3e5d" providerId="ADAL" clId="{2B06979C-09FA-4ACE-9D1B-5392C9D6EE8C}" dt="2021-10-28T09:25:58.229" v="1517"/>
          <ac:cxnSpMkLst>
            <pc:docMk/>
            <pc:sldMk cId="1057191630" sldId="1122"/>
            <ac:cxnSpMk id="73" creationId="{2690474A-EC76-4724-8C04-99A592E2958E}"/>
          </ac:cxnSpMkLst>
        </pc:cxnChg>
        <pc:cxnChg chg="add mod">
          <ac:chgData name="Arjan van der Meer" userId="008f28a2-684e-4523-b3ca-dcb37d9c3e5d" providerId="ADAL" clId="{2B06979C-09FA-4ACE-9D1B-5392C9D6EE8C}" dt="2021-10-28T09:25:58.229" v="1517"/>
          <ac:cxnSpMkLst>
            <pc:docMk/>
            <pc:sldMk cId="1057191630" sldId="1122"/>
            <ac:cxnSpMk id="75" creationId="{6255CFA0-AE11-4DC7-B89D-62432303DA51}"/>
          </ac:cxnSpMkLst>
        </pc:cxnChg>
        <pc:cxnChg chg="add mod">
          <ac:chgData name="Arjan van der Meer" userId="008f28a2-684e-4523-b3ca-dcb37d9c3e5d" providerId="ADAL" clId="{2B06979C-09FA-4ACE-9D1B-5392C9D6EE8C}" dt="2021-10-28T09:25:58.229" v="1517"/>
          <ac:cxnSpMkLst>
            <pc:docMk/>
            <pc:sldMk cId="1057191630" sldId="1122"/>
            <ac:cxnSpMk id="79" creationId="{4F45DEFF-FCC0-4755-881B-13AABE076382}"/>
          </ac:cxnSpMkLst>
        </pc:cxnChg>
        <pc:cxnChg chg="add mod">
          <ac:chgData name="Arjan van der Meer" userId="008f28a2-684e-4523-b3ca-dcb37d9c3e5d" providerId="ADAL" clId="{2B06979C-09FA-4ACE-9D1B-5392C9D6EE8C}" dt="2021-10-28T09:25:58.229" v="1517"/>
          <ac:cxnSpMkLst>
            <pc:docMk/>
            <pc:sldMk cId="1057191630" sldId="1122"/>
            <ac:cxnSpMk id="85" creationId="{B6385049-C9E7-4112-B713-F13C72F0E85D}"/>
          </ac:cxnSpMkLst>
        </pc:cxnChg>
        <pc:cxnChg chg="add del mod">
          <ac:chgData name="Arjan van der Meer" userId="008f28a2-684e-4523-b3ca-dcb37d9c3e5d" providerId="ADAL" clId="{2B06979C-09FA-4ACE-9D1B-5392C9D6EE8C}" dt="2021-10-28T09:26:03.955" v="1518" actId="478"/>
          <ac:cxnSpMkLst>
            <pc:docMk/>
            <pc:sldMk cId="1057191630" sldId="1122"/>
            <ac:cxnSpMk id="87" creationId="{F9D494E9-1C17-485B-B28F-94088540721D}"/>
          </ac:cxnSpMkLst>
        </pc:cxnChg>
      </pc:sldChg>
      <pc:sldChg chg="addSp delSp modSp mod modAnim">
        <pc:chgData name="Arjan van der Meer" userId="008f28a2-684e-4523-b3ca-dcb37d9c3e5d" providerId="ADAL" clId="{2B06979C-09FA-4ACE-9D1B-5392C9D6EE8C}" dt="2021-10-28T09:33:20.165" v="1520"/>
        <pc:sldMkLst>
          <pc:docMk/>
          <pc:sldMk cId="2448761889" sldId="1123"/>
        </pc:sldMkLst>
        <pc:spChg chg="mod">
          <ac:chgData name="Arjan van der Meer" userId="008f28a2-684e-4523-b3ca-dcb37d9c3e5d" providerId="ADAL" clId="{2B06979C-09FA-4ACE-9D1B-5392C9D6EE8C}" dt="2021-10-27T14:04:41.702" v="686" actId="20577"/>
          <ac:spMkLst>
            <pc:docMk/>
            <pc:sldMk cId="2448761889" sldId="1123"/>
            <ac:spMk id="2" creationId="{53CB77FA-CF1B-4B0E-A304-10CE6620EE56}"/>
          </ac:spMkLst>
        </pc:spChg>
        <pc:spChg chg="del">
          <ac:chgData name="Arjan van der Meer" userId="008f28a2-684e-4523-b3ca-dcb37d9c3e5d" providerId="ADAL" clId="{2B06979C-09FA-4ACE-9D1B-5392C9D6EE8C}" dt="2021-10-27T13:58:38.898" v="560" actId="478"/>
          <ac:spMkLst>
            <pc:docMk/>
            <pc:sldMk cId="2448761889" sldId="1123"/>
            <ac:spMk id="19" creationId="{69D233B8-BD14-42F3-8D3D-E627BF753CE3}"/>
          </ac:spMkLst>
        </pc:spChg>
        <pc:spChg chg="del">
          <ac:chgData name="Arjan van der Meer" userId="008f28a2-684e-4523-b3ca-dcb37d9c3e5d" providerId="ADAL" clId="{2B06979C-09FA-4ACE-9D1B-5392C9D6EE8C}" dt="2021-10-27T13:58:38.898" v="560" actId="478"/>
          <ac:spMkLst>
            <pc:docMk/>
            <pc:sldMk cId="2448761889" sldId="1123"/>
            <ac:spMk id="20" creationId="{AE503076-64F9-4971-927E-2FB0D6A204CD}"/>
          </ac:spMkLst>
        </pc:spChg>
        <pc:spChg chg="del">
          <ac:chgData name="Arjan van der Meer" userId="008f28a2-684e-4523-b3ca-dcb37d9c3e5d" providerId="ADAL" clId="{2B06979C-09FA-4ACE-9D1B-5392C9D6EE8C}" dt="2021-10-27T13:58:38.898" v="560" actId="478"/>
          <ac:spMkLst>
            <pc:docMk/>
            <pc:sldMk cId="2448761889" sldId="1123"/>
            <ac:spMk id="21" creationId="{D353F02A-3E3E-4A23-B0B9-F898044D5C99}"/>
          </ac:spMkLst>
        </pc:spChg>
        <pc:spChg chg="del">
          <ac:chgData name="Arjan van der Meer" userId="008f28a2-684e-4523-b3ca-dcb37d9c3e5d" providerId="ADAL" clId="{2B06979C-09FA-4ACE-9D1B-5392C9D6EE8C}" dt="2021-10-27T13:58:38.898" v="560" actId="478"/>
          <ac:spMkLst>
            <pc:docMk/>
            <pc:sldMk cId="2448761889" sldId="1123"/>
            <ac:spMk id="22" creationId="{1349657E-0642-4270-9080-3D0A4538072D}"/>
          </ac:spMkLst>
        </pc:spChg>
        <pc:spChg chg="del">
          <ac:chgData name="Arjan van der Meer" userId="008f28a2-684e-4523-b3ca-dcb37d9c3e5d" providerId="ADAL" clId="{2B06979C-09FA-4ACE-9D1B-5392C9D6EE8C}" dt="2021-10-27T13:58:38.898" v="560" actId="478"/>
          <ac:spMkLst>
            <pc:docMk/>
            <pc:sldMk cId="2448761889" sldId="1123"/>
            <ac:spMk id="23" creationId="{D12F4F51-4D34-4E14-B4D5-B87447DB6D1E}"/>
          </ac:spMkLst>
        </pc:spChg>
        <pc:spChg chg="del">
          <ac:chgData name="Arjan van der Meer" userId="008f28a2-684e-4523-b3ca-dcb37d9c3e5d" providerId="ADAL" clId="{2B06979C-09FA-4ACE-9D1B-5392C9D6EE8C}" dt="2021-10-27T13:58:38.898" v="560" actId="478"/>
          <ac:spMkLst>
            <pc:docMk/>
            <pc:sldMk cId="2448761889" sldId="1123"/>
            <ac:spMk id="24" creationId="{25E4D455-DDDF-4DA5-9A71-54FF1AB6A335}"/>
          </ac:spMkLst>
        </pc:spChg>
        <pc:spChg chg="del">
          <ac:chgData name="Arjan van der Meer" userId="008f28a2-684e-4523-b3ca-dcb37d9c3e5d" providerId="ADAL" clId="{2B06979C-09FA-4ACE-9D1B-5392C9D6EE8C}" dt="2021-10-27T13:58:38.898" v="560" actId="478"/>
          <ac:spMkLst>
            <pc:docMk/>
            <pc:sldMk cId="2448761889" sldId="1123"/>
            <ac:spMk id="40" creationId="{333E5308-DD15-4E24-9AFF-66AA31C7A3E0}"/>
          </ac:spMkLst>
        </pc:spChg>
        <pc:spChg chg="del">
          <ac:chgData name="Arjan van der Meer" userId="008f28a2-684e-4523-b3ca-dcb37d9c3e5d" providerId="ADAL" clId="{2B06979C-09FA-4ACE-9D1B-5392C9D6EE8C}" dt="2021-10-27T13:58:38.898" v="560" actId="478"/>
          <ac:spMkLst>
            <pc:docMk/>
            <pc:sldMk cId="2448761889" sldId="1123"/>
            <ac:spMk id="41" creationId="{CB920421-3AA7-4EFA-B205-1BB780993467}"/>
          </ac:spMkLst>
        </pc:spChg>
        <pc:spChg chg="del">
          <ac:chgData name="Arjan van der Meer" userId="008f28a2-684e-4523-b3ca-dcb37d9c3e5d" providerId="ADAL" clId="{2B06979C-09FA-4ACE-9D1B-5392C9D6EE8C}" dt="2021-10-27T13:59:28.082" v="572" actId="478"/>
          <ac:spMkLst>
            <pc:docMk/>
            <pc:sldMk cId="2448761889" sldId="1123"/>
            <ac:spMk id="43" creationId="{556D8970-073C-41AB-8678-177186CB11B3}"/>
          </ac:spMkLst>
        </pc:spChg>
        <pc:spChg chg="del">
          <ac:chgData name="Arjan van der Meer" userId="008f28a2-684e-4523-b3ca-dcb37d9c3e5d" providerId="ADAL" clId="{2B06979C-09FA-4ACE-9D1B-5392C9D6EE8C}" dt="2021-10-27T14:01:11.391" v="586" actId="478"/>
          <ac:spMkLst>
            <pc:docMk/>
            <pc:sldMk cId="2448761889" sldId="1123"/>
            <ac:spMk id="44" creationId="{18DC84B4-5574-4601-B246-452349F79999}"/>
          </ac:spMkLst>
        </pc:spChg>
        <pc:spChg chg="del">
          <ac:chgData name="Arjan van der Meer" userId="008f28a2-684e-4523-b3ca-dcb37d9c3e5d" providerId="ADAL" clId="{2B06979C-09FA-4ACE-9D1B-5392C9D6EE8C}" dt="2021-10-27T14:01:11.391" v="586" actId="478"/>
          <ac:spMkLst>
            <pc:docMk/>
            <pc:sldMk cId="2448761889" sldId="1123"/>
            <ac:spMk id="45" creationId="{EAFACA46-7B29-4E47-8698-9CB1B2D7DFE8}"/>
          </ac:spMkLst>
        </pc:spChg>
        <pc:spChg chg="del">
          <ac:chgData name="Arjan van der Meer" userId="008f28a2-684e-4523-b3ca-dcb37d9c3e5d" providerId="ADAL" clId="{2B06979C-09FA-4ACE-9D1B-5392C9D6EE8C}" dt="2021-10-27T14:01:11.391" v="586" actId="478"/>
          <ac:spMkLst>
            <pc:docMk/>
            <pc:sldMk cId="2448761889" sldId="1123"/>
            <ac:spMk id="46" creationId="{92CFFC24-D7F3-46E6-AC66-985CFAC1EE12}"/>
          </ac:spMkLst>
        </pc:spChg>
        <pc:spChg chg="add mod">
          <ac:chgData name="Arjan van der Meer" userId="008f28a2-684e-4523-b3ca-dcb37d9c3e5d" providerId="ADAL" clId="{2B06979C-09FA-4ACE-9D1B-5392C9D6EE8C}" dt="2021-10-27T13:58:52.057" v="564"/>
          <ac:spMkLst>
            <pc:docMk/>
            <pc:sldMk cId="2448761889" sldId="1123"/>
            <ac:spMk id="47" creationId="{8C8E1E61-59A3-4644-A8EB-A4668C32086E}"/>
          </ac:spMkLst>
        </pc:spChg>
        <pc:spChg chg="del">
          <ac:chgData name="Arjan van der Meer" userId="008f28a2-684e-4523-b3ca-dcb37d9c3e5d" providerId="ADAL" clId="{2B06979C-09FA-4ACE-9D1B-5392C9D6EE8C}" dt="2021-10-27T13:58:38.898" v="560" actId="478"/>
          <ac:spMkLst>
            <pc:docMk/>
            <pc:sldMk cId="2448761889" sldId="1123"/>
            <ac:spMk id="48" creationId="{0A5A1562-6B26-4D25-AD5C-5EECE04F29C4}"/>
          </ac:spMkLst>
        </pc:spChg>
        <pc:spChg chg="del">
          <ac:chgData name="Arjan van der Meer" userId="008f28a2-684e-4523-b3ca-dcb37d9c3e5d" providerId="ADAL" clId="{2B06979C-09FA-4ACE-9D1B-5392C9D6EE8C}" dt="2021-10-27T13:58:38.898" v="560" actId="478"/>
          <ac:spMkLst>
            <pc:docMk/>
            <pc:sldMk cId="2448761889" sldId="1123"/>
            <ac:spMk id="49" creationId="{13CE74E9-EF83-4FA6-9D22-5CE5AE28988B}"/>
          </ac:spMkLst>
        </pc:spChg>
        <pc:spChg chg="del">
          <ac:chgData name="Arjan van der Meer" userId="008f28a2-684e-4523-b3ca-dcb37d9c3e5d" providerId="ADAL" clId="{2B06979C-09FA-4ACE-9D1B-5392C9D6EE8C}" dt="2021-10-27T13:58:38.898" v="560" actId="478"/>
          <ac:spMkLst>
            <pc:docMk/>
            <pc:sldMk cId="2448761889" sldId="1123"/>
            <ac:spMk id="52" creationId="{4E0FBEF9-9C87-49D3-9B58-64B48B92F5C9}"/>
          </ac:spMkLst>
        </pc:spChg>
        <pc:spChg chg="del">
          <ac:chgData name="Arjan van der Meer" userId="008f28a2-684e-4523-b3ca-dcb37d9c3e5d" providerId="ADAL" clId="{2B06979C-09FA-4ACE-9D1B-5392C9D6EE8C}" dt="2021-10-27T13:58:38.898" v="560" actId="478"/>
          <ac:spMkLst>
            <pc:docMk/>
            <pc:sldMk cId="2448761889" sldId="1123"/>
            <ac:spMk id="53" creationId="{26062C52-F13B-4226-9CE0-3A262DC286CF}"/>
          </ac:spMkLst>
        </pc:spChg>
        <pc:spChg chg="del">
          <ac:chgData name="Arjan van der Meer" userId="008f28a2-684e-4523-b3ca-dcb37d9c3e5d" providerId="ADAL" clId="{2B06979C-09FA-4ACE-9D1B-5392C9D6EE8C}" dt="2021-10-27T13:58:38.898" v="560" actId="478"/>
          <ac:spMkLst>
            <pc:docMk/>
            <pc:sldMk cId="2448761889" sldId="1123"/>
            <ac:spMk id="55" creationId="{30EFDA3C-2A8C-404C-9FC8-C8F70AA3E181}"/>
          </ac:spMkLst>
        </pc:spChg>
        <pc:spChg chg="del">
          <ac:chgData name="Arjan van der Meer" userId="008f28a2-684e-4523-b3ca-dcb37d9c3e5d" providerId="ADAL" clId="{2B06979C-09FA-4ACE-9D1B-5392C9D6EE8C}" dt="2021-10-27T13:58:38.898" v="560" actId="478"/>
          <ac:spMkLst>
            <pc:docMk/>
            <pc:sldMk cId="2448761889" sldId="1123"/>
            <ac:spMk id="56" creationId="{35D7597D-8037-40C1-BF47-6B3D10EE0BF9}"/>
          </ac:spMkLst>
        </pc:spChg>
        <pc:spChg chg="del">
          <ac:chgData name="Arjan van der Meer" userId="008f28a2-684e-4523-b3ca-dcb37d9c3e5d" providerId="ADAL" clId="{2B06979C-09FA-4ACE-9D1B-5392C9D6EE8C}" dt="2021-10-27T13:58:38.898" v="560" actId="478"/>
          <ac:spMkLst>
            <pc:docMk/>
            <pc:sldMk cId="2448761889" sldId="1123"/>
            <ac:spMk id="57" creationId="{197D498D-D5D6-4759-93E2-42EA9A37CB45}"/>
          </ac:spMkLst>
        </pc:spChg>
        <pc:spChg chg="del">
          <ac:chgData name="Arjan van der Meer" userId="008f28a2-684e-4523-b3ca-dcb37d9c3e5d" providerId="ADAL" clId="{2B06979C-09FA-4ACE-9D1B-5392C9D6EE8C}" dt="2021-10-27T13:58:38.898" v="560" actId="478"/>
          <ac:spMkLst>
            <pc:docMk/>
            <pc:sldMk cId="2448761889" sldId="1123"/>
            <ac:spMk id="58" creationId="{3BF1DB98-FFD3-4E64-9D9D-47D72DD44EEB}"/>
          </ac:spMkLst>
        </pc:spChg>
        <pc:spChg chg="del">
          <ac:chgData name="Arjan van der Meer" userId="008f28a2-684e-4523-b3ca-dcb37d9c3e5d" providerId="ADAL" clId="{2B06979C-09FA-4ACE-9D1B-5392C9D6EE8C}" dt="2021-10-27T13:58:38.898" v="560" actId="478"/>
          <ac:spMkLst>
            <pc:docMk/>
            <pc:sldMk cId="2448761889" sldId="1123"/>
            <ac:spMk id="59" creationId="{A65FD5AC-8538-41AE-AF15-5A7D6618BEFB}"/>
          </ac:spMkLst>
        </pc:spChg>
        <pc:spChg chg="mod">
          <ac:chgData name="Arjan van der Meer" userId="008f28a2-684e-4523-b3ca-dcb37d9c3e5d" providerId="ADAL" clId="{2B06979C-09FA-4ACE-9D1B-5392C9D6EE8C}" dt="2021-10-27T14:00:50.834" v="583" actId="14100"/>
          <ac:spMkLst>
            <pc:docMk/>
            <pc:sldMk cId="2448761889" sldId="1123"/>
            <ac:spMk id="60" creationId="{0B0D5852-EE35-4561-BFE8-AA24EB4DAD9F}"/>
          </ac:spMkLst>
        </pc:spChg>
        <pc:spChg chg="add mod">
          <ac:chgData name="Arjan van der Meer" userId="008f28a2-684e-4523-b3ca-dcb37d9c3e5d" providerId="ADAL" clId="{2B06979C-09FA-4ACE-9D1B-5392C9D6EE8C}" dt="2021-10-27T13:58:52.057" v="564"/>
          <ac:spMkLst>
            <pc:docMk/>
            <pc:sldMk cId="2448761889" sldId="1123"/>
            <ac:spMk id="61" creationId="{D983E25F-B7F5-4696-83E7-F42073E2B40F}"/>
          </ac:spMkLst>
        </pc:spChg>
        <pc:spChg chg="add mod">
          <ac:chgData name="Arjan van der Meer" userId="008f28a2-684e-4523-b3ca-dcb37d9c3e5d" providerId="ADAL" clId="{2B06979C-09FA-4ACE-9D1B-5392C9D6EE8C}" dt="2021-10-27T13:58:52.057" v="564"/>
          <ac:spMkLst>
            <pc:docMk/>
            <pc:sldMk cId="2448761889" sldId="1123"/>
            <ac:spMk id="63" creationId="{C4595ACF-368A-45FE-925F-0D795208C45B}"/>
          </ac:spMkLst>
        </pc:spChg>
        <pc:spChg chg="mod">
          <ac:chgData name="Arjan van der Meer" userId="008f28a2-684e-4523-b3ca-dcb37d9c3e5d" providerId="ADAL" clId="{2B06979C-09FA-4ACE-9D1B-5392C9D6EE8C}" dt="2021-10-27T14:00:15.937" v="579" actId="1076"/>
          <ac:spMkLst>
            <pc:docMk/>
            <pc:sldMk cId="2448761889" sldId="1123"/>
            <ac:spMk id="64" creationId="{0236EF38-BC16-4445-B09B-75D3794DA876}"/>
          </ac:spMkLst>
        </pc:spChg>
        <pc:spChg chg="mod">
          <ac:chgData name="Arjan van der Meer" userId="008f28a2-684e-4523-b3ca-dcb37d9c3e5d" providerId="ADAL" clId="{2B06979C-09FA-4ACE-9D1B-5392C9D6EE8C}" dt="2021-10-27T14:00:34.492" v="581" actId="1076"/>
          <ac:spMkLst>
            <pc:docMk/>
            <pc:sldMk cId="2448761889" sldId="1123"/>
            <ac:spMk id="66" creationId="{F281DEA3-5CB1-45E3-9241-F6431917B150}"/>
          </ac:spMkLst>
        </pc:spChg>
        <pc:spChg chg="del">
          <ac:chgData name="Arjan van der Meer" userId="008f28a2-684e-4523-b3ca-dcb37d9c3e5d" providerId="ADAL" clId="{2B06979C-09FA-4ACE-9D1B-5392C9D6EE8C}" dt="2021-10-27T14:01:11.391" v="586" actId="478"/>
          <ac:spMkLst>
            <pc:docMk/>
            <pc:sldMk cId="2448761889" sldId="1123"/>
            <ac:spMk id="68" creationId="{4809ED20-037E-492B-9AFC-59DB4468EF9B}"/>
          </ac:spMkLst>
        </pc:spChg>
        <pc:spChg chg="del">
          <ac:chgData name="Arjan van der Meer" userId="008f28a2-684e-4523-b3ca-dcb37d9c3e5d" providerId="ADAL" clId="{2B06979C-09FA-4ACE-9D1B-5392C9D6EE8C}" dt="2021-10-27T14:01:11.391" v="586" actId="478"/>
          <ac:spMkLst>
            <pc:docMk/>
            <pc:sldMk cId="2448761889" sldId="1123"/>
            <ac:spMk id="70" creationId="{F6EFEA97-24CA-4D7A-B9A9-5FDC68A94640}"/>
          </ac:spMkLst>
        </pc:spChg>
        <pc:spChg chg="del">
          <ac:chgData name="Arjan van der Meer" userId="008f28a2-684e-4523-b3ca-dcb37d9c3e5d" providerId="ADAL" clId="{2B06979C-09FA-4ACE-9D1B-5392C9D6EE8C}" dt="2021-10-27T14:01:11.391" v="586" actId="478"/>
          <ac:spMkLst>
            <pc:docMk/>
            <pc:sldMk cId="2448761889" sldId="1123"/>
            <ac:spMk id="71" creationId="{94B2C327-7CBB-46F8-B324-260F9324F8DE}"/>
          </ac:spMkLst>
        </pc:spChg>
        <pc:spChg chg="mod">
          <ac:chgData name="Arjan van der Meer" userId="008f28a2-684e-4523-b3ca-dcb37d9c3e5d" providerId="ADAL" clId="{2B06979C-09FA-4ACE-9D1B-5392C9D6EE8C}" dt="2021-10-27T14:04:15.475" v="656" actId="1076"/>
          <ac:spMkLst>
            <pc:docMk/>
            <pc:sldMk cId="2448761889" sldId="1123"/>
            <ac:spMk id="72" creationId="{321395BA-65D6-4ACB-8404-253692F6C626}"/>
          </ac:spMkLst>
        </pc:spChg>
        <pc:spChg chg="add mod">
          <ac:chgData name="Arjan van der Meer" userId="008f28a2-684e-4523-b3ca-dcb37d9c3e5d" providerId="ADAL" clId="{2B06979C-09FA-4ACE-9D1B-5392C9D6EE8C}" dt="2021-10-27T13:58:52.057" v="564"/>
          <ac:spMkLst>
            <pc:docMk/>
            <pc:sldMk cId="2448761889" sldId="1123"/>
            <ac:spMk id="73" creationId="{845348C5-D400-4498-B0C9-C8591521BE45}"/>
          </ac:spMkLst>
        </pc:spChg>
        <pc:spChg chg="add mod">
          <ac:chgData name="Arjan van der Meer" userId="008f28a2-684e-4523-b3ca-dcb37d9c3e5d" providerId="ADAL" clId="{2B06979C-09FA-4ACE-9D1B-5392C9D6EE8C}" dt="2021-10-27T13:58:52.057" v="564"/>
          <ac:spMkLst>
            <pc:docMk/>
            <pc:sldMk cId="2448761889" sldId="1123"/>
            <ac:spMk id="74" creationId="{F5CF7189-4F4B-4678-BBDA-F57C9BCBF3E8}"/>
          </ac:spMkLst>
        </pc:spChg>
        <pc:spChg chg="add mod">
          <ac:chgData name="Arjan van der Meer" userId="008f28a2-684e-4523-b3ca-dcb37d9c3e5d" providerId="ADAL" clId="{2B06979C-09FA-4ACE-9D1B-5392C9D6EE8C}" dt="2021-10-27T13:58:52.057" v="564"/>
          <ac:spMkLst>
            <pc:docMk/>
            <pc:sldMk cId="2448761889" sldId="1123"/>
            <ac:spMk id="75" creationId="{CA5F2DA0-E1CC-470C-9C7D-81C1F6958850}"/>
          </ac:spMkLst>
        </pc:spChg>
        <pc:spChg chg="add mod">
          <ac:chgData name="Arjan van der Meer" userId="008f28a2-684e-4523-b3ca-dcb37d9c3e5d" providerId="ADAL" clId="{2B06979C-09FA-4ACE-9D1B-5392C9D6EE8C}" dt="2021-10-27T13:58:52.057" v="564"/>
          <ac:spMkLst>
            <pc:docMk/>
            <pc:sldMk cId="2448761889" sldId="1123"/>
            <ac:spMk id="77" creationId="{A1FBD09C-4628-4C65-9DB1-40C1AE35C55F}"/>
          </ac:spMkLst>
        </pc:spChg>
        <pc:spChg chg="add mod">
          <ac:chgData name="Arjan van der Meer" userId="008f28a2-684e-4523-b3ca-dcb37d9c3e5d" providerId="ADAL" clId="{2B06979C-09FA-4ACE-9D1B-5392C9D6EE8C}" dt="2021-10-27T13:58:52.057" v="564"/>
          <ac:spMkLst>
            <pc:docMk/>
            <pc:sldMk cId="2448761889" sldId="1123"/>
            <ac:spMk id="81" creationId="{BC9EC428-8561-415C-BCDB-E37D55BB16C4}"/>
          </ac:spMkLst>
        </pc:spChg>
        <pc:spChg chg="add mod">
          <ac:chgData name="Arjan van der Meer" userId="008f28a2-684e-4523-b3ca-dcb37d9c3e5d" providerId="ADAL" clId="{2B06979C-09FA-4ACE-9D1B-5392C9D6EE8C}" dt="2021-10-27T13:58:52.057" v="564"/>
          <ac:spMkLst>
            <pc:docMk/>
            <pc:sldMk cId="2448761889" sldId="1123"/>
            <ac:spMk id="84" creationId="{A16EB09C-7E2F-4DBA-89C8-D4257AC865AE}"/>
          </ac:spMkLst>
        </pc:spChg>
        <pc:spChg chg="add mod">
          <ac:chgData name="Arjan van der Meer" userId="008f28a2-684e-4523-b3ca-dcb37d9c3e5d" providerId="ADAL" clId="{2B06979C-09FA-4ACE-9D1B-5392C9D6EE8C}" dt="2021-10-27T13:58:52.057" v="564"/>
          <ac:spMkLst>
            <pc:docMk/>
            <pc:sldMk cId="2448761889" sldId="1123"/>
            <ac:spMk id="85" creationId="{634E1C08-E328-4398-99E0-D9140C238B3C}"/>
          </ac:spMkLst>
        </pc:spChg>
        <pc:spChg chg="add mod">
          <ac:chgData name="Arjan van der Meer" userId="008f28a2-684e-4523-b3ca-dcb37d9c3e5d" providerId="ADAL" clId="{2B06979C-09FA-4ACE-9D1B-5392C9D6EE8C}" dt="2021-10-27T13:58:52.057" v="564"/>
          <ac:spMkLst>
            <pc:docMk/>
            <pc:sldMk cId="2448761889" sldId="1123"/>
            <ac:spMk id="87" creationId="{FF60ABB8-D01B-408F-BA9E-E888D3046D29}"/>
          </ac:spMkLst>
        </pc:spChg>
        <pc:spChg chg="add mod">
          <ac:chgData name="Arjan van der Meer" userId="008f28a2-684e-4523-b3ca-dcb37d9c3e5d" providerId="ADAL" clId="{2B06979C-09FA-4ACE-9D1B-5392C9D6EE8C}" dt="2021-10-27T13:58:52.057" v="564"/>
          <ac:spMkLst>
            <pc:docMk/>
            <pc:sldMk cId="2448761889" sldId="1123"/>
            <ac:spMk id="88" creationId="{ACA1A3F4-C8DC-4570-9C40-397337467AC9}"/>
          </ac:spMkLst>
        </pc:spChg>
        <pc:spChg chg="add mod">
          <ac:chgData name="Arjan van der Meer" userId="008f28a2-684e-4523-b3ca-dcb37d9c3e5d" providerId="ADAL" clId="{2B06979C-09FA-4ACE-9D1B-5392C9D6EE8C}" dt="2021-10-27T13:58:52.057" v="564"/>
          <ac:spMkLst>
            <pc:docMk/>
            <pc:sldMk cId="2448761889" sldId="1123"/>
            <ac:spMk id="89" creationId="{AF351D90-603E-47AE-BF3D-BF6B7D3EE7FD}"/>
          </ac:spMkLst>
        </pc:spChg>
        <pc:spChg chg="add mod">
          <ac:chgData name="Arjan van der Meer" userId="008f28a2-684e-4523-b3ca-dcb37d9c3e5d" providerId="ADAL" clId="{2B06979C-09FA-4ACE-9D1B-5392C9D6EE8C}" dt="2021-10-27T13:58:52.057" v="564"/>
          <ac:spMkLst>
            <pc:docMk/>
            <pc:sldMk cId="2448761889" sldId="1123"/>
            <ac:spMk id="91" creationId="{8755161F-EF86-497E-848D-C9E9D197632E}"/>
          </ac:spMkLst>
        </pc:spChg>
        <pc:spChg chg="add mod">
          <ac:chgData name="Arjan van der Meer" userId="008f28a2-684e-4523-b3ca-dcb37d9c3e5d" providerId="ADAL" clId="{2B06979C-09FA-4ACE-9D1B-5392C9D6EE8C}" dt="2021-10-27T13:58:52.057" v="564"/>
          <ac:spMkLst>
            <pc:docMk/>
            <pc:sldMk cId="2448761889" sldId="1123"/>
            <ac:spMk id="92" creationId="{3B9560A1-DE4F-4C2F-A5B9-8B53FD503CCF}"/>
          </ac:spMkLst>
        </pc:spChg>
        <pc:spChg chg="add mod">
          <ac:chgData name="Arjan van der Meer" userId="008f28a2-684e-4523-b3ca-dcb37d9c3e5d" providerId="ADAL" clId="{2B06979C-09FA-4ACE-9D1B-5392C9D6EE8C}" dt="2021-10-27T13:58:52.057" v="564"/>
          <ac:spMkLst>
            <pc:docMk/>
            <pc:sldMk cId="2448761889" sldId="1123"/>
            <ac:spMk id="93" creationId="{2E8A1BD6-32CD-43E0-9237-8197ABE5617B}"/>
          </ac:spMkLst>
        </pc:spChg>
        <pc:spChg chg="add mod">
          <ac:chgData name="Arjan van der Meer" userId="008f28a2-684e-4523-b3ca-dcb37d9c3e5d" providerId="ADAL" clId="{2B06979C-09FA-4ACE-9D1B-5392C9D6EE8C}" dt="2021-10-27T13:58:52.057" v="564"/>
          <ac:spMkLst>
            <pc:docMk/>
            <pc:sldMk cId="2448761889" sldId="1123"/>
            <ac:spMk id="94" creationId="{A2D05E66-DF35-401D-855D-DF8FD877629A}"/>
          </ac:spMkLst>
        </pc:spChg>
        <pc:spChg chg="add mod">
          <ac:chgData name="Arjan van der Meer" userId="008f28a2-684e-4523-b3ca-dcb37d9c3e5d" providerId="ADAL" clId="{2B06979C-09FA-4ACE-9D1B-5392C9D6EE8C}" dt="2021-10-27T13:58:52.057" v="564"/>
          <ac:spMkLst>
            <pc:docMk/>
            <pc:sldMk cId="2448761889" sldId="1123"/>
            <ac:spMk id="95" creationId="{F8539062-730E-4D28-9CAD-B30AE0272AA5}"/>
          </ac:spMkLst>
        </pc:spChg>
        <pc:spChg chg="add mod">
          <ac:chgData name="Arjan van der Meer" userId="008f28a2-684e-4523-b3ca-dcb37d9c3e5d" providerId="ADAL" clId="{2B06979C-09FA-4ACE-9D1B-5392C9D6EE8C}" dt="2021-10-27T13:58:52.057" v="564"/>
          <ac:spMkLst>
            <pc:docMk/>
            <pc:sldMk cId="2448761889" sldId="1123"/>
            <ac:spMk id="96" creationId="{0A50B560-53D8-42FF-BEB7-C9BDD421B456}"/>
          </ac:spMkLst>
        </pc:spChg>
        <pc:spChg chg="add mod">
          <ac:chgData name="Arjan van der Meer" userId="008f28a2-684e-4523-b3ca-dcb37d9c3e5d" providerId="ADAL" clId="{2B06979C-09FA-4ACE-9D1B-5392C9D6EE8C}" dt="2021-10-27T13:58:52.057" v="564"/>
          <ac:spMkLst>
            <pc:docMk/>
            <pc:sldMk cId="2448761889" sldId="1123"/>
            <ac:spMk id="97" creationId="{FF0B3C22-EE63-4648-9FD2-82156401DA54}"/>
          </ac:spMkLst>
        </pc:spChg>
        <pc:spChg chg="add mod">
          <ac:chgData name="Arjan van der Meer" userId="008f28a2-684e-4523-b3ca-dcb37d9c3e5d" providerId="ADAL" clId="{2B06979C-09FA-4ACE-9D1B-5392C9D6EE8C}" dt="2021-10-27T13:58:52.057" v="564"/>
          <ac:spMkLst>
            <pc:docMk/>
            <pc:sldMk cId="2448761889" sldId="1123"/>
            <ac:spMk id="98" creationId="{439995BD-A2E3-4768-A511-D797E1CBF3D1}"/>
          </ac:spMkLst>
        </pc:spChg>
        <pc:spChg chg="add mod">
          <ac:chgData name="Arjan van der Meer" userId="008f28a2-684e-4523-b3ca-dcb37d9c3e5d" providerId="ADAL" clId="{2B06979C-09FA-4ACE-9D1B-5392C9D6EE8C}" dt="2021-10-27T13:58:52.057" v="564"/>
          <ac:spMkLst>
            <pc:docMk/>
            <pc:sldMk cId="2448761889" sldId="1123"/>
            <ac:spMk id="99" creationId="{51159E47-8F10-4FE9-BB2B-DD775455DB42}"/>
          </ac:spMkLst>
        </pc:spChg>
        <pc:spChg chg="add mod">
          <ac:chgData name="Arjan van der Meer" userId="008f28a2-684e-4523-b3ca-dcb37d9c3e5d" providerId="ADAL" clId="{2B06979C-09FA-4ACE-9D1B-5392C9D6EE8C}" dt="2021-10-27T13:59:24.866" v="571"/>
          <ac:spMkLst>
            <pc:docMk/>
            <pc:sldMk cId="2448761889" sldId="1123"/>
            <ac:spMk id="100" creationId="{34181DE9-5659-4A70-81EA-4BE0B79A78B7}"/>
          </ac:spMkLst>
        </pc:spChg>
        <pc:spChg chg="add mod">
          <ac:chgData name="Arjan van der Meer" userId="008f28a2-684e-4523-b3ca-dcb37d9c3e5d" providerId="ADAL" clId="{2B06979C-09FA-4ACE-9D1B-5392C9D6EE8C}" dt="2021-10-27T14:01:11.792" v="587"/>
          <ac:spMkLst>
            <pc:docMk/>
            <pc:sldMk cId="2448761889" sldId="1123"/>
            <ac:spMk id="101" creationId="{2C6F02FD-2205-41FD-A4B9-E5A1CB779D68}"/>
          </ac:spMkLst>
        </pc:spChg>
        <pc:spChg chg="add mod">
          <ac:chgData name="Arjan van der Meer" userId="008f28a2-684e-4523-b3ca-dcb37d9c3e5d" providerId="ADAL" clId="{2B06979C-09FA-4ACE-9D1B-5392C9D6EE8C}" dt="2021-10-27T14:01:11.792" v="587"/>
          <ac:spMkLst>
            <pc:docMk/>
            <pc:sldMk cId="2448761889" sldId="1123"/>
            <ac:spMk id="102" creationId="{F1519754-6468-4A29-B90E-E722535F5BFB}"/>
          </ac:spMkLst>
        </pc:spChg>
        <pc:spChg chg="add mod">
          <ac:chgData name="Arjan van der Meer" userId="008f28a2-684e-4523-b3ca-dcb37d9c3e5d" providerId="ADAL" clId="{2B06979C-09FA-4ACE-9D1B-5392C9D6EE8C}" dt="2021-10-27T14:01:11.792" v="587"/>
          <ac:spMkLst>
            <pc:docMk/>
            <pc:sldMk cId="2448761889" sldId="1123"/>
            <ac:spMk id="103" creationId="{E86DA675-F030-4A5F-BE4A-9EEEA556426A}"/>
          </ac:spMkLst>
        </pc:spChg>
        <pc:spChg chg="add mod">
          <ac:chgData name="Arjan van der Meer" userId="008f28a2-684e-4523-b3ca-dcb37d9c3e5d" providerId="ADAL" clId="{2B06979C-09FA-4ACE-9D1B-5392C9D6EE8C}" dt="2021-10-27T14:01:11.792" v="587"/>
          <ac:spMkLst>
            <pc:docMk/>
            <pc:sldMk cId="2448761889" sldId="1123"/>
            <ac:spMk id="108" creationId="{DB97A8C9-1EB5-4488-84A6-D395DA69927A}"/>
          </ac:spMkLst>
        </pc:spChg>
        <pc:spChg chg="add mod">
          <ac:chgData name="Arjan van der Meer" userId="008f28a2-684e-4523-b3ca-dcb37d9c3e5d" providerId="ADAL" clId="{2B06979C-09FA-4ACE-9D1B-5392C9D6EE8C}" dt="2021-10-27T14:01:11.792" v="587"/>
          <ac:spMkLst>
            <pc:docMk/>
            <pc:sldMk cId="2448761889" sldId="1123"/>
            <ac:spMk id="109" creationId="{5074CBA4-3F6E-4568-8416-92A329788984}"/>
          </ac:spMkLst>
        </pc:spChg>
        <pc:spChg chg="add mod">
          <ac:chgData name="Arjan van der Meer" userId="008f28a2-684e-4523-b3ca-dcb37d9c3e5d" providerId="ADAL" clId="{2B06979C-09FA-4ACE-9D1B-5392C9D6EE8C}" dt="2021-10-27T14:01:11.792" v="587"/>
          <ac:spMkLst>
            <pc:docMk/>
            <pc:sldMk cId="2448761889" sldId="1123"/>
            <ac:spMk id="110" creationId="{D685B682-6A35-4FC2-8408-08406A59AE3B}"/>
          </ac:spMkLst>
        </pc:spChg>
        <pc:spChg chg="add mod">
          <ac:chgData name="Arjan van der Meer" userId="008f28a2-684e-4523-b3ca-dcb37d9c3e5d" providerId="ADAL" clId="{2B06979C-09FA-4ACE-9D1B-5392C9D6EE8C}" dt="2021-10-27T14:01:11.792" v="587"/>
          <ac:spMkLst>
            <pc:docMk/>
            <pc:sldMk cId="2448761889" sldId="1123"/>
            <ac:spMk id="111" creationId="{2F96B890-1513-4E58-AE45-D8FC4180B9D9}"/>
          </ac:spMkLst>
        </pc:spChg>
        <pc:cxnChg chg="del mod">
          <ac:chgData name="Arjan van der Meer" userId="008f28a2-684e-4523-b3ca-dcb37d9c3e5d" providerId="ADAL" clId="{2B06979C-09FA-4ACE-9D1B-5392C9D6EE8C}" dt="2021-10-27T13:58:42.448" v="561" actId="478"/>
          <ac:cxnSpMkLst>
            <pc:docMk/>
            <pc:sldMk cId="2448761889" sldId="1123"/>
            <ac:cxnSpMk id="32" creationId="{4058D355-B1C2-4492-BCF0-3609222B0EC2}"/>
          </ac:cxnSpMkLst>
        </pc:cxnChg>
        <pc:cxnChg chg="del mod">
          <ac:chgData name="Arjan van der Meer" userId="008f28a2-684e-4523-b3ca-dcb37d9c3e5d" providerId="ADAL" clId="{2B06979C-09FA-4ACE-9D1B-5392C9D6EE8C}" dt="2021-10-27T13:58:43.614" v="562" actId="478"/>
          <ac:cxnSpMkLst>
            <pc:docMk/>
            <pc:sldMk cId="2448761889" sldId="1123"/>
            <ac:cxnSpMk id="42" creationId="{85CDD86E-AAF5-44C7-AFE9-0C7E54C84EE7}"/>
          </ac:cxnSpMkLst>
        </pc:cxnChg>
        <pc:cxnChg chg="del mod">
          <ac:chgData name="Arjan van der Meer" userId="008f28a2-684e-4523-b3ca-dcb37d9c3e5d" providerId="ADAL" clId="{2B06979C-09FA-4ACE-9D1B-5392C9D6EE8C}" dt="2021-10-27T14:01:11.391" v="586" actId="478"/>
          <ac:cxnSpMkLst>
            <pc:docMk/>
            <pc:sldMk cId="2448761889" sldId="1123"/>
            <ac:cxnSpMk id="50" creationId="{F936CF2D-E371-4201-8775-CDBA1D94CD0D}"/>
          </ac:cxnSpMkLst>
        </pc:cxnChg>
        <pc:cxnChg chg="del mod">
          <ac:chgData name="Arjan van der Meer" userId="008f28a2-684e-4523-b3ca-dcb37d9c3e5d" providerId="ADAL" clId="{2B06979C-09FA-4ACE-9D1B-5392C9D6EE8C}" dt="2021-10-27T14:01:11.391" v="586" actId="478"/>
          <ac:cxnSpMkLst>
            <pc:docMk/>
            <pc:sldMk cId="2448761889" sldId="1123"/>
            <ac:cxnSpMk id="51" creationId="{ACBFF67B-F08A-4ECF-B374-76917FB9355C}"/>
          </ac:cxnSpMkLst>
        </pc:cxnChg>
        <pc:cxnChg chg="del mod">
          <ac:chgData name="Arjan van der Meer" userId="008f28a2-684e-4523-b3ca-dcb37d9c3e5d" providerId="ADAL" clId="{2B06979C-09FA-4ACE-9D1B-5392C9D6EE8C}" dt="2021-10-27T13:58:44.301" v="563" actId="478"/>
          <ac:cxnSpMkLst>
            <pc:docMk/>
            <pc:sldMk cId="2448761889" sldId="1123"/>
            <ac:cxnSpMk id="54" creationId="{4BCF0211-998F-4840-BF81-DAC84EEC675A}"/>
          </ac:cxnSpMkLst>
        </pc:cxnChg>
        <pc:cxnChg chg="del mod">
          <ac:chgData name="Arjan van der Meer" userId="008f28a2-684e-4523-b3ca-dcb37d9c3e5d" providerId="ADAL" clId="{2B06979C-09FA-4ACE-9D1B-5392C9D6EE8C}" dt="2021-10-27T13:58:38.898" v="560" actId="478"/>
          <ac:cxnSpMkLst>
            <pc:docMk/>
            <pc:sldMk cId="2448761889" sldId="1123"/>
            <ac:cxnSpMk id="62" creationId="{2743069D-41C5-438A-B778-69834FC631B1}"/>
          </ac:cxnSpMkLst>
        </pc:cxnChg>
        <pc:cxnChg chg="del mod">
          <ac:chgData name="Arjan van der Meer" userId="008f28a2-684e-4523-b3ca-dcb37d9c3e5d" providerId="ADAL" clId="{2B06979C-09FA-4ACE-9D1B-5392C9D6EE8C}" dt="2021-10-27T14:01:11.391" v="586" actId="478"/>
          <ac:cxnSpMkLst>
            <pc:docMk/>
            <pc:sldMk cId="2448761889" sldId="1123"/>
            <ac:cxnSpMk id="65" creationId="{3C65B036-900A-4243-9FBB-AB738F6E3A73}"/>
          </ac:cxnSpMkLst>
        </pc:cxnChg>
        <pc:cxnChg chg="del mod">
          <ac:chgData name="Arjan van der Meer" userId="008f28a2-684e-4523-b3ca-dcb37d9c3e5d" providerId="ADAL" clId="{2B06979C-09FA-4ACE-9D1B-5392C9D6EE8C}" dt="2021-10-27T14:01:11.391" v="586" actId="478"/>
          <ac:cxnSpMkLst>
            <pc:docMk/>
            <pc:sldMk cId="2448761889" sldId="1123"/>
            <ac:cxnSpMk id="67" creationId="{C2451A0B-17E9-40A7-A27C-DE0F15FF4F54}"/>
          </ac:cxnSpMkLst>
        </pc:cxnChg>
        <pc:cxnChg chg="del mod">
          <ac:chgData name="Arjan van der Meer" userId="008f28a2-684e-4523-b3ca-dcb37d9c3e5d" providerId="ADAL" clId="{2B06979C-09FA-4ACE-9D1B-5392C9D6EE8C}" dt="2021-10-27T13:58:38.898" v="560" actId="478"/>
          <ac:cxnSpMkLst>
            <pc:docMk/>
            <pc:sldMk cId="2448761889" sldId="1123"/>
            <ac:cxnSpMk id="69" creationId="{17EBEE15-022B-4D89-9FCB-10DFE680F5DD}"/>
          </ac:cxnSpMkLst>
        </pc:cxnChg>
        <pc:cxnChg chg="del mod">
          <ac:chgData name="Arjan van der Meer" userId="008f28a2-684e-4523-b3ca-dcb37d9c3e5d" providerId="ADAL" clId="{2B06979C-09FA-4ACE-9D1B-5392C9D6EE8C}" dt="2021-10-27T13:58:38.898" v="560" actId="478"/>
          <ac:cxnSpMkLst>
            <pc:docMk/>
            <pc:sldMk cId="2448761889" sldId="1123"/>
            <ac:cxnSpMk id="76" creationId="{6220F7DC-8B76-4F79-9EB9-7868E9B08E05}"/>
          </ac:cxnSpMkLst>
        </pc:cxnChg>
        <pc:cxnChg chg="add mod">
          <ac:chgData name="Arjan van der Meer" userId="008f28a2-684e-4523-b3ca-dcb37d9c3e5d" providerId="ADAL" clId="{2B06979C-09FA-4ACE-9D1B-5392C9D6EE8C}" dt="2021-10-27T13:58:52.057" v="564"/>
          <ac:cxnSpMkLst>
            <pc:docMk/>
            <pc:sldMk cId="2448761889" sldId="1123"/>
            <ac:cxnSpMk id="78" creationId="{4B088F3B-77B6-4F34-961B-01EB5385E6B3}"/>
          </ac:cxnSpMkLst>
        </pc:cxnChg>
        <pc:cxnChg chg="add mod">
          <ac:chgData name="Arjan van der Meer" userId="008f28a2-684e-4523-b3ca-dcb37d9c3e5d" providerId="ADAL" clId="{2B06979C-09FA-4ACE-9D1B-5392C9D6EE8C}" dt="2021-10-27T13:58:52.057" v="564"/>
          <ac:cxnSpMkLst>
            <pc:docMk/>
            <pc:sldMk cId="2448761889" sldId="1123"/>
            <ac:cxnSpMk id="79" creationId="{20197820-F21A-46B3-AC34-F6233EC16ACE}"/>
          </ac:cxnSpMkLst>
        </pc:cxnChg>
        <pc:cxnChg chg="add mod">
          <ac:chgData name="Arjan van der Meer" userId="008f28a2-684e-4523-b3ca-dcb37d9c3e5d" providerId="ADAL" clId="{2B06979C-09FA-4ACE-9D1B-5392C9D6EE8C}" dt="2021-10-27T13:58:52.057" v="564"/>
          <ac:cxnSpMkLst>
            <pc:docMk/>
            <pc:sldMk cId="2448761889" sldId="1123"/>
            <ac:cxnSpMk id="80" creationId="{8055F2C6-1201-46B9-A214-430FA8E6D814}"/>
          </ac:cxnSpMkLst>
        </pc:cxnChg>
        <pc:cxnChg chg="add mod">
          <ac:chgData name="Arjan van der Meer" userId="008f28a2-684e-4523-b3ca-dcb37d9c3e5d" providerId="ADAL" clId="{2B06979C-09FA-4ACE-9D1B-5392C9D6EE8C}" dt="2021-10-27T14:00:50.834" v="583" actId="14100"/>
          <ac:cxnSpMkLst>
            <pc:docMk/>
            <pc:sldMk cId="2448761889" sldId="1123"/>
            <ac:cxnSpMk id="82" creationId="{C70BE3D4-1AF1-4087-80E8-718E0E4B55C7}"/>
          </ac:cxnSpMkLst>
        </pc:cxnChg>
        <pc:cxnChg chg="add mod">
          <ac:chgData name="Arjan van der Meer" userId="008f28a2-684e-4523-b3ca-dcb37d9c3e5d" providerId="ADAL" clId="{2B06979C-09FA-4ACE-9D1B-5392C9D6EE8C}" dt="2021-10-27T14:00:18.761" v="580" actId="14100"/>
          <ac:cxnSpMkLst>
            <pc:docMk/>
            <pc:sldMk cId="2448761889" sldId="1123"/>
            <ac:cxnSpMk id="83" creationId="{51CD32FA-ABAA-4815-A03C-7DD50529B9E8}"/>
          </ac:cxnSpMkLst>
        </pc:cxnChg>
        <pc:cxnChg chg="add mod">
          <ac:chgData name="Arjan van der Meer" userId="008f28a2-684e-4523-b3ca-dcb37d9c3e5d" providerId="ADAL" clId="{2B06979C-09FA-4ACE-9D1B-5392C9D6EE8C}" dt="2021-10-27T14:00:37.874" v="582" actId="14100"/>
          <ac:cxnSpMkLst>
            <pc:docMk/>
            <pc:sldMk cId="2448761889" sldId="1123"/>
            <ac:cxnSpMk id="86" creationId="{D4A11B6F-2F87-4D9A-8603-99F236FE5733}"/>
          </ac:cxnSpMkLst>
        </pc:cxnChg>
        <pc:cxnChg chg="add mod">
          <ac:chgData name="Arjan van der Meer" userId="008f28a2-684e-4523-b3ca-dcb37d9c3e5d" providerId="ADAL" clId="{2B06979C-09FA-4ACE-9D1B-5392C9D6EE8C}" dt="2021-10-27T13:58:52.057" v="564"/>
          <ac:cxnSpMkLst>
            <pc:docMk/>
            <pc:sldMk cId="2448761889" sldId="1123"/>
            <ac:cxnSpMk id="90" creationId="{2193C2CE-079F-4896-94B9-D0F518A2AC16}"/>
          </ac:cxnSpMkLst>
        </pc:cxnChg>
        <pc:cxnChg chg="add mod">
          <ac:chgData name="Arjan van der Meer" userId="008f28a2-684e-4523-b3ca-dcb37d9c3e5d" providerId="ADAL" clId="{2B06979C-09FA-4ACE-9D1B-5392C9D6EE8C}" dt="2021-10-27T14:01:11.792" v="587"/>
          <ac:cxnSpMkLst>
            <pc:docMk/>
            <pc:sldMk cId="2448761889" sldId="1123"/>
            <ac:cxnSpMk id="104" creationId="{4544552A-0D22-4AD9-B633-04891964880C}"/>
          </ac:cxnSpMkLst>
        </pc:cxnChg>
        <pc:cxnChg chg="add mod">
          <ac:chgData name="Arjan van der Meer" userId="008f28a2-684e-4523-b3ca-dcb37d9c3e5d" providerId="ADAL" clId="{2B06979C-09FA-4ACE-9D1B-5392C9D6EE8C}" dt="2021-10-27T14:01:11.792" v="587"/>
          <ac:cxnSpMkLst>
            <pc:docMk/>
            <pc:sldMk cId="2448761889" sldId="1123"/>
            <ac:cxnSpMk id="105" creationId="{DDA7FA9A-2E12-4CC4-9258-43D2ED5C9B20}"/>
          </ac:cxnSpMkLst>
        </pc:cxnChg>
        <pc:cxnChg chg="add mod">
          <ac:chgData name="Arjan van der Meer" userId="008f28a2-684e-4523-b3ca-dcb37d9c3e5d" providerId="ADAL" clId="{2B06979C-09FA-4ACE-9D1B-5392C9D6EE8C}" dt="2021-10-27T14:01:11.792" v="587"/>
          <ac:cxnSpMkLst>
            <pc:docMk/>
            <pc:sldMk cId="2448761889" sldId="1123"/>
            <ac:cxnSpMk id="106" creationId="{65253DA4-DE58-4DF9-A92B-8CA1FED12C17}"/>
          </ac:cxnSpMkLst>
        </pc:cxnChg>
        <pc:cxnChg chg="add mod">
          <ac:chgData name="Arjan van der Meer" userId="008f28a2-684e-4523-b3ca-dcb37d9c3e5d" providerId="ADAL" clId="{2B06979C-09FA-4ACE-9D1B-5392C9D6EE8C}" dt="2021-10-27T14:01:11.792" v="587"/>
          <ac:cxnSpMkLst>
            <pc:docMk/>
            <pc:sldMk cId="2448761889" sldId="1123"/>
            <ac:cxnSpMk id="107" creationId="{FC2950E6-3F15-4ED0-ACB4-CC3E80EDCD5F}"/>
          </ac:cxnSpMkLst>
        </pc:cxnChg>
      </pc:sldChg>
      <pc:sldChg chg="addSp delSp modSp mod">
        <pc:chgData name="Arjan van der Meer" userId="008f28a2-684e-4523-b3ca-dcb37d9c3e5d" providerId="ADAL" clId="{2B06979C-09FA-4ACE-9D1B-5392C9D6EE8C}" dt="2021-10-27T14:03:41.228" v="646" actId="20577"/>
        <pc:sldMkLst>
          <pc:docMk/>
          <pc:sldMk cId="2534952866" sldId="1124"/>
        </pc:sldMkLst>
        <pc:spChg chg="mod">
          <ac:chgData name="Arjan van der Meer" userId="008f28a2-684e-4523-b3ca-dcb37d9c3e5d" providerId="ADAL" clId="{2B06979C-09FA-4ACE-9D1B-5392C9D6EE8C}" dt="2021-10-27T14:03:41.228" v="646" actId="20577"/>
          <ac:spMkLst>
            <pc:docMk/>
            <pc:sldMk cId="2534952866" sldId="1124"/>
            <ac:spMk id="2" creationId="{53CB77FA-CF1B-4B0E-A304-10CE6620EE56}"/>
          </ac:spMkLst>
        </pc:spChg>
        <pc:spChg chg="del">
          <ac:chgData name="Arjan van der Meer" userId="008f28a2-684e-4523-b3ca-dcb37d9c3e5d" providerId="ADAL" clId="{2B06979C-09FA-4ACE-9D1B-5392C9D6EE8C}" dt="2021-10-27T13:52:49.542" v="503" actId="478"/>
          <ac:spMkLst>
            <pc:docMk/>
            <pc:sldMk cId="2534952866" sldId="1124"/>
            <ac:spMk id="7" creationId="{05BA8703-982C-4B3F-B875-AB6CC6887E4A}"/>
          </ac:spMkLst>
        </pc:spChg>
        <pc:spChg chg="add del">
          <ac:chgData name="Arjan van der Meer" userId="008f28a2-684e-4523-b3ca-dcb37d9c3e5d" providerId="ADAL" clId="{2B06979C-09FA-4ACE-9D1B-5392C9D6EE8C}" dt="2021-10-27T13:54:23.385" v="512" actId="478"/>
          <ac:spMkLst>
            <pc:docMk/>
            <pc:sldMk cId="2534952866" sldId="1124"/>
            <ac:spMk id="10" creationId="{BCF5F8AE-60ED-4AE2-8C48-8CA34B12704E}"/>
          </ac:spMkLst>
        </pc:spChg>
        <pc:spChg chg="add mod">
          <ac:chgData name="Arjan van der Meer" userId="008f28a2-684e-4523-b3ca-dcb37d9c3e5d" providerId="ADAL" clId="{2B06979C-09FA-4ACE-9D1B-5392C9D6EE8C}" dt="2021-10-27T13:55:04.255" v="516"/>
          <ac:spMkLst>
            <pc:docMk/>
            <pc:sldMk cId="2534952866" sldId="1124"/>
            <ac:spMk id="11" creationId="{DF12CBF9-2A51-426E-9769-A4890C9F8FF7}"/>
          </ac:spMkLst>
        </pc:spChg>
        <pc:spChg chg="del">
          <ac:chgData name="Arjan van der Meer" userId="008f28a2-684e-4523-b3ca-dcb37d9c3e5d" providerId="ADAL" clId="{2B06979C-09FA-4ACE-9D1B-5392C9D6EE8C}" dt="2021-10-27T13:52:49.542" v="503" actId="478"/>
          <ac:spMkLst>
            <pc:docMk/>
            <pc:sldMk cId="2534952866" sldId="1124"/>
            <ac:spMk id="19" creationId="{69D233B8-BD14-42F3-8D3D-E627BF753CE3}"/>
          </ac:spMkLst>
        </pc:spChg>
        <pc:spChg chg="del">
          <ac:chgData name="Arjan van der Meer" userId="008f28a2-684e-4523-b3ca-dcb37d9c3e5d" providerId="ADAL" clId="{2B06979C-09FA-4ACE-9D1B-5392C9D6EE8C}" dt="2021-10-27T13:52:49.542" v="503" actId="478"/>
          <ac:spMkLst>
            <pc:docMk/>
            <pc:sldMk cId="2534952866" sldId="1124"/>
            <ac:spMk id="20" creationId="{AE503076-64F9-4971-927E-2FB0D6A204CD}"/>
          </ac:spMkLst>
        </pc:spChg>
        <pc:spChg chg="del">
          <ac:chgData name="Arjan van der Meer" userId="008f28a2-684e-4523-b3ca-dcb37d9c3e5d" providerId="ADAL" clId="{2B06979C-09FA-4ACE-9D1B-5392C9D6EE8C}" dt="2021-10-27T13:52:49.542" v="503" actId="478"/>
          <ac:spMkLst>
            <pc:docMk/>
            <pc:sldMk cId="2534952866" sldId="1124"/>
            <ac:spMk id="21" creationId="{D353F02A-3E3E-4A23-B0B9-F898044D5C99}"/>
          </ac:spMkLst>
        </pc:spChg>
        <pc:spChg chg="del">
          <ac:chgData name="Arjan van der Meer" userId="008f28a2-684e-4523-b3ca-dcb37d9c3e5d" providerId="ADAL" clId="{2B06979C-09FA-4ACE-9D1B-5392C9D6EE8C}" dt="2021-10-27T13:52:49.542" v="503" actId="478"/>
          <ac:spMkLst>
            <pc:docMk/>
            <pc:sldMk cId="2534952866" sldId="1124"/>
            <ac:spMk id="22" creationId="{1349657E-0642-4270-9080-3D0A4538072D}"/>
          </ac:spMkLst>
        </pc:spChg>
        <pc:spChg chg="del">
          <ac:chgData name="Arjan van der Meer" userId="008f28a2-684e-4523-b3ca-dcb37d9c3e5d" providerId="ADAL" clId="{2B06979C-09FA-4ACE-9D1B-5392C9D6EE8C}" dt="2021-10-27T13:52:49.542" v="503" actId="478"/>
          <ac:spMkLst>
            <pc:docMk/>
            <pc:sldMk cId="2534952866" sldId="1124"/>
            <ac:spMk id="23" creationId="{D12F4F51-4D34-4E14-B4D5-B87447DB6D1E}"/>
          </ac:spMkLst>
        </pc:spChg>
        <pc:spChg chg="del">
          <ac:chgData name="Arjan van der Meer" userId="008f28a2-684e-4523-b3ca-dcb37d9c3e5d" providerId="ADAL" clId="{2B06979C-09FA-4ACE-9D1B-5392C9D6EE8C}" dt="2021-10-27T13:52:49.542" v="503" actId="478"/>
          <ac:spMkLst>
            <pc:docMk/>
            <pc:sldMk cId="2534952866" sldId="1124"/>
            <ac:spMk id="24" creationId="{25E4D455-DDDF-4DA5-9A71-54FF1AB6A335}"/>
          </ac:spMkLst>
        </pc:spChg>
        <pc:spChg chg="del">
          <ac:chgData name="Arjan van der Meer" userId="008f28a2-684e-4523-b3ca-dcb37d9c3e5d" providerId="ADAL" clId="{2B06979C-09FA-4ACE-9D1B-5392C9D6EE8C}" dt="2021-10-27T13:52:49.542" v="503" actId="478"/>
          <ac:spMkLst>
            <pc:docMk/>
            <pc:sldMk cId="2534952866" sldId="1124"/>
            <ac:spMk id="39" creationId="{5B2049E2-AD41-4CD1-A1EA-A47DCE75E15E}"/>
          </ac:spMkLst>
        </pc:spChg>
        <pc:spChg chg="del">
          <ac:chgData name="Arjan van der Meer" userId="008f28a2-684e-4523-b3ca-dcb37d9c3e5d" providerId="ADAL" clId="{2B06979C-09FA-4ACE-9D1B-5392C9D6EE8C}" dt="2021-10-27T13:52:49.542" v="503" actId="478"/>
          <ac:spMkLst>
            <pc:docMk/>
            <pc:sldMk cId="2534952866" sldId="1124"/>
            <ac:spMk id="40" creationId="{333E5308-DD15-4E24-9AFF-66AA31C7A3E0}"/>
          </ac:spMkLst>
        </pc:spChg>
        <pc:spChg chg="del">
          <ac:chgData name="Arjan van der Meer" userId="008f28a2-684e-4523-b3ca-dcb37d9c3e5d" providerId="ADAL" clId="{2B06979C-09FA-4ACE-9D1B-5392C9D6EE8C}" dt="2021-10-27T13:52:49.542" v="503" actId="478"/>
          <ac:spMkLst>
            <pc:docMk/>
            <pc:sldMk cId="2534952866" sldId="1124"/>
            <ac:spMk id="41" creationId="{CB920421-3AA7-4EFA-B205-1BB780993467}"/>
          </ac:spMkLst>
        </pc:spChg>
        <pc:spChg chg="del">
          <ac:chgData name="Arjan van der Meer" userId="008f28a2-684e-4523-b3ca-dcb37d9c3e5d" providerId="ADAL" clId="{2B06979C-09FA-4ACE-9D1B-5392C9D6EE8C}" dt="2021-10-27T13:52:49.542" v="503" actId="478"/>
          <ac:spMkLst>
            <pc:docMk/>
            <pc:sldMk cId="2534952866" sldId="1124"/>
            <ac:spMk id="43" creationId="{556D8970-073C-41AB-8678-177186CB11B3}"/>
          </ac:spMkLst>
        </pc:spChg>
        <pc:spChg chg="del">
          <ac:chgData name="Arjan van der Meer" userId="008f28a2-684e-4523-b3ca-dcb37d9c3e5d" providerId="ADAL" clId="{2B06979C-09FA-4ACE-9D1B-5392C9D6EE8C}" dt="2021-10-27T13:52:49.542" v="503" actId="478"/>
          <ac:spMkLst>
            <pc:docMk/>
            <pc:sldMk cId="2534952866" sldId="1124"/>
            <ac:spMk id="44" creationId="{7F20BA0E-4BDD-481B-9157-A9BC5BBF37A8}"/>
          </ac:spMkLst>
        </pc:spChg>
        <pc:spChg chg="del">
          <ac:chgData name="Arjan van der Meer" userId="008f28a2-684e-4523-b3ca-dcb37d9c3e5d" providerId="ADAL" clId="{2B06979C-09FA-4ACE-9D1B-5392C9D6EE8C}" dt="2021-10-27T13:52:49.542" v="503" actId="478"/>
          <ac:spMkLst>
            <pc:docMk/>
            <pc:sldMk cId="2534952866" sldId="1124"/>
            <ac:spMk id="47" creationId="{927A6EF2-640E-4F6A-A919-96F209C2324E}"/>
          </ac:spMkLst>
        </pc:spChg>
        <pc:spChg chg="del">
          <ac:chgData name="Arjan van der Meer" userId="008f28a2-684e-4523-b3ca-dcb37d9c3e5d" providerId="ADAL" clId="{2B06979C-09FA-4ACE-9D1B-5392C9D6EE8C}" dt="2021-10-27T13:52:49.542" v="503" actId="478"/>
          <ac:spMkLst>
            <pc:docMk/>
            <pc:sldMk cId="2534952866" sldId="1124"/>
            <ac:spMk id="48" creationId="{0A5A1562-6B26-4D25-AD5C-5EECE04F29C4}"/>
          </ac:spMkLst>
        </pc:spChg>
        <pc:spChg chg="del">
          <ac:chgData name="Arjan van der Meer" userId="008f28a2-684e-4523-b3ca-dcb37d9c3e5d" providerId="ADAL" clId="{2B06979C-09FA-4ACE-9D1B-5392C9D6EE8C}" dt="2021-10-27T13:52:49.542" v="503" actId="478"/>
          <ac:spMkLst>
            <pc:docMk/>
            <pc:sldMk cId="2534952866" sldId="1124"/>
            <ac:spMk id="49" creationId="{13CE74E9-EF83-4FA6-9D22-5CE5AE28988B}"/>
          </ac:spMkLst>
        </pc:spChg>
        <pc:spChg chg="del">
          <ac:chgData name="Arjan van der Meer" userId="008f28a2-684e-4523-b3ca-dcb37d9c3e5d" providerId="ADAL" clId="{2B06979C-09FA-4ACE-9D1B-5392C9D6EE8C}" dt="2021-10-27T13:52:49.542" v="503" actId="478"/>
          <ac:spMkLst>
            <pc:docMk/>
            <pc:sldMk cId="2534952866" sldId="1124"/>
            <ac:spMk id="50" creationId="{E34F9FB2-E265-4344-8F06-73E6C860CB51}"/>
          </ac:spMkLst>
        </pc:spChg>
        <pc:spChg chg="del">
          <ac:chgData name="Arjan van der Meer" userId="008f28a2-684e-4523-b3ca-dcb37d9c3e5d" providerId="ADAL" clId="{2B06979C-09FA-4ACE-9D1B-5392C9D6EE8C}" dt="2021-10-27T13:52:49.542" v="503" actId="478"/>
          <ac:spMkLst>
            <pc:docMk/>
            <pc:sldMk cId="2534952866" sldId="1124"/>
            <ac:spMk id="51" creationId="{DC58172C-E918-40E6-B8CE-DC6912E1A1FF}"/>
          </ac:spMkLst>
        </pc:spChg>
        <pc:spChg chg="del">
          <ac:chgData name="Arjan van der Meer" userId="008f28a2-684e-4523-b3ca-dcb37d9c3e5d" providerId="ADAL" clId="{2B06979C-09FA-4ACE-9D1B-5392C9D6EE8C}" dt="2021-10-27T13:52:49.542" v="503" actId="478"/>
          <ac:spMkLst>
            <pc:docMk/>
            <pc:sldMk cId="2534952866" sldId="1124"/>
            <ac:spMk id="52" creationId="{4E0FBEF9-9C87-49D3-9B58-64B48B92F5C9}"/>
          </ac:spMkLst>
        </pc:spChg>
        <pc:spChg chg="del">
          <ac:chgData name="Arjan van der Meer" userId="008f28a2-684e-4523-b3ca-dcb37d9c3e5d" providerId="ADAL" clId="{2B06979C-09FA-4ACE-9D1B-5392C9D6EE8C}" dt="2021-10-27T13:52:49.542" v="503" actId="478"/>
          <ac:spMkLst>
            <pc:docMk/>
            <pc:sldMk cId="2534952866" sldId="1124"/>
            <ac:spMk id="53" creationId="{26062C52-F13B-4226-9CE0-3A262DC286CF}"/>
          </ac:spMkLst>
        </pc:spChg>
        <pc:spChg chg="del">
          <ac:chgData name="Arjan van der Meer" userId="008f28a2-684e-4523-b3ca-dcb37d9c3e5d" providerId="ADAL" clId="{2B06979C-09FA-4ACE-9D1B-5392C9D6EE8C}" dt="2021-10-27T13:52:49.542" v="503" actId="478"/>
          <ac:spMkLst>
            <pc:docMk/>
            <pc:sldMk cId="2534952866" sldId="1124"/>
            <ac:spMk id="55" creationId="{30EFDA3C-2A8C-404C-9FC8-C8F70AA3E181}"/>
          </ac:spMkLst>
        </pc:spChg>
        <pc:spChg chg="del">
          <ac:chgData name="Arjan van der Meer" userId="008f28a2-684e-4523-b3ca-dcb37d9c3e5d" providerId="ADAL" clId="{2B06979C-09FA-4ACE-9D1B-5392C9D6EE8C}" dt="2021-10-27T13:52:49.542" v="503" actId="478"/>
          <ac:spMkLst>
            <pc:docMk/>
            <pc:sldMk cId="2534952866" sldId="1124"/>
            <ac:spMk id="56" creationId="{35D7597D-8037-40C1-BF47-6B3D10EE0BF9}"/>
          </ac:spMkLst>
        </pc:spChg>
        <pc:spChg chg="del">
          <ac:chgData name="Arjan van der Meer" userId="008f28a2-684e-4523-b3ca-dcb37d9c3e5d" providerId="ADAL" clId="{2B06979C-09FA-4ACE-9D1B-5392C9D6EE8C}" dt="2021-10-27T13:52:49.542" v="503" actId="478"/>
          <ac:spMkLst>
            <pc:docMk/>
            <pc:sldMk cId="2534952866" sldId="1124"/>
            <ac:spMk id="57" creationId="{197D498D-D5D6-4759-93E2-42EA9A37CB45}"/>
          </ac:spMkLst>
        </pc:spChg>
        <pc:spChg chg="del">
          <ac:chgData name="Arjan van der Meer" userId="008f28a2-684e-4523-b3ca-dcb37d9c3e5d" providerId="ADAL" clId="{2B06979C-09FA-4ACE-9D1B-5392C9D6EE8C}" dt="2021-10-27T13:52:49.542" v="503" actId="478"/>
          <ac:spMkLst>
            <pc:docMk/>
            <pc:sldMk cId="2534952866" sldId="1124"/>
            <ac:spMk id="58" creationId="{3BF1DB98-FFD3-4E64-9D9D-47D72DD44EEB}"/>
          </ac:spMkLst>
        </pc:spChg>
        <pc:spChg chg="del">
          <ac:chgData name="Arjan van der Meer" userId="008f28a2-684e-4523-b3ca-dcb37d9c3e5d" providerId="ADAL" clId="{2B06979C-09FA-4ACE-9D1B-5392C9D6EE8C}" dt="2021-10-27T13:52:49.542" v="503" actId="478"/>
          <ac:spMkLst>
            <pc:docMk/>
            <pc:sldMk cId="2534952866" sldId="1124"/>
            <ac:spMk id="59" creationId="{A65FD5AC-8538-41AE-AF15-5A7D6618BEFB}"/>
          </ac:spMkLst>
        </pc:spChg>
        <pc:spChg chg="del">
          <ac:chgData name="Arjan van der Meer" userId="008f28a2-684e-4523-b3ca-dcb37d9c3e5d" providerId="ADAL" clId="{2B06979C-09FA-4ACE-9D1B-5392C9D6EE8C}" dt="2021-10-27T13:52:49.542" v="503" actId="478"/>
          <ac:spMkLst>
            <pc:docMk/>
            <pc:sldMk cId="2534952866" sldId="1124"/>
            <ac:spMk id="64" creationId="{30928383-10FE-4064-A88E-B4C9E7206E31}"/>
          </ac:spMkLst>
        </pc:spChg>
        <pc:spChg chg="add mod">
          <ac:chgData name="Arjan van der Meer" userId="008f28a2-684e-4523-b3ca-dcb37d9c3e5d" providerId="ADAL" clId="{2B06979C-09FA-4ACE-9D1B-5392C9D6EE8C}" dt="2021-10-27T13:52:50.027" v="504"/>
          <ac:spMkLst>
            <pc:docMk/>
            <pc:sldMk cId="2534952866" sldId="1124"/>
            <ac:spMk id="65" creationId="{2AA3D13F-FE8D-42B6-9E18-3446CB90A387}"/>
          </ac:spMkLst>
        </pc:spChg>
        <pc:spChg chg="add del mod">
          <ac:chgData name="Arjan van der Meer" userId="008f28a2-684e-4523-b3ca-dcb37d9c3e5d" providerId="ADAL" clId="{2B06979C-09FA-4ACE-9D1B-5392C9D6EE8C}" dt="2021-10-27T13:53:00.305" v="505" actId="478"/>
          <ac:spMkLst>
            <pc:docMk/>
            <pc:sldMk cId="2534952866" sldId="1124"/>
            <ac:spMk id="66" creationId="{98676346-0A28-4AFE-9768-8B57E9E563FB}"/>
          </ac:spMkLst>
        </pc:spChg>
        <pc:spChg chg="add del mod">
          <ac:chgData name="Arjan van der Meer" userId="008f28a2-684e-4523-b3ca-dcb37d9c3e5d" providerId="ADAL" clId="{2B06979C-09FA-4ACE-9D1B-5392C9D6EE8C}" dt="2021-10-27T13:55:27.060" v="517" actId="478"/>
          <ac:spMkLst>
            <pc:docMk/>
            <pc:sldMk cId="2534952866" sldId="1124"/>
            <ac:spMk id="67" creationId="{C7ACB459-3E9B-43B0-95C5-BD4F4A90B972}"/>
          </ac:spMkLst>
        </pc:spChg>
        <pc:spChg chg="add del mod">
          <ac:chgData name="Arjan van der Meer" userId="008f28a2-684e-4523-b3ca-dcb37d9c3e5d" providerId="ADAL" clId="{2B06979C-09FA-4ACE-9D1B-5392C9D6EE8C}" dt="2021-10-27T13:55:27.060" v="517" actId="478"/>
          <ac:spMkLst>
            <pc:docMk/>
            <pc:sldMk cId="2534952866" sldId="1124"/>
            <ac:spMk id="68" creationId="{E5D7B84D-D476-42C2-84E7-B222FC073A9C}"/>
          </ac:spMkLst>
        </pc:spChg>
        <pc:spChg chg="add del mod">
          <ac:chgData name="Arjan van der Meer" userId="008f28a2-684e-4523-b3ca-dcb37d9c3e5d" providerId="ADAL" clId="{2B06979C-09FA-4ACE-9D1B-5392C9D6EE8C}" dt="2021-10-27T13:55:27.060" v="517" actId="478"/>
          <ac:spMkLst>
            <pc:docMk/>
            <pc:sldMk cId="2534952866" sldId="1124"/>
            <ac:spMk id="70" creationId="{14CE582A-52CF-44AD-B0BB-BE1080D3A19C}"/>
          </ac:spMkLst>
        </pc:spChg>
        <pc:spChg chg="add del mod">
          <ac:chgData name="Arjan van der Meer" userId="008f28a2-684e-4523-b3ca-dcb37d9c3e5d" providerId="ADAL" clId="{2B06979C-09FA-4ACE-9D1B-5392C9D6EE8C}" dt="2021-10-27T13:55:27.060" v="517" actId="478"/>
          <ac:spMkLst>
            <pc:docMk/>
            <pc:sldMk cId="2534952866" sldId="1124"/>
            <ac:spMk id="75" creationId="{6D595003-61EE-4050-B414-586910AE4146}"/>
          </ac:spMkLst>
        </pc:spChg>
        <pc:spChg chg="add del mod">
          <ac:chgData name="Arjan van der Meer" userId="008f28a2-684e-4523-b3ca-dcb37d9c3e5d" providerId="ADAL" clId="{2B06979C-09FA-4ACE-9D1B-5392C9D6EE8C}" dt="2021-10-27T13:55:27.060" v="517" actId="478"/>
          <ac:spMkLst>
            <pc:docMk/>
            <pc:sldMk cId="2534952866" sldId="1124"/>
            <ac:spMk id="77" creationId="{54B8EC16-D6D0-404F-8EC0-CA13007051B0}"/>
          </ac:spMkLst>
        </pc:spChg>
        <pc:spChg chg="add del mod">
          <ac:chgData name="Arjan van der Meer" userId="008f28a2-684e-4523-b3ca-dcb37d9c3e5d" providerId="ADAL" clId="{2B06979C-09FA-4ACE-9D1B-5392C9D6EE8C}" dt="2021-10-27T13:55:27.060" v="517" actId="478"/>
          <ac:spMkLst>
            <pc:docMk/>
            <pc:sldMk cId="2534952866" sldId="1124"/>
            <ac:spMk id="78" creationId="{1C76DD4F-B693-496F-9C1C-52B2CA0D85E9}"/>
          </ac:spMkLst>
        </pc:spChg>
        <pc:spChg chg="add mod">
          <ac:chgData name="Arjan van der Meer" userId="008f28a2-684e-4523-b3ca-dcb37d9c3e5d" providerId="ADAL" clId="{2B06979C-09FA-4ACE-9D1B-5392C9D6EE8C}" dt="2021-10-27T13:52:50.027" v="504"/>
          <ac:spMkLst>
            <pc:docMk/>
            <pc:sldMk cId="2534952866" sldId="1124"/>
            <ac:spMk id="79" creationId="{26163A22-2834-406A-BA99-583911787A70}"/>
          </ac:spMkLst>
        </pc:spChg>
        <pc:spChg chg="add mod">
          <ac:chgData name="Arjan van der Meer" userId="008f28a2-684e-4523-b3ca-dcb37d9c3e5d" providerId="ADAL" clId="{2B06979C-09FA-4ACE-9D1B-5392C9D6EE8C}" dt="2021-10-27T13:56:49.829" v="549" actId="1076"/>
          <ac:spMkLst>
            <pc:docMk/>
            <pc:sldMk cId="2534952866" sldId="1124"/>
            <ac:spMk id="80" creationId="{089D8802-B559-4A53-8F4B-ED4A55959B42}"/>
          </ac:spMkLst>
        </pc:spChg>
        <pc:spChg chg="add mod">
          <ac:chgData name="Arjan van der Meer" userId="008f28a2-684e-4523-b3ca-dcb37d9c3e5d" providerId="ADAL" clId="{2B06979C-09FA-4ACE-9D1B-5392C9D6EE8C}" dt="2021-10-27T13:52:50.027" v="504"/>
          <ac:spMkLst>
            <pc:docMk/>
            <pc:sldMk cId="2534952866" sldId="1124"/>
            <ac:spMk id="81" creationId="{F15A17AD-A1FF-4D9A-B63C-664884B99D61}"/>
          </ac:spMkLst>
        </pc:spChg>
        <pc:spChg chg="add mod">
          <ac:chgData name="Arjan van der Meer" userId="008f28a2-684e-4523-b3ca-dcb37d9c3e5d" providerId="ADAL" clId="{2B06979C-09FA-4ACE-9D1B-5392C9D6EE8C}" dt="2021-10-27T13:52:50.027" v="504"/>
          <ac:spMkLst>
            <pc:docMk/>
            <pc:sldMk cId="2534952866" sldId="1124"/>
            <ac:spMk id="82" creationId="{C7DD37F5-2450-4ABC-9BE1-675A424DF414}"/>
          </ac:spMkLst>
        </pc:spChg>
        <pc:spChg chg="add mod">
          <ac:chgData name="Arjan van der Meer" userId="008f28a2-684e-4523-b3ca-dcb37d9c3e5d" providerId="ADAL" clId="{2B06979C-09FA-4ACE-9D1B-5392C9D6EE8C}" dt="2021-10-27T13:52:50.027" v="504"/>
          <ac:spMkLst>
            <pc:docMk/>
            <pc:sldMk cId="2534952866" sldId="1124"/>
            <ac:spMk id="83" creationId="{EC047D13-7130-45DB-9150-19B5D64CA6B9}"/>
          </ac:spMkLst>
        </pc:spChg>
        <pc:spChg chg="add mod">
          <ac:chgData name="Arjan van der Meer" userId="008f28a2-684e-4523-b3ca-dcb37d9c3e5d" providerId="ADAL" clId="{2B06979C-09FA-4ACE-9D1B-5392C9D6EE8C}" dt="2021-10-27T13:52:50.027" v="504"/>
          <ac:spMkLst>
            <pc:docMk/>
            <pc:sldMk cId="2534952866" sldId="1124"/>
            <ac:spMk id="84" creationId="{15D0B946-7AEF-4A72-BA1C-33D4DAC402FE}"/>
          </ac:spMkLst>
        </pc:spChg>
        <pc:spChg chg="add mod">
          <ac:chgData name="Arjan van der Meer" userId="008f28a2-684e-4523-b3ca-dcb37d9c3e5d" providerId="ADAL" clId="{2B06979C-09FA-4ACE-9D1B-5392C9D6EE8C}" dt="2021-10-27T13:52:50.027" v="504"/>
          <ac:spMkLst>
            <pc:docMk/>
            <pc:sldMk cId="2534952866" sldId="1124"/>
            <ac:spMk id="85" creationId="{4BCC95EB-5ED5-4772-8A9E-BB219EF5D3F9}"/>
          </ac:spMkLst>
        </pc:spChg>
        <pc:spChg chg="add del mod">
          <ac:chgData name="Arjan van der Meer" userId="008f28a2-684e-4523-b3ca-dcb37d9c3e5d" providerId="ADAL" clId="{2B06979C-09FA-4ACE-9D1B-5392C9D6EE8C}" dt="2021-10-27T13:57:26.205" v="553" actId="478"/>
          <ac:spMkLst>
            <pc:docMk/>
            <pc:sldMk cId="2534952866" sldId="1124"/>
            <ac:spMk id="89" creationId="{5906F7D5-5284-4449-A3CA-4D563F52B638}"/>
          </ac:spMkLst>
        </pc:spChg>
        <pc:spChg chg="add del mod">
          <ac:chgData name="Arjan van der Meer" userId="008f28a2-684e-4523-b3ca-dcb37d9c3e5d" providerId="ADAL" clId="{2B06979C-09FA-4ACE-9D1B-5392C9D6EE8C}" dt="2021-10-27T13:57:26.205" v="553" actId="478"/>
          <ac:spMkLst>
            <pc:docMk/>
            <pc:sldMk cId="2534952866" sldId="1124"/>
            <ac:spMk id="90" creationId="{69ABD9CF-34CA-440C-A605-FF1612EA49E6}"/>
          </ac:spMkLst>
        </pc:spChg>
        <pc:spChg chg="add del mod">
          <ac:chgData name="Arjan van der Meer" userId="008f28a2-684e-4523-b3ca-dcb37d9c3e5d" providerId="ADAL" clId="{2B06979C-09FA-4ACE-9D1B-5392C9D6EE8C}" dt="2021-10-27T13:57:26.205" v="553" actId="478"/>
          <ac:spMkLst>
            <pc:docMk/>
            <pc:sldMk cId="2534952866" sldId="1124"/>
            <ac:spMk id="91" creationId="{A1995683-BAE1-41E5-88DA-B32E1C936B97}"/>
          </ac:spMkLst>
        </pc:spChg>
        <pc:spChg chg="add mod">
          <ac:chgData name="Arjan van der Meer" userId="008f28a2-684e-4523-b3ca-dcb37d9c3e5d" providerId="ADAL" clId="{2B06979C-09FA-4ACE-9D1B-5392C9D6EE8C}" dt="2021-10-27T13:52:50.027" v="504"/>
          <ac:spMkLst>
            <pc:docMk/>
            <pc:sldMk cId="2534952866" sldId="1124"/>
            <ac:spMk id="92" creationId="{DEFBC5DB-3440-4813-BAE2-B87BD2312E42}"/>
          </ac:spMkLst>
        </pc:spChg>
        <pc:spChg chg="add del mod">
          <ac:chgData name="Arjan van der Meer" userId="008f28a2-684e-4523-b3ca-dcb37d9c3e5d" providerId="ADAL" clId="{2B06979C-09FA-4ACE-9D1B-5392C9D6EE8C}" dt="2021-10-27T13:57:39.829" v="555" actId="478"/>
          <ac:spMkLst>
            <pc:docMk/>
            <pc:sldMk cId="2534952866" sldId="1124"/>
            <ac:spMk id="94" creationId="{42F16455-C37B-47A4-AA11-3B33C0A4A8A1}"/>
          </ac:spMkLst>
        </pc:spChg>
        <pc:spChg chg="add del mod">
          <ac:chgData name="Arjan van der Meer" userId="008f28a2-684e-4523-b3ca-dcb37d9c3e5d" providerId="ADAL" clId="{2B06979C-09FA-4ACE-9D1B-5392C9D6EE8C}" dt="2021-10-27T13:57:43.268" v="557" actId="478"/>
          <ac:spMkLst>
            <pc:docMk/>
            <pc:sldMk cId="2534952866" sldId="1124"/>
            <ac:spMk id="96" creationId="{0BF370FA-C1DC-4A4D-8200-F3CD348F44DB}"/>
          </ac:spMkLst>
        </pc:spChg>
        <pc:spChg chg="add del mod">
          <ac:chgData name="Arjan van der Meer" userId="008f28a2-684e-4523-b3ca-dcb37d9c3e5d" providerId="ADAL" clId="{2B06979C-09FA-4ACE-9D1B-5392C9D6EE8C}" dt="2021-10-27T13:55:27.060" v="517" actId="478"/>
          <ac:spMkLst>
            <pc:docMk/>
            <pc:sldMk cId="2534952866" sldId="1124"/>
            <ac:spMk id="97" creationId="{AAC47C85-B191-4C94-B06E-AE8BD6CAEDCC}"/>
          </ac:spMkLst>
        </pc:spChg>
        <pc:spChg chg="add mod">
          <ac:chgData name="Arjan van der Meer" userId="008f28a2-684e-4523-b3ca-dcb37d9c3e5d" providerId="ADAL" clId="{2B06979C-09FA-4ACE-9D1B-5392C9D6EE8C}" dt="2021-10-27T13:52:50.027" v="504"/>
          <ac:spMkLst>
            <pc:docMk/>
            <pc:sldMk cId="2534952866" sldId="1124"/>
            <ac:spMk id="98" creationId="{31D2EE0D-F515-4A35-B260-1E184D40E21D}"/>
          </ac:spMkLst>
        </pc:spChg>
        <pc:spChg chg="add mod">
          <ac:chgData name="Arjan van der Meer" userId="008f28a2-684e-4523-b3ca-dcb37d9c3e5d" providerId="ADAL" clId="{2B06979C-09FA-4ACE-9D1B-5392C9D6EE8C}" dt="2021-10-27T13:52:50.027" v="504"/>
          <ac:spMkLst>
            <pc:docMk/>
            <pc:sldMk cId="2534952866" sldId="1124"/>
            <ac:spMk id="99" creationId="{8023A644-098F-4CEA-A963-BE44E90CAB00}"/>
          </ac:spMkLst>
        </pc:spChg>
        <pc:spChg chg="add del mod">
          <ac:chgData name="Arjan van der Meer" userId="008f28a2-684e-4523-b3ca-dcb37d9c3e5d" providerId="ADAL" clId="{2B06979C-09FA-4ACE-9D1B-5392C9D6EE8C}" dt="2021-10-27T13:57:41.919" v="556" actId="478"/>
          <ac:spMkLst>
            <pc:docMk/>
            <pc:sldMk cId="2534952866" sldId="1124"/>
            <ac:spMk id="101" creationId="{096E3C8C-D8AC-4804-9CEC-E3E23566F6C6}"/>
          </ac:spMkLst>
        </pc:spChg>
        <pc:spChg chg="add mod">
          <ac:chgData name="Arjan van der Meer" userId="008f28a2-684e-4523-b3ca-dcb37d9c3e5d" providerId="ADAL" clId="{2B06979C-09FA-4ACE-9D1B-5392C9D6EE8C}" dt="2021-10-27T13:52:50.027" v="504"/>
          <ac:spMkLst>
            <pc:docMk/>
            <pc:sldMk cId="2534952866" sldId="1124"/>
            <ac:spMk id="102" creationId="{48F117CC-ECB4-4218-A072-00B91B8D4B8E}"/>
          </ac:spMkLst>
        </pc:spChg>
        <pc:spChg chg="add mod">
          <ac:chgData name="Arjan van der Meer" userId="008f28a2-684e-4523-b3ca-dcb37d9c3e5d" providerId="ADAL" clId="{2B06979C-09FA-4ACE-9D1B-5392C9D6EE8C}" dt="2021-10-27T13:52:50.027" v="504"/>
          <ac:spMkLst>
            <pc:docMk/>
            <pc:sldMk cId="2534952866" sldId="1124"/>
            <ac:spMk id="103" creationId="{BC830C78-A558-426C-94F3-F7655EE38163}"/>
          </ac:spMkLst>
        </pc:spChg>
        <pc:spChg chg="add mod">
          <ac:chgData name="Arjan van der Meer" userId="008f28a2-684e-4523-b3ca-dcb37d9c3e5d" providerId="ADAL" clId="{2B06979C-09FA-4ACE-9D1B-5392C9D6EE8C}" dt="2021-10-27T13:52:50.027" v="504"/>
          <ac:spMkLst>
            <pc:docMk/>
            <pc:sldMk cId="2534952866" sldId="1124"/>
            <ac:spMk id="104" creationId="{DE85FF11-1F02-4D9B-971E-001DD1A397DA}"/>
          </ac:spMkLst>
        </pc:spChg>
        <pc:spChg chg="add mod">
          <ac:chgData name="Arjan van der Meer" userId="008f28a2-684e-4523-b3ca-dcb37d9c3e5d" providerId="ADAL" clId="{2B06979C-09FA-4ACE-9D1B-5392C9D6EE8C}" dt="2021-10-27T13:52:50.027" v="504"/>
          <ac:spMkLst>
            <pc:docMk/>
            <pc:sldMk cId="2534952866" sldId="1124"/>
            <ac:spMk id="106" creationId="{E15819B0-6E74-403E-BE18-D942C879C51A}"/>
          </ac:spMkLst>
        </pc:spChg>
        <pc:spChg chg="add mod">
          <ac:chgData name="Arjan van der Meer" userId="008f28a2-684e-4523-b3ca-dcb37d9c3e5d" providerId="ADAL" clId="{2B06979C-09FA-4ACE-9D1B-5392C9D6EE8C}" dt="2021-10-27T13:52:50.027" v="504"/>
          <ac:spMkLst>
            <pc:docMk/>
            <pc:sldMk cId="2534952866" sldId="1124"/>
            <ac:spMk id="108" creationId="{35227B49-C58F-422C-8189-F98838F2B122}"/>
          </ac:spMkLst>
        </pc:spChg>
        <pc:spChg chg="add mod">
          <ac:chgData name="Arjan van der Meer" userId="008f28a2-684e-4523-b3ca-dcb37d9c3e5d" providerId="ADAL" clId="{2B06979C-09FA-4ACE-9D1B-5392C9D6EE8C}" dt="2021-10-27T13:52:50.027" v="504"/>
          <ac:spMkLst>
            <pc:docMk/>
            <pc:sldMk cId="2534952866" sldId="1124"/>
            <ac:spMk id="109" creationId="{08F3E727-5E47-4520-813F-E06CFEB0C7CA}"/>
          </ac:spMkLst>
        </pc:spChg>
        <pc:spChg chg="add mod">
          <ac:chgData name="Arjan van der Meer" userId="008f28a2-684e-4523-b3ca-dcb37d9c3e5d" providerId="ADAL" clId="{2B06979C-09FA-4ACE-9D1B-5392C9D6EE8C}" dt="2021-10-27T13:55:31.948" v="540" actId="1036"/>
          <ac:spMkLst>
            <pc:docMk/>
            <pc:sldMk cId="2534952866" sldId="1124"/>
            <ac:spMk id="110" creationId="{28DF6A2F-2EC1-48CF-B01D-A70BEF39ACB0}"/>
          </ac:spMkLst>
        </pc:spChg>
        <pc:spChg chg="add mod">
          <ac:chgData name="Arjan van der Meer" userId="008f28a2-684e-4523-b3ca-dcb37d9c3e5d" providerId="ADAL" clId="{2B06979C-09FA-4ACE-9D1B-5392C9D6EE8C}" dt="2021-10-27T13:55:31.948" v="540" actId="1036"/>
          <ac:spMkLst>
            <pc:docMk/>
            <pc:sldMk cId="2534952866" sldId="1124"/>
            <ac:spMk id="111" creationId="{17AEF1B2-C5F6-431A-9051-2049413FA57F}"/>
          </ac:spMkLst>
        </pc:spChg>
        <pc:spChg chg="add mod">
          <ac:chgData name="Arjan van der Meer" userId="008f28a2-684e-4523-b3ca-dcb37d9c3e5d" providerId="ADAL" clId="{2B06979C-09FA-4ACE-9D1B-5392C9D6EE8C}" dt="2021-10-27T13:55:31.948" v="540" actId="1036"/>
          <ac:spMkLst>
            <pc:docMk/>
            <pc:sldMk cId="2534952866" sldId="1124"/>
            <ac:spMk id="114" creationId="{3B77E6D1-79B0-4737-B492-D9790AAFD0AB}"/>
          </ac:spMkLst>
        </pc:spChg>
        <pc:spChg chg="add mod">
          <ac:chgData name="Arjan van der Meer" userId="008f28a2-684e-4523-b3ca-dcb37d9c3e5d" providerId="ADAL" clId="{2B06979C-09FA-4ACE-9D1B-5392C9D6EE8C}" dt="2021-10-27T13:55:31.948" v="540" actId="1036"/>
          <ac:spMkLst>
            <pc:docMk/>
            <pc:sldMk cId="2534952866" sldId="1124"/>
            <ac:spMk id="115" creationId="{BB3516CA-22E7-4D22-B635-377102507EC6}"/>
          </ac:spMkLst>
        </pc:spChg>
        <pc:spChg chg="add mod">
          <ac:chgData name="Arjan van der Meer" userId="008f28a2-684e-4523-b3ca-dcb37d9c3e5d" providerId="ADAL" clId="{2B06979C-09FA-4ACE-9D1B-5392C9D6EE8C}" dt="2021-10-27T13:55:31.948" v="540" actId="1036"/>
          <ac:spMkLst>
            <pc:docMk/>
            <pc:sldMk cId="2534952866" sldId="1124"/>
            <ac:spMk id="116" creationId="{6718E267-CDA0-4E92-9ECB-F7301ED25B9D}"/>
          </ac:spMkLst>
        </pc:spChg>
        <pc:spChg chg="add mod">
          <ac:chgData name="Arjan van der Meer" userId="008f28a2-684e-4523-b3ca-dcb37d9c3e5d" providerId="ADAL" clId="{2B06979C-09FA-4ACE-9D1B-5392C9D6EE8C}" dt="2021-10-27T13:55:31.948" v="540" actId="1036"/>
          <ac:spMkLst>
            <pc:docMk/>
            <pc:sldMk cId="2534952866" sldId="1124"/>
            <ac:spMk id="120" creationId="{6E2E6447-F971-4D8B-83D0-C8AE98B5AD3C}"/>
          </ac:spMkLst>
        </pc:spChg>
        <pc:spChg chg="add mod">
          <ac:chgData name="Arjan van der Meer" userId="008f28a2-684e-4523-b3ca-dcb37d9c3e5d" providerId="ADAL" clId="{2B06979C-09FA-4ACE-9D1B-5392C9D6EE8C}" dt="2021-10-27T13:55:31.948" v="540" actId="1036"/>
          <ac:spMkLst>
            <pc:docMk/>
            <pc:sldMk cId="2534952866" sldId="1124"/>
            <ac:spMk id="121" creationId="{A454EC12-DC65-415D-8A2D-0F3F44D54D9E}"/>
          </ac:spMkLst>
        </pc:spChg>
        <pc:spChg chg="add mod">
          <ac:chgData name="Arjan van der Meer" userId="008f28a2-684e-4523-b3ca-dcb37d9c3e5d" providerId="ADAL" clId="{2B06979C-09FA-4ACE-9D1B-5392C9D6EE8C}" dt="2021-10-27T13:57:32.392" v="554"/>
          <ac:spMkLst>
            <pc:docMk/>
            <pc:sldMk cId="2534952866" sldId="1124"/>
            <ac:spMk id="122" creationId="{A3AA28E7-E5DD-4AEB-989A-7F0E1CBB843E}"/>
          </ac:spMkLst>
        </pc:spChg>
        <pc:spChg chg="add mod">
          <ac:chgData name="Arjan van der Meer" userId="008f28a2-684e-4523-b3ca-dcb37d9c3e5d" providerId="ADAL" clId="{2B06979C-09FA-4ACE-9D1B-5392C9D6EE8C}" dt="2021-10-27T13:57:32.392" v="554"/>
          <ac:spMkLst>
            <pc:docMk/>
            <pc:sldMk cId="2534952866" sldId="1124"/>
            <ac:spMk id="123" creationId="{37AE40A8-0CBB-4065-A606-829D95D21E5F}"/>
          </ac:spMkLst>
        </pc:spChg>
        <pc:spChg chg="add mod">
          <ac:chgData name="Arjan van der Meer" userId="008f28a2-684e-4523-b3ca-dcb37d9c3e5d" providerId="ADAL" clId="{2B06979C-09FA-4ACE-9D1B-5392C9D6EE8C}" dt="2021-10-27T13:57:32.392" v="554"/>
          <ac:spMkLst>
            <pc:docMk/>
            <pc:sldMk cId="2534952866" sldId="1124"/>
            <ac:spMk id="124" creationId="{1017DB12-5BFA-4C34-B52D-88011949129D}"/>
          </ac:spMkLst>
        </pc:spChg>
        <pc:spChg chg="add mod">
          <ac:chgData name="Arjan van der Meer" userId="008f28a2-684e-4523-b3ca-dcb37d9c3e5d" providerId="ADAL" clId="{2B06979C-09FA-4ACE-9D1B-5392C9D6EE8C}" dt="2021-10-27T13:57:58.064" v="558"/>
          <ac:spMkLst>
            <pc:docMk/>
            <pc:sldMk cId="2534952866" sldId="1124"/>
            <ac:spMk id="125" creationId="{7A090649-2F16-41A9-BB1E-A99490FAB322}"/>
          </ac:spMkLst>
        </pc:spChg>
        <pc:spChg chg="add mod">
          <ac:chgData name="Arjan van der Meer" userId="008f28a2-684e-4523-b3ca-dcb37d9c3e5d" providerId="ADAL" clId="{2B06979C-09FA-4ACE-9D1B-5392C9D6EE8C}" dt="2021-10-27T13:58:05.966" v="559" actId="207"/>
          <ac:spMkLst>
            <pc:docMk/>
            <pc:sldMk cId="2534952866" sldId="1124"/>
            <ac:spMk id="126" creationId="{05B97E2A-D8BB-4FC3-8299-B8E8E9F62896}"/>
          </ac:spMkLst>
        </pc:spChg>
        <pc:spChg chg="add mod">
          <ac:chgData name="Arjan van der Meer" userId="008f28a2-684e-4523-b3ca-dcb37d9c3e5d" providerId="ADAL" clId="{2B06979C-09FA-4ACE-9D1B-5392C9D6EE8C}" dt="2021-10-27T13:58:05.966" v="559" actId="207"/>
          <ac:spMkLst>
            <pc:docMk/>
            <pc:sldMk cId="2534952866" sldId="1124"/>
            <ac:spMk id="127" creationId="{3EAD7C81-8977-48FB-BB2A-16333DCFFF13}"/>
          </ac:spMkLst>
        </pc:spChg>
        <pc:cxnChg chg="add del mod">
          <ac:chgData name="Arjan van der Meer" userId="008f28a2-684e-4523-b3ca-dcb37d9c3e5d" providerId="ADAL" clId="{2B06979C-09FA-4ACE-9D1B-5392C9D6EE8C}" dt="2021-10-27T13:53:45.391" v="510" actId="478"/>
          <ac:cxnSpMkLst>
            <pc:docMk/>
            <pc:sldMk cId="2534952866" sldId="1124"/>
            <ac:cxnSpMk id="8" creationId="{C78A4814-ECF9-433B-A826-451E487EE456}"/>
          </ac:cxnSpMkLst>
        </pc:cxnChg>
        <pc:cxnChg chg="del mod">
          <ac:chgData name="Arjan van der Meer" userId="008f28a2-684e-4523-b3ca-dcb37d9c3e5d" providerId="ADAL" clId="{2B06979C-09FA-4ACE-9D1B-5392C9D6EE8C}" dt="2021-10-27T13:52:49.542" v="503" actId="478"/>
          <ac:cxnSpMkLst>
            <pc:docMk/>
            <pc:sldMk cId="2534952866" sldId="1124"/>
            <ac:cxnSpMk id="32" creationId="{4058D355-B1C2-4492-BCF0-3609222B0EC2}"/>
          </ac:cxnSpMkLst>
        </pc:cxnChg>
        <pc:cxnChg chg="del">
          <ac:chgData name="Arjan van der Meer" userId="008f28a2-684e-4523-b3ca-dcb37d9c3e5d" providerId="ADAL" clId="{2B06979C-09FA-4ACE-9D1B-5392C9D6EE8C}" dt="2021-10-27T13:52:49.542" v="503" actId="478"/>
          <ac:cxnSpMkLst>
            <pc:docMk/>
            <pc:sldMk cId="2534952866" sldId="1124"/>
            <ac:cxnSpMk id="37" creationId="{FDA63B28-97EA-44F3-BFFC-53E37EF90328}"/>
          </ac:cxnSpMkLst>
        </pc:cxnChg>
        <pc:cxnChg chg="del">
          <ac:chgData name="Arjan van der Meer" userId="008f28a2-684e-4523-b3ca-dcb37d9c3e5d" providerId="ADAL" clId="{2B06979C-09FA-4ACE-9D1B-5392C9D6EE8C}" dt="2021-10-27T13:52:49.542" v="503" actId="478"/>
          <ac:cxnSpMkLst>
            <pc:docMk/>
            <pc:sldMk cId="2534952866" sldId="1124"/>
            <ac:cxnSpMk id="38" creationId="{B9F93C34-74D9-4E70-B165-871E3FB5A98A}"/>
          </ac:cxnSpMkLst>
        </pc:cxnChg>
        <pc:cxnChg chg="del mod">
          <ac:chgData name="Arjan van der Meer" userId="008f28a2-684e-4523-b3ca-dcb37d9c3e5d" providerId="ADAL" clId="{2B06979C-09FA-4ACE-9D1B-5392C9D6EE8C}" dt="2021-10-27T13:52:49.542" v="503" actId="478"/>
          <ac:cxnSpMkLst>
            <pc:docMk/>
            <pc:sldMk cId="2534952866" sldId="1124"/>
            <ac:cxnSpMk id="42" creationId="{85CDD86E-AAF5-44C7-AFE9-0C7E54C84EE7}"/>
          </ac:cxnSpMkLst>
        </pc:cxnChg>
        <pc:cxnChg chg="del mod">
          <ac:chgData name="Arjan van der Meer" userId="008f28a2-684e-4523-b3ca-dcb37d9c3e5d" providerId="ADAL" clId="{2B06979C-09FA-4ACE-9D1B-5392C9D6EE8C}" dt="2021-10-27T13:52:49.542" v="503" actId="478"/>
          <ac:cxnSpMkLst>
            <pc:docMk/>
            <pc:sldMk cId="2534952866" sldId="1124"/>
            <ac:cxnSpMk id="45" creationId="{3A58033C-82F7-49B5-B0AA-445D8F966B2B}"/>
          </ac:cxnSpMkLst>
        </pc:cxnChg>
        <pc:cxnChg chg="del mod">
          <ac:chgData name="Arjan van der Meer" userId="008f28a2-684e-4523-b3ca-dcb37d9c3e5d" providerId="ADAL" clId="{2B06979C-09FA-4ACE-9D1B-5392C9D6EE8C}" dt="2021-10-27T13:52:49.542" v="503" actId="478"/>
          <ac:cxnSpMkLst>
            <pc:docMk/>
            <pc:sldMk cId="2534952866" sldId="1124"/>
            <ac:cxnSpMk id="46" creationId="{34280D23-9F61-4AAD-9295-EF39E60D08C9}"/>
          </ac:cxnSpMkLst>
        </pc:cxnChg>
        <pc:cxnChg chg="del mod">
          <ac:chgData name="Arjan van der Meer" userId="008f28a2-684e-4523-b3ca-dcb37d9c3e5d" providerId="ADAL" clId="{2B06979C-09FA-4ACE-9D1B-5392C9D6EE8C}" dt="2021-10-27T13:52:49.542" v="503" actId="478"/>
          <ac:cxnSpMkLst>
            <pc:docMk/>
            <pc:sldMk cId="2534952866" sldId="1124"/>
            <ac:cxnSpMk id="54" creationId="{4BCF0211-998F-4840-BF81-DAC84EEC675A}"/>
          </ac:cxnSpMkLst>
        </pc:cxnChg>
        <pc:cxnChg chg="del mod">
          <ac:chgData name="Arjan van der Meer" userId="008f28a2-684e-4523-b3ca-dcb37d9c3e5d" providerId="ADAL" clId="{2B06979C-09FA-4ACE-9D1B-5392C9D6EE8C}" dt="2021-10-27T13:52:49.542" v="503" actId="478"/>
          <ac:cxnSpMkLst>
            <pc:docMk/>
            <pc:sldMk cId="2534952866" sldId="1124"/>
            <ac:cxnSpMk id="60" creationId="{A4751AD5-BE76-466B-BF88-11DECC367FAF}"/>
          </ac:cxnSpMkLst>
        </pc:cxnChg>
        <pc:cxnChg chg="del mod">
          <ac:chgData name="Arjan van der Meer" userId="008f28a2-684e-4523-b3ca-dcb37d9c3e5d" providerId="ADAL" clId="{2B06979C-09FA-4ACE-9D1B-5392C9D6EE8C}" dt="2021-10-27T13:52:49.542" v="503" actId="478"/>
          <ac:cxnSpMkLst>
            <pc:docMk/>
            <pc:sldMk cId="2534952866" sldId="1124"/>
            <ac:cxnSpMk id="61" creationId="{AE40117E-75F4-4493-AEA5-30BD3B190FA7}"/>
          </ac:cxnSpMkLst>
        </pc:cxnChg>
        <pc:cxnChg chg="del mod">
          <ac:chgData name="Arjan van der Meer" userId="008f28a2-684e-4523-b3ca-dcb37d9c3e5d" providerId="ADAL" clId="{2B06979C-09FA-4ACE-9D1B-5392C9D6EE8C}" dt="2021-10-27T13:52:49.542" v="503" actId="478"/>
          <ac:cxnSpMkLst>
            <pc:docMk/>
            <pc:sldMk cId="2534952866" sldId="1124"/>
            <ac:cxnSpMk id="62" creationId="{2743069D-41C5-438A-B778-69834FC631B1}"/>
          </ac:cxnSpMkLst>
        </pc:cxnChg>
        <pc:cxnChg chg="del mod">
          <ac:chgData name="Arjan van der Meer" userId="008f28a2-684e-4523-b3ca-dcb37d9c3e5d" providerId="ADAL" clId="{2B06979C-09FA-4ACE-9D1B-5392C9D6EE8C}" dt="2021-10-27T13:52:49.542" v="503" actId="478"/>
          <ac:cxnSpMkLst>
            <pc:docMk/>
            <pc:sldMk cId="2534952866" sldId="1124"/>
            <ac:cxnSpMk id="63" creationId="{CA5BF790-4DB3-489E-AEFD-98DDAED69F91}"/>
          </ac:cxnSpMkLst>
        </pc:cxnChg>
        <pc:cxnChg chg="del mod">
          <ac:chgData name="Arjan van der Meer" userId="008f28a2-684e-4523-b3ca-dcb37d9c3e5d" providerId="ADAL" clId="{2B06979C-09FA-4ACE-9D1B-5392C9D6EE8C}" dt="2021-10-27T13:52:49.542" v="503" actId="478"/>
          <ac:cxnSpMkLst>
            <pc:docMk/>
            <pc:sldMk cId="2534952866" sldId="1124"/>
            <ac:cxnSpMk id="69" creationId="{17EBEE15-022B-4D89-9FCB-10DFE680F5DD}"/>
          </ac:cxnSpMkLst>
        </pc:cxnChg>
        <pc:cxnChg chg="add del mod">
          <ac:chgData name="Arjan van der Meer" userId="008f28a2-684e-4523-b3ca-dcb37d9c3e5d" providerId="ADAL" clId="{2B06979C-09FA-4ACE-9D1B-5392C9D6EE8C}" dt="2021-10-27T13:55:27.060" v="517" actId="478"/>
          <ac:cxnSpMkLst>
            <pc:docMk/>
            <pc:sldMk cId="2534952866" sldId="1124"/>
            <ac:cxnSpMk id="71" creationId="{2B7AB6F0-7345-4F83-B6BE-811F0AE9D5BF}"/>
          </ac:cxnSpMkLst>
        </pc:cxnChg>
        <pc:cxnChg chg="add del mod">
          <ac:chgData name="Arjan van der Meer" userId="008f28a2-684e-4523-b3ca-dcb37d9c3e5d" providerId="ADAL" clId="{2B06979C-09FA-4ACE-9D1B-5392C9D6EE8C}" dt="2021-10-27T13:55:27.060" v="517" actId="478"/>
          <ac:cxnSpMkLst>
            <pc:docMk/>
            <pc:sldMk cId="2534952866" sldId="1124"/>
            <ac:cxnSpMk id="72" creationId="{D168BE5D-56F1-4877-806F-EF4485D3BF5B}"/>
          </ac:cxnSpMkLst>
        </pc:cxnChg>
        <pc:cxnChg chg="add del mod">
          <ac:chgData name="Arjan van der Meer" userId="008f28a2-684e-4523-b3ca-dcb37d9c3e5d" providerId="ADAL" clId="{2B06979C-09FA-4ACE-9D1B-5392C9D6EE8C}" dt="2021-10-27T13:55:27.060" v="517" actId="478"/>
          <ac:cxnSpMkLst>
            <pc:docMk/>
            <pc:sldMk cId="2534952866" sldId="1124"/>
            <ac:cxnSpMk id="73" creationId="{BF3FA633-6DEF-414D-9F50-486FBB9B1B01}"/>
          </ac:cxnSpMkLst>
        </pc:cxnChg>
        <pc:cxnChg chg="add del mod">
          <ac:chgData name="Arjan van der Meer" userId="008f28a2-684e-4523-b3ca-dcb37d9c3e5d" providerId="ADAL" clId="{2B06979C-09FA-4ACE-9D1B-5392C9D6EE8C}" dt="2021-10-27T13:55:27.060" v="517" actId="478"/>
          <ac:cxnSpMkLst>
            <pc:docMk/>
            <pc:sldMk cId="2534952866" sldId="1124"/>
            <ac:cxnSpMk id="74" creationId="{5CA03E80-BA40-441A-979C-52DB615336B2}"/>
          </ac:cxnSpMkLst>
        </pc:cxnChg>
        <pc:cxnChg chg="del mod">
          <ac:chgData name="Arjan van der Meer" userId="008f28a2-684e-4523-b3ca-dcb37d9c3e5d" providerId="ADAL" clId="{2B06979C-09FA-4ACE-9D1B-5392C9D6EE8C}" dt="2021-10-27T13:52:49.542" v="503" actId="478"/>
          <ac:cxnSpMkLst>
            <pc:docMk/>
            <pc:sldMk cId="2534952866" sldId="1124"/>
            <ac:cxnSpMk id="76" creationId="{6220F7DC-8B76-4F79-9EB9-7868E9B08E05}"/>
          </ac:cxnSpMkLst>
        </pc:cxnChg>
        <pc:cxnChg chg="add mod">
          <ac:chgData name="Arjan van der Meer" userId="008f28a2-684e-4523-b3ca-dcb37d9c3e5d" providerId="ADAL" clId="{2B06979C-09FA-4ACE-9D1B-5392C9D6EE8C}" dt="2021-10-27T13:52:50.027" v="504"/>
          <ac:cxnSpMkLst>
            <pc:docMk/>
            <pc:sldMk cId="2534952866" sldId="1124"/>
            <ac:cxnSpMk id="86" creationId="{0284FB74-1CF7-40D4-BDE3-5285BE14ED1C}"/>
          </ac:cxnSpMkLst>
        </pc:cxnChg>
        <pc:cxnChg chg="add mod">
          <ac:chgData name="Arjan van der Meer" userId="008f28a2-684e-4523-b3ca-dcb37d9c3e5d" providerId="ADAL" clId="{2B06979C-09FA-4ACE-9D1B-5392C9D6EE8C}" dt="2021-10-27T13:52:50.027" v="504"/>
          <ac:cxnSpMkLst>
            <pc:docMk/>
            <pc:sldMk cId="2534952866" sldId="1124"/>
            <ac:cxnSpMk id="87" creationId="{6EEA103D-2B05-4D9E-85E6-58ECA2E1FB31}"/>
          </ac:cxnSpMkLst>
        </pc:cxnChg>
        <pc:cxnChg chg="add mod">
          <ac:chgData name="Arjan van der Meer" userId="008f28a2-684e-4523-b3ca-dcb37d9c3e5d" providerId="ADAL" clId="{2B06979C-09FA-4ACE-9D1B-5392C9D6EE8C}" dt="2021-10-27T13:56:49.829" v="549" actId="1076"/>
          <ac:cxnSpMkLst>
            <pc:docMk/>
            <pc:sldMk cId="2534952866" sldId="1124"/>
            <ac:cxnSpMk id="88" creationId="{C4F5177F-7B41-46E7-9425-0200193CBD21}"/>
          </ac:cxnSpMkLst>
        </pc:cxnChg>
        <pc:cxnChg chg="add mod">
          <ac:chgData name="Arjan van der Meer" userId="008f28a2-684e-4523-b3ca-dcb37d9c3e5d" providerId="ADAL" clId="{2B06979C-09FA-4ACE-9D1B-5392C9D6EE8C}" dt="2021-10-27T13:52:50.027" v="504"/>
          <ac:cxnSpMkLst>
            <pc:docMk/>
            <pc:sldMk cId="2534952866" sldId="1124"/>
            <ac:cxnSpMk id="93" creationId="{FC37EC36-CA59-4F16-9015-5B890A4FF797}"/>
          </ac:cxnSpMkLst>
        </pc:cxnChg>
        <pc:cxnChg chg="add mod">
          <ac:chgData name="Arjan van der Meer" userId="008f28a2-684e-4523-b3ca-dcb37d9c3e5d" providerId="ADAL" clId="{2B06979C-09FA-4ACE-9D1B-5392C9D6EE8C}" dt="2021-10-27T13:52:50.027" v="504"/>
          <ac:cxnSpMkLst>
            <pc:docMk/>
            <pc:sldMk cId="2534952866" sldId="1124"/>
            <ac:cxnSpMk id="95" creationId="{01E57512-0367-456F-A040-834A2D2CB18B}"/>
          </ac:cxnSpMkLst>
        </pc:cxnChg>
        <pc:cxnChg chg="add mod">
          <ac:chgData name="Arjan van der Meer" userId="008f28a2-684e-4523-b3ca-dcb37d9c3e5d" providerId="ADAL" clId="{2B06979C-09FA-4ACE-9D1B-5392C9D6EE8C}" dt="2021-10-27T13:52:50.027" v="504"/>
          <ac:cxnSpMkLst>
            <pc:docMk/>
            <pc:sldMk cId="2534952866" sldId="1124"/>
            <ac:cxnSpMk id="100" creationId="{3DA9191D-2AB9-4EDB-A733-05E1E811B219}"/>
          </ac:cxnSpMkLst>
        </pc:cxnChg>
        <pc:cxnChg chg="add mod">
          <ac:chgData name="Arjan van der Meer" userId="008f28a2-684e-4523-b3ca-dcb37d9c3e5d" providerId="ADAL" clId="{2B06979C-09FA-4ACE-9D1B-5392C9D6EE8C}" dt="2021-10-27T13:56:49.829" v="549" actId="1076"/>
          <ac:cxnSpMkLst>
            <pc:docMk/>
            <pc:sldMk cId="2534952866" sldId="1124"/>
            <ac:cxnSpMk id="105" creationId="{C113BB27-170E-4E39-9346-6AB98B086853}"/>
          </ac:cxnSpMkLst>
        </pc:cxnChg>
        <pc:cxnChg chg="add del mod">
          <ac:chgData name="Arjan van der Meer" userId="008f28a2-684e-4523-b3ca-dcb37d9c3e5d" providerId="ADAL" clId="{2B06979C-09FA-4ACE-9D1B-5392C9D6EE8C}" dt="2021-10-27T13:53:08.937" v="506" actId="478"/>
          <ac:cxnSpMkLst>
            <pc:docMk/>
            <pc:sldMk cId="2534952866" sldId="1124"/>
            <ac:cxnSpMk id="107" creationId="{B6A263AC-8440-4ADC-8379-13855C759167}"/>
          </ac:cxnSpMkLst>
        </pc:cxnChg>
        <pc:cxnChg chg="add mod">
          <ac:chgData name="Arjan van der Meer" userId="008f28a2-684e-4523-b3ca-dcb37d9c3e5d" providerId="ADAL" clId="{2B06979C-09FA-4ACE-9D1B-5392C9D6EE8C}" dt="2021-10-27T13:55:31.948" v="540" actId="1036"/>
          <ac:cxnSpMkLst>
            <pc:docMk/>
            <pc:sldMk cId="2534952866" sldId="1124"/>
            <ac:cxnSpMk id="112" creationId="{DC81DA5D-E010-4C24-AD86-69E3103FA255}"/>
          </ac:cxnSpMkLst>
        </pc:cxnChg>
        <pc:cxnChg chg="add mod">
          <ac:chgData name="Arjan van der Meer" userId="008f28a2-684e-4523-b3ca-dcb37d9c3e5d" providerId="ADAL" clId="{2B06979C-09FA-4ACE-9D1B-5392C9D6EE8C}" dt="2021-10-27T13:55:31.948" v="540" actId="1036"/>
          <ac:cxnSpMkLst>
            <pc:docMk/>
            <pc:sldMk cId="2534952866" sldId="1124"/>
            <ac:cxnSpMk id="113" creationId="{30029CAA-F8E8-41C0-99E3-E3EE2FF7C583}"/>
          </ac:cxnSpMkLst>
        </pc:cxnChg>
        <pc:cxnChg chg="add mod">
          <ac:chgData name="Arjan van der Meer" userId="008f28a2-684e-4523-b3ca-dcb37d9c3e5d" providerId="ADAL" clId="{2B06979C-09FA-4ACE-9D1B-5392C9D6EE8C}" dt="2021-10-27T13:55:31.948" v="540" actId="1036"/>
          <ac:cxnSpMkLst>
            <pc:docMk/>
            <pc:sldMk cId="2534952866" sldId="1124"/>
            <ac:cxnSpMk id="117" creationId="{777B2006-1321-485B-B404-2733166B98F6}"/>
          </ac:cxnSpMkLst>
        </pc:cxnChg>
        <pc:cxnChg chg="add mod">
          <ac:chgData name="Arjan van der Meer" userId="008f28a2-684e-4523-b3ca-dcb37d9c3e5d" providerId="ADAL" clId="{2B06979C-09FA-4ACE-9D1B-5392C9D6EE8C}" dt="2021-10-27T13:55:31.948" v="540" actId="1036"/>
          <ac:cxnSpMkLst>
            <pc:docMk/>
            <pc:sldMk cId="2534952866" sldId="1124"/>
            <ac:cxnSpMk id="118" creationId="{691D3D3A-A46A-40F8-A913-69898ACD88C5}"/>
          </ac:cxnSpMkLst>
        </pc:cxnChg>
        <pc:cxnChg chg="add mod">
          <ac:chgData name="Arjan van der Meer" userId="008f28a2-684e-4523-b3ca-dcb37d9c3e5d" providerId="ADAL" clId="{2B06979C-09FA-4ACE-9D1B-5392C9D6EE8C}" dt="2021-10-27T13:55:31.948" v="540" actId="1036"/>
          <ac:cxnSpMkLst>
            <pc:docMk/>
            <pc:sldMk cId="2534952866" sldId="1124"/>
            <ac:cxnSpMk id="119" creationId="{BE4E19CD-4C28-41E8-A086-F0F15FD6334D}"/>
          </ac:cxnSpMkLst>
        </pc:cxnChg>
      </pc:sldChg>
      <pc:sldChg chg="addSp delSp modSp mod modAnim addCm">
        <pc:chgData name="Arjan van der Meer" userId="008f28a2-684e-4523-b3ca-dcb37d9c3e5d" providerId="ADAL" clId="{2B06979C-09FA-4ACE-9D1B-5392C9D6EE8C}" dt="2021-10-28T14:41:16.449" v="1527" actId="1589"/>
        <pc:sldMkLst>
          <pc:docMk/>
          <pc:sldMk cId="1427060495" sldId="1131"/>
        </pc:sldMkLst>
        <pc:spChg chg="mod">
          <ac:chgData name="Arjan van der Meer" userId="008f28a2-684e-4523-b3ca-dcb37d9c3e5d" providerId="ADAL" clId="{2B06979C-09FA-4ACE-9D1B-5392C9D6EE8C}" dt="2021-10-28T08:20:52.553" v="1076" actId="20577"/>
          <ac:spMkLst>
            <pc:docMk/>
            <pc:sldMk cId="1427060495" sldId="1131"/>
            <ac:spMk id="2" creationId="{FD5300D3-00F6-4430-842F-4E34F6123C39}"/>
          </ac:spMkLst>
        </pc:spChg>
        <pc:spChg chg="mod">
          <ac:chgData name="Arjan van der Meer" userId="008f28a2-684e-4523-b3ca-dcb37d9c3e5d" providerId="ADAL" clId="{2B06979C-09FA-4ACE-9D1B-5392C9D6EE8C}" dt="2021-10-28T08:52:53.976" v="1389" actId="20577"/>
          <ac:spMkLst>
            <pc:docMk/>
            <pc:sldMk cId="1427060495" sldId="1131"/>
            <ac:spMk id="6" creationId="{1CFDC4AA-E251-44C7-95AC-6E657D865FAB}"/>
          </ac:spMkLst>
        </pc:spChg>
        <pc:spChg chg="add del mod">
          <ac:chgData name="Arjan van der Meer" userId="008f28a2-684e-4523-b3ca-dcb37d9c3e5d" providerId="ADAL" clId="{2B06979C-09FA-4ACE-9D1B-5392C9D6EE8C}" dt="2021-10-28T08:37:26.532" v="1110" actId="478"/>
          <ac:spMkLst>
            <pc:docMk/>
            <pc:sldMk cId="1427060495" sldId="1131"/>
            <ac:spMk id="7" creationId="{FA29546E-07F1-4C34-9C3C-D3B31CA19B34}"/>
          </ac:spMkLst>
        </pc:spChg>
        <pc:spChg chg="add del mod">
          <ac:chgData name="Arjan van der Meer" userId="008f28a2-684e-4523-b3ca-dcb37d9c3e5d" providerId="ADAL" clId="{2B06979C-09FA-4ACE-9D1B-5392C9D6EE8C}" dt="2021-10-28T08:37:26.532" v="1110" actId="478"/>
          <ac:spMkLst>
            <pc:docMk/>
            <pc:sldMk cId="1427060495" sldId="1131"/>
            <ac:spMk id="8" creationId="{30B1099B-0364-4B2B-9A1B-1CFA8D05243B}"/>
          </ac:spMkLst>
        </pc:spChg>
        <pc:spChg chg="add del mod">
          <ac:chgData name="Arjan van der Meer" userId="008f28a2-684e-4523-b3ca-dcb37d9c3e5d" providerId="ADAL" clId="{2B06979C-09FA-4ACE-9D1B-5392C9D6EE8C}" dt="2021-10-28T08:37:26.532" v="1110" actId="478"/>
          <ac:spMkLst>
            <pc:docMk/>
            <pc:sldMk cId="1427060495" sldId="1131"/>
            <ac:spMk id="9" creationId="{80565FB4-7EB9-4945-A07F-92EFE56B27BD}"/>
          </ac:spMkLst>
        </pc:spChg>
        <pc:spChg chg="add del mod">
          <ac:chgData name="Arjan van der Meer" userId="008f28a2-684e-4523-b3ca-dcb37d9c3e5d" providerId="ADAL" clId="{2B06979C-09FA-4ACE-9D1B-5392C9D6EE8C}" dt="2021-10-28T08:37:26.532" v="1110" actId="478"/>
          <ac:spMkLst>
            <pc:docMk/>
            <pc:sldMk cId="1427060495" sldId="1131"/>
            <ac:spMk id="10" creationId="{9B2895DB-E41E-42BD-B281-CDB29419D9E7}"/>
          </ac:spMkLst>
        </pc:spChg>
        <pc:spChg chg="add del mod">
          <ac:chgData name="Arjan van der Meer" userId="008f28a2-684e-4523-b3ca-dcb37d9c3e5d" providerId="ADAL" clId="{2B06979C-09FA-4ACE-9D1B-5392C9D6EE8C}" dt="2021-10-28T08:37:26.532" v="1110" actId="478"/>
          <ac:spMkLst>
            <pc:docMk/>
            <pc:sldMk cId="1427060495" sldId="1131"/>
            <ac:spMk id="11" creationId="{D5E46AD2-462E-46EB-8F3D-7C4FBEF54F78}"/>
          </ac:spMkLst>
        </pc:spChg>
        <pc:spChg chg="add del mod">
          <ac:chgData name="Arjan van der Meer" userId="008f28a2-684e-4523-b3ca-dcb37d9c3e5d" providerId="ADAL" clId="{2B06979C-09FA-4ACE-9D1B-5392C9D6EE8C}" dt="2021-10-28T08:37:26.532" v="1110" actId="478"/>
          <ac:spMkLst>
            <pc:docMk/>
            <pc:sldMk cId="1427060495" sldId="1131"/>
            <ac:spMk id="12" creationId="{A1E2975F-FB27-448D-8841-3205E4595C5E}"/>
          </ac:spMkLst>
        </pc:spChg>
        <pc:spChg chg="add del mod">
          <ac:chgData name="Arjan van der Meer" userId="008f28a2-684e-4523-b3ca-dcb37d9c3e5d" providerId="ADAL" clId="{2B06979C-09FA-4ACE-9D1B-5392C9D6EE8C}" dt="2021-10-28T08:37:26.532" v="1110" actId="478"/>
          <ac:spMkLst>
            <pc:docMk/>
            <pc:sldMk cId="1427060495" sldId="1131"/>
            <ac:spMk id="13" creationId="{FAB984FC-CC44-449A-9562-3CA01AA83F1B}"/>
          </ac:spMkLst>
        </pc:spChg>
        <pc:spChg chg="add del mod">
          <ac:chgData name="Arjan van der Meer" userId="008f28a2-684e-4523-b3ca-dcb37d9c3e5d" providerId="ADAL" clId="{2B06979C-09FA-4ACE-9D1B-5392C9D6EE8C}" dt="2021-10-28T08:22:15.489" v="1079" actId="478"/>
          <ac:spMkLst>
            <pc:docMk/>
            <pc:sldMk cId="1427060495" sldId="1131"/>
            <ac:spMk id="17" creationId="{6A17BA21-2793-44A0-9198-532DDDED87F1}"/>
          </ac:spMkLst>
        </pc:spChg>
        <pc:spChg chg="add del mod">
          <ac:chgData name="Arjan van der Meer" userId="008f28a2-684e-4523-b3ca-dcb37d9c3e5d" providerId="ADAL" clId="{2B06979C-09FA-4ACE-9D1B-5392C9D6EE8C}" dt="2021-10-28T08:22:21.700" v="1082" actId="478"/>
          <ac:spMkLst>
            <pc:docMk/>
            <pc:sldMk cId="1427060495" sldId="1131"/>
            <ac:spMk id="18" creationId="{EB638505-DD95-4F2A-9B88-507A30974E2F}"/>
          </ac:spMkLst>
        </pc:spChg>
        <pc:spChg chg="add del mod">
          <ac:chgData name="Arjan van der Meer" userId="008f28a2-684e-4523-b3ca-dcb37d9c3e5d" providerId="ADAL" clId="{2B06979C-09FA-4ACE-9D1B-5392C9D6EE8C}" dt="2021-10-28T08:22:23.640" v="1083" actId="478"/>
          <ac:spMkLst>
            <pc:docMk/>
            <pc:sldMk cId="1427060495" sldId="1131"/>
            <ac:spMk id="19" creationId="{23107EDB-DE4C-44E3-B845-13A3549505EC}"/>
          </ac:spMkLst>
        </pc:spChg>
        <pc:spChg chg="add del mod">
          <ac:chgData name="Arjan van der Meer" userId="008f28a2-684e-4523-b3ca-dcb37d9c3e5d" providerId="ADAL" clId="{2B06979C-09FA-4ACE-9D1B-5392C9D6EE8C}" dt="2021-10-28T08:37:26.532" v="1110" actId="478"/>
          <ac:spMkLst>
            <pc:docMk/>
            <pc:sldMk cId="1427060495" sldId="1131"/>
            <ac:spMk id="20" creationId="{45D6183A-9F02-430E-B684-D3C83BC73841}"/>
          </ac:spMkLst>
        </pc:spChg>
        <pc:spChg chg="add del mod">
          <ac:chgData name="Arjan van der Meer" userId="008f28a2-684e-4523-b3ca-dcb37d9c3e5d" providerId="ADAL" clId="{2B06979C-09FA-4ACE-9D1B-5392C9D6EE8C}" dt="2021-10-28T08:22:17.296" v="1080" actId="478"/>
          <ac:spMkLst>
            <pc:docMk/>
            <pc:sldMk cId="1427060495" sldId="1131"/>
            <ac:spMk id="22" creationId="{99C168AB-9428-49BE-A265-66150A6ACEE7}"/>
          </ac:spMkLst>
        </pc:spChg>
        <pc:spChg chg="add del mod">
          <ac:chgData name="Arjan van der Meer" userId="008f28a2-684e-4523-b3ca-dcb37d9c3e5d" providerId="ADAL" clId="{2B06979C-09FA-4ACE-9D1B-5392C9D6EE8C}" dt="2021-10-28T08:22:19.764" v="1081" actId="478"/>
          <ac:spMkLst>
            <pc:docMk/>
            <pc:sldMk cId="1427060495" sldId="1131"/>
            <ac:spMk id="24" creationId="{187530EA-FECE-41C6-8633-72D723CD8B75}"/>
          </ac:spMkLst>
        </pc:spChg>
        <pc:spChg chg="add del mod">
          <ac:chgData name="Arjan van der Meer" userId="008f28a2-684e-4523-b3ca-dcb37d9c3e5d" providerId="ADAL" clId="{2B06979C-09FA-4ACE-9D1B-5392C9D6EE8C}" dt="2021-10-28T08:37:26.532" v="1110" actId="478"/>
          <ac:spMkLst>
            <pc:docMk/>
            <pc:sldMk cId="1427060495" sldId="1131"/>
            <ac:spMk id="25" creationId="{605711AB-8A99-4A77-AEEC-6516EEBA3EA6}"/>
          </ac:spMkLst>
        </pc:spChg>
        <pc:spChg chg="add del mod">
          <ac:chgData name="Arjan van der Meer" userId="008f28a2-684e-4523-b3ca-dcb37d9c3e5d" providerId="ADAL" clId="{2B06979C-09FA-4ACE-9D1B-5392C9D6EE8C}" dt="2021-10-28T08:37:26.532" v="1110" actId="478"/>
          <ac:spMkLst>
            <pc:docMk/>
            <pc:sldMk cId="1427060495" sldId="1131"/>
            <ac:spMk id="26" creationId="{9A4A0FF5-5550-4F9D-99CE-A6F4A70B00CC}"/>
          </ac:spMkLst>
        </pc:spChg>
        <pc:spChg chg="add del mod">
          <ac:chgData name="Arjan van der Meer" userId="008f28a2-684e-4523-b3ca-dcb37d9c3e5d" providerId="ADAL" clId="{2B06979C-09FA-4ACE-9D1B-5392C9D6EE8C}" dt="2021-10-28T08:22:26.338" v="1084" actId="478"/>
          <ac:spMkLst>
            <pc:docMk/>
            <pc:sldMk cId="1427060495" sldId="1131"/>
            <ac:spMk id="28" creationId="{1D9491CF-3410-4CBB-BD5D-9D76C3EAF7F8}"/>
          </ac:spMkLst>
        </pc:spChg>
        <pc:spChg chg="add del mod">
          <ac:chgData name="Arjan van der Meer" userId="008f28a2-684e-4523-b3ca-dcb37d9c3e5d" providerId="ADAL" clId="{2B06979C-09FA-4ACE-9D1B-5392C9D6EE8C}" dt="2021-10-28T08:37:26.532" v="1110" actId="478"/>
          <ac:spMkLst>
            <pc:docMk/>
            <pc:sldMk cId="1427060495" sldId="1131"/>
            <ac:spMk id="29" creationId="{79D3F02E-0491-4A93-8926-894C6D6A063B}"/>
          </ac:spMkLst>
        </pc:spChg>
        <pc:spChg chg="add del mod">
          <ac:chgData name="Arjan van der Meer" userId="008f28a2-684e-4523-b3ca-dcb37d9c3e5d" providerId="ADAL" clId="{2B06979C-09FA-4ACE-9D1B-5392C9D6EE8C}" dt="2021-10-28T08:22:28.294" v="1085" actId="478"/>
          <ac:spMkLst>
            <pc:docMk/>
            <pc:sldMk cId="1427060495" sldId="1131"/>
            <ac:spMk id="31" creationId="{75A232D7-C593-44E7-8298-2356B0C73D66}"/>
          </ac:spMkLst>
        </pc:spChg>
        <pc:spChg chg="add mod">
          <ac:chgData name="Arjan van der Meer" userId="008f28a2-684e-4523-b3ca-dcb37d9c3e5d" providerId="ADAL" clId="{2B06979C-09FA-4ACE-9D1B-5392C9D6EE8C}" dt="2021-10-28T09:08:07.513" v="1463" actId="1038"/>
          <ac:spMkLst>
            <pc:docMk/>
            <pc:sldMk cId="1427060495" sldId="1131"/>
            <ac:spMk id="35" creationId="{DB56D556-954A-4EA1-BBD5-7FF9DE166C65}"/>
          </ac:spMkLst>
        </pc:spChg>
        <pc:spChg chg="add mod">
          <ac:chgData name="Arjan van der Meer" userId="008f28a2-684e-4523-b3ca-dcb37d9c3e5d" providerId="ADAL" clId="{2B06979C-09FA-4ACE-9D1B-5392C9D6EE8C}" dt="2021-10-28T09:08:07.513" v="1463" actId="1038"/>
          <ac:spMkLst>
            <pc:docMk/>
            <pc:sldMk cId="1427060495" sldId="1131"/>
            <ac:spMk id="36" creationId="{7968463D-F49D-4E4A-BDA0-11DEDC6A777D}"/>
          </ac:spMkLst>
        </pc:spChg>
        <pc:spChg chg="add mod">
          <ac:chgData name="Arjan van der Meer" userId="008f28a2-684e-4523-b3ca-dcb37d9c3e5d" providerId="ADAL" clId="{2B06979C-09FA-4ACE-9D1B-5392C9D6EE8C}" dt="2021-10-28T09:08:07.513" v="1463" actId="1038"/>
          <ac:spMkLst>
            <pc:docMk/>
            <pc:sldMk cId="1427060495" sldId="1131"/>
            <ac:spMk id="37" creationId="{1F7401AA-924A-4EFE-A1CF-B4A434222C08}"/>
          </ac:spMkLst>
        </pc:spChg>
        <pc:spChg chg="add mod">
          <ac:chgData name="Arjan van der Meer" userId="008f28a2-684e-4523-b3ca-dcb37d9c3e5d" providerId="ADAL" clId="{2B06979C-09FA-4ACE-9D1B-5392C9D6EE8C}" dt="2021-10-28T09:08:07.513" v="1463" actId="1038"/>
          <ac:spMkLst>
            <pc:docMk/>
            <pc:sldMk cId="1427060495" sldId="1131"/>
            <ac:spMk id="38" creationId="{771B5DFB-AD01-4376-9C42-970EDB26FA7C}"/>
          </ac:spMkLst>
        </pc:spChg>
        <pc:spChg chg="add mod">
          <ac:chgData name="Arjan van der Meer" userId="008f28a2-684e-4523-b3ca-dcb37d9c3e5d" providerId="ADAL" clId="{2B06979C-09FA-4ACE-9D1B-5392C9D6EE8C}" dt="2021-10-28T09:08:07.513" v="1463" actId="1038"/>
          <ac:spMkLst>
            <pc:docMk/>
            <pc:sldMk cId="1427060495" sldId="1131"/>
            <ac:spMk id="39" creationId="{5733DA6B-04F2-48B5-BA12-532E7F2D4271}"/>
          </ac:spMkLst>
        </pc:spChg>
        <pc:spChg chg="add mod">
          <ac:chgData name="Arjan van der Meer" userId="008f28a2-684e-4523-b3ca-dcb37d9c3e5d" providerId="ADAL" clId="{2B06979C-09FA-4ACE-9D1B-5392C9D6EE8C}" dt="2021-10-28T09:08:07.513" v="1463" actId="1038"/>
          <ac:spMkLst>
            <pc:docMk/>
            <pc:sldMk cId="1427060495" sldId="1131"/>
            <ac:spMk id="40" creationId="{AD3B7296-E178-45C9-9DA3-24F9265E2F56}"/>
          </ac:spMkLst>
        </pc:spChg>
        <pc:spChg chg="add mod">
          <ac:chgData name="Arjan van der Meer" userId="008f28a2-684e-4523-b3ca-dcb37d9c3e5d" providerId="ADAL" clId="{2B06979C-09FA-4ACE-9D1B-5392C9D6EE8C}" dt="2021-10-28T09:08:07.513" v="1463" actId="1038"/>
          <ac:spMkLst>
            <pc:docMk/>
            <pc:sldMk cId="1427060495" sldId="1131"/>
            <ac:spMk id="41" creationId="{EF3317A3-0679-4FC4-894D-E3CF63577B0A}"/>
          </ac:spMkLst>
        </pc:spChg>
        <pc:spChg chg="add mod">
          <ac:chgData name="Arjan van der Meer" userId="008f28a2-684e-4523-b3ca-dcb37d9c3e5d" providerId="ADAL" clId="{2B06979C-09FA-4ACE-9D1B-5392C9D6EE8C}" dt="2021-10-28T09:08:07.513" v="1463" actId="1038"/>
          <ac:spMkLst>
            <pc:docMk/>
            <pc:sldMk cId="1427060495" sldId="1131"/>
            <ac:spMk id="42" creationId="{330608E8-D48A-4BBD-B9F5-3341A04372E6}"/>
          </ac:spMkLst>
        </pc:spChg>
        <pc:spChg chg="add mod">
          <ac:chgData name="Arjan van der Meer" userId="008f28a2-684e-4523-b3ca-dcb37d9c3e5d" providerId="ADAL" clId="{2B06979C-09FA-4ACE-9D1B-5392C9D6EE8C}" dt="2021-10-28T09:08:07.513" v="1463" actId="1038"/>
          <ac:spMkLst>
            <pc:docMk/>
            <pc:sldMk cId="1427060495" sldId="1131"/>
            <ac:spMk id="43" creationId="{8D44F021-4C37-48F2-8EE6-D93616E77775}"/>
          </ac:spMkLst>
        </pc:spChg>
        <pc:spChg chg="add mod">
          <ac:chgData name="Arjan van der Meer" userId="008f28a2-684e-4523-b3ca-dcb37d9c3e5d" providerId="ADAL" clId="{2B06979C-09FA-4ACE-9D1B-5392C9D6EE8C}" dt="2021-10-28T09:08:07.513" v="1463" actId="1038"/>
          <ac:spMkLst>
            <pc:docMk/>
            <pc:sldMk cId="1427060495" sldId="1131"/>
            <ac:spMk id="44" creationId="{D09B40CA-6044-4ACD-A9EA-82FD4499E1D4}"/>
          </ac:spMkLst>
        </pc:spChg>
        <pc:spChg chg="add mod">
          <ac:chgData name="Arjan van der Meer" userId="008f28a2-684e-4523-b3ca-dcb37d9c3e5d" providerId="ADAL" clId="{2B06979C-09FA-4ACE-9D1B-5392C9D6EE8C}" dt="2021-10-28T09:08:07.513" v="1463" actId="1038"/>
          <ac:spMkLst>
            <pc:docMk/>
            <pc:sldMk cId="1427060495" sldId="1131"/>
            <ac:spMk id="48" creationId="{22201F23-6F2E-4CB5-A1C4-346383E9781B}"/>
          </ac:spMkLst>
        </pc:spChg>
        <pc:spChg chg="add mod">
          <ac:chgData name="Arjan van der Meer" userId="008f28a2-684e-4523-b3ca-dcb37d9c3e5d" providerId="ADAL" clId="{2B06979C-09FA-4ACE-9D1B-5392C9D6EE8C}" dt="2021-10-28T09:08:07.513" v="1463" actId="1038"/>
          <ac:spMkLst>
            <pc:docMk/>
            <pc:sldMk cId="1427060495" sldId="1131"/>
            <ac:spMk id="51" creationId="{4B6049C7-82AA-42CF-BF80-FA79D9DAEBC6}"/>
          </ac:spMkLst>
        </pc:spChg>
        <pc:spChg chg="add mod">
          <ac:chgData name="Arjan van der Meer" userId="008f28a2-684e-4523-b3ca-dcb37d9c3e5d" providerId="ADAL" clId="{2B06979C-09FA-4ACE-9D1B-5392C9D6EE8C}" dt="2021-10-28T09:08:07.513" v="1463" actId="1038"/>
          <ac:spMkLst>
            <pc:docMk/>
            <pc:sldMk cId="1427060495" sldId="1131"/>
            <ac:spMk id="52" creationId="{73BBA3FF-AE2E-4BFE-9A85-22A323F0396A}"/>
          </ac:spMkLst>
        </pc:spChg>
        <pc:spChg chg="add del mod">
          <ac:chgData name="Arjan van der Meer" userId="008f28a2-684e-4523-b3ca-dcb37d9c3e5d" providerId="ADAL" clId="{2B06979C-09FA-4ACE-9D1B-5392C9D6EE8C}" dt="2021-10-28T08:37:54.800" v="1116" actId="478"/>
          <ac:spMkLst>
            <pc:docMk/>
            <pc:sldMk cId="1427060495" sldId="1131"/>
            <ac:spMk id="54" creationId="{9A7ECA94-2012-4E11-A355-0B86ECB4B6E8}"/>
          </ac:spMkLst>
        </pc:spChg>
        <pc:spChg chg="add del mod">
          <ac:chgData name="Arjan van der Meer" userId="008f28a2-684e-4523-b3ca-dcb37d9c3e5d" providerId="ADAL" clId="{2B06979C-09FA-4ACE-9D1B-5392C9D6EE8C}" dt="2021-10-28T08:37:55.526" v="1117" actId="478"/>
          <ac:spMkLst>
            <pc:docMk/>
            <pc:sldMk cId="1427060495" sldId="1131"/>
            <ac:spMk id="55" creationId="{F9F6D3A9-9F6B-4729-BDDD-7697507D335A}"/>
          </ac:spMkLst>
        </pc:spChg>
        <pc:spChg chg="add del mod">
          <ac:chgData name="Arjan van der Meer" userId="008f28a2-684e-4523-b3ca-dcb37d9c3e5d" providerId="ADAL" clId="{2B06979C-09FA-4ACE-9D1B-5392C9D6EE8C}" dt="2021-10-28T08:37:56.230" v="1118" actId="478"/>
          <ac:spMkLst>
            <pc:docMk/>
            <pc:sldMk cId="1427060495" sldId="1131"/>
            <ac:spMk id="56" creationId="{AB1AE1B8-C68D-49F9-970A-506B2496C311}"/>
          </ac:spMkLst>
        </pc:spChg>
        <pc:spChg chg="add del mod">
          <ac:chgData name="Arjan van der Meer" userId="008f28a2-684e-4523-b3ca-dcb37d9c3e5d" providerId="ADAL" clId="{2B06979C-09FA-4ACE-9D1B-5392C9D6EE8C}" dt="2021-10-28T08:37:57.415" v="1119" actId="478"/>
          <ac:spMkLst>
            <pc:docMk/>
            <pc:sldMk cId="1427060495" sldId="1131"/>
            <ac:spMk id="58" creationId="{8AC68E77-81FA-4E26-853E-9A32827FA1A8}"/>
          </ac:spMkLst>
        </pc:spChg>
        <pc:spChg chg="add del mod">
          <ac:chgData name="Arjan van der Meer" userId="008f28a2-684e-4523-b3ca-dcb37d9c3e5d" providerId="ADAL" clId="{2B06979C-09FA-4ACE-9D1B-5392C9D6EE8C}" dt="2021-10-28T08:37:53.846" v="1115" actId="478"/>
          <ac:spMkLst>
            <pc:docMk/>
            <pc:sldMk cId="1427060495" sldId="1131"/>
            <ac:spMk id="59" creationId="{293C1102-90BF-444E-B464-1EC0621A6574}"/>
          </ac:spMkLst>
        </pc:spChg>
        <pc:spChg chg="add del mod">
          <ac:chgData name="Arjan van der Meer" userId="008f28a2-684e-4523-b3ca-dcb37d9c3e5d" providerId="ADAL" clId="{2B06979C-09FA-4ACE-9D1B-5392C9D6EE8C}" dt="2021-10-28T08:37:59.574" v="1120" actId="478"/>
          <ac:spMkLst>
            <pc:docMk/>
            <pc:sldMk cId="1427060495" sldId="1131"/>
            <ac:spMk id="60" creationId="{3A7054C1-1B8E-4232-9FCD-D8B026207B45}"/>
          </ac:spMkLst>
        </pc:spChg>
        <pc:spChg chg="add del mod">
          <ac:chgData name="Arjan van der Meer" userId="008f28a2-684e-4523-b3ca-dcb37d9c3e5d" providerId="ADAL" clId="{2B06979C-09FA-4ACE-9D1B-5392C9D6EE8C}" dt="2021-10-28T08:38:01.103" v="1121" actId="478"/>
          <ac:spMkLst>
            <pc:docMk/>
            <pc:sldMk cId="1427060495" sldId="1131"/>
            <ac:spMk id="61" creationId="{B029E5AB-0F65-4CC4-9E93-F3CD6468B172}"/>
          </ac:spMkLst>
        </pc:spChg>
        <pc:spChg chg="add del mod">
          <ac:chgData name="Arjan van der Meer" userId="008f28a2-684e-4523-b3ca-dcb37d9c3e5d" providerId="ADAL" clId="{2B06979C-09FA-4ACE-9D1B-5392C9D6EE8C}" dt="2021-10-28T08:37:51.060" v="1113" actId="478"/>
          <ac:spMkLst>
            <pc:docMk/>
            <pc:sldMk cId="1427060495" sldId="1131"/>
            <ac:spMk id="62" creationId="{CADEA0E5-B37E-484A-9421-B4A4020A1448}"/>
          </ac:spMkLst>
        </pc:spChg>
        <pc:spChg chg="add del mod">
          <ac:chgData name="Arjan van der Meer" userId="008f28a2-684e-4523-b3ca-dcb37d9c3e5d" providerId="ADAL" clId="{2B06979C-09FA-4ACE-9D1B-5392C9D6EE8C}" dt="2021-10-28T08:38:02.951" v="1122" actId="478"/>
          <ac:spMkLst>
            <pc:docMk/>
            <pc:sldMk cId="1427060495" sldId="1131"/>
            <ac:spMk id="63" creationId="{F3F03537-859B-400A-93EB-9092BB13DBD9}"/>
          </ac:spMkLst>
        </pc:spChg>
        <pc:spChg chg="add del mod">
          <ac:chgData name="Arjan van der Meer" userId="008f28a2-684e-4523-b3ca-dcb37d9c3e5d" providerId="ADAL" clId="{2B06979C-09FA-4ACE-9D1B-5392C9D6EE8C}" dt="2021-10-28T08:38:04.787" v="1123" actId="478"/>
          <ac:spMkLst>
            <pc:docMk/>
            <pc:sldMk cId="1427060495" sldId="1131"/>
            <ac:spMk id="64" creationId="{D5EFDDD1-4176-44F7-AAE7-ACFCBC8D09E3}"/>
          </ac:spMkLst>
        </pc:spChg>
        <pc:spChg chg="add mod">
          <ac:chgData name="Arjan van der Meer" userId="008f28a2-684e-4523-b3ca-dcb37d9c3e5d" providerId="ADAL" clId="{2B06979C-09FA-4ACE-9D1B-5392C9D6EE8C}" dt="2021-10-28T09:08:07.513" v="1463" actId="1038"/>
          <ac:spMkLst>
            <pc:docMk/>
            <pc:sldMk cId="1427060495" sldId="1131"/>
            <ac:spMk id="69" creationId="{201BC61E-97AA-4D42-AF4D-975BC2BB1F72}"/>
          </ac:spMkLst>
        </pc:spChg>
        <pc:spChg chg="add mod">
          <ac:chgData name="Arjan van der Meer" userId="008f28a2-684e-4523-b3ca-dcb37d9c3e5d" providerId="ADAL" clId="{2B06979C-09FA-4ACE-9D1B-5392C9D6EE8C}" dt="2021-10-28T09:08:07.513" v="1463" actId="1038"/>
          <ac:spMkLst>
            <pc:docMk/>
            <pc:sldMk cId="1427060495" sldId="1131"/>
            <ac:spMk id="70" creationId="{515C1C0B-657F-4F9E-AB96-4300E5D2ECEB}"/>
          </ac:spMkLst>
        </pc:spChg>
        <pc:spChg chg="add mod">
          <ac:chgData name="Arjan van der Meer" userId="008f28a2-684e-4523-b3ca-dcb37d9c3e5d" providerId="ADAL" clId="{2B06979C-09FA-4ACE-9D1B-5392C9D6EE8C}" dt="2021-10-28T09:08:07.513" v="1463" actId="1038"/>
          <ac:spMkLst>
            <pc:docMk/>
            <pc:sldMk cId="1427060495" sldId="1131"/>
            <ac:spMk id="72" creationId="{F12E277E-99DA-4122-9432-6794C26CA632}"/>
          </ac:spMkLst>
        </pc:spChg>
        <pc:spChg chg="add mod">
          <ac:chgData name="Arjan van der Meer" userId="008f28a2-684e-4523-b3ca-dcb37d9c3e5d" providerId="ADAL" clId="{2B06979C-09FA-4ACE-9D1B-5392C9D6EE8C}" dt="2021-10-28T09:08:07.513" v="1463" actId="1038"/>
          <ac:spMkLst>
            <pc:docMk/>
            <pc:sldMk cId="1427060495" sldId="1131"/>
            <ac:spMk id="73" creationId="{B21B4C7E-DD0F-4B3C-9DEA-BA4920A2E303}"/>
          </ac:spMkLst>
        </pc:spChg>
        <pc:cxnChg chg="add del mod">
          <ac:chgData name="Arjan van der Meer" userId="008f28a2-684e-4523-b3ca-dcb37d9c3e5d" providerId="ADAL" clId="{2B06979C-09FA-4ACE-9D1B-5392C9D6EE8C}" dt="2021-10-28T08:37:26.532" v="1110" actId="478"/>
          <ac:cxnSpMkLst>
            <pc:docMk/>
            <pc:sldMk cId="1427060495" sldId="1131"/>
            <ac:cxnSpMk id="14" creationId="{FCF48B3C-D561-47C1-ACB2-CCC119FC8E48}"/>
          </ac:cxnSpMkLst>
        </pc:cxnChg>
        <pc:cxnChg chg="add del mod">
          <ac:chgData name="Arjan van der Meer" userId="008f28a2-684e-4523-b3ca-dcb37d9c3e5d" providerId="ADAL" clId="{2B06979C-09FA-4ACE-9D1B-5392C9D6EE8C}" dt="2021-10-28T08:37:26.532" v="1110" actId="478"/>
          <ac:cxnSpMkLst>
            <pc:docMk/>
            <pc:sldMk cId="1427060495" sldId="1131"/>
            <ac:cxnSpMk id="15" creationId="{47B1C57F-F693-4AC1-BC5C-1814E8D9DE30}"/>
          </ac:cxnSpMkLst>
        </pc:cxnChg>
        <pc:cxnChg chg="add del mod">
          <ac:chgData name="Arjan van der Meer" userId="008f28a2-684e-4523-b3ca-dcb37d9c3e5d" providerId="ADAL" clId="{2B06979C-09FA-4ACE-9D1B-5392C9D6EE8C}" dt="2021-10-28T08:37:26.532" v="1110" actId="478"/>
          <ac:cxnSpMkLst>
            <pc:docMk/>
            <pc:sldMk cId="1427060495" sldId="1131"/>
            <ac:cxnSpMk id="16" creationId="{91F8101E-5376-4ACC-B667-FBBBF6D77C1F}"/>
          </ac:cxnSpMkLst>
        </pc:cxnChg>
        <pc:cxnChg chg="add del mod">
          <ac:chgData name="Arjan van der Meer" userId="008f28a2-684e-4523-b3ca-dcb37d9c3e5d" providerId="ADAL" clId="{2B06979C-09FA-4ACE-9D1B-5392C9D6EE8C}" dt="2021-10-28T08:37:26.532" v="1110" actId="478"/>
          <ac:cxnSpMkLst>
            <pc:docMk/>
            <pc:sldMk cId="1427060495" sldId="1131"/>
            <ac:cxnSpMk id="21" creationId="{F6585506-AFD1-45B5-8267-2D1D4C909CEE}"/>
          </ac:cxnSpMkLst>
        </pc:cxnChg>
        <pc:cxnChg chg="add del mod">
          <ac:chgData name="Arjan van der Meer" userId="008f28a2-684e-4523-b3ca-dcb37d9c3e5d" providerId="ADAL" clId="{2B06979C-09FA-4ACE-9D1B-5392C9D6EE8C}" dt="2021-10-28T08:37:26.532" v="1110" actId="478"/>
          <ac:cxnSpMkLst>
            <pc:docMk/>
            <pc:sldMk cId="1427060495" sldId="1131"/>
            <ac:cxnSpMk id="23" creationId="{45AEC1FC-9868-4D54-B029-1D3CC9E7283D}"/>
          </ac:cxnSpMkLst>
        </pc:cxnChg>
        <pc:cxnChg chg="add del mod">
          <ac:chgData name="Arjan van der Meer" userId="008f28a2-684e-4523-b3ca-dcb37d9c3e5d" providerId="ADAL" clId="{2B06979C-09FA-4ACE-9D1B-5392C9D6EE8C}" dt="2021-10-28T08:37:26.532" v="1110" actId="478"/>
          <ac:cxnSpMkLst>
            <pc:docMk/>
            <pc:sldMk cId="1427060495" sldId="1131"/>
            <ac:cxnSpMk id="27" creationId="{48DF2650-63E9-46AE-AC7C-8E3832E7B411}"/>
          </ac:cxnSpMkLst>
        </pc:cxnChg>
        <pc:cxnChg chg="add del mod">
          <ac:chgData name="Arjan van der Meer" userId="008f28a2-684e-4523-b3ca-dcb37d9c3e5d" providerId="ADAL" clId="{2B06979C-09FA-4ACE-9D1B-5392C9D6EE8C}" dt="2021-10-28T08:37:26.532" v="1110" actId="478"/>
          <ac:cxnSpMkLst>
            <pc:docMk/>
            <pc:sldMk cId="1427060495" sldId="1131"/>
            <ac:cxnSpMk id="30" creationId="{09D7E51D-A385-4871-8345-1BE9DFC0A403}"/>
          </ac:cxnSpMkLst>
        </pc:cxnChg>
        <pc:cxnChg chg="add del mod">
          <ac:chgData name="Arjan van der Meer" userId="008f28a2-684e-4523-b3ca-dcb37d9c3e5d" providerId="ADAL" clId="{2B06979C-09FA-4ACE-9D1B-5392C9D6EE8C}" dt="2021-10-28T08:37:26.532" v="1110" actId="478"/>
          <ac:cxnSpMkLst>
            <pc:docMk/>
            <pc:sldMk cId="1427060495" sldId="1131"/>
            <ac:cxnSpMk id="33" creationId="{282766A8-97AB-4828-93A9-624CACB6FB79}"/>
          </ac:cxnSpMkLst>
        </pc:cxnChg>
        <pc:cxnChg chg="add del mod">
          <ac:chgData name="Arjan van der Meer" userId="008f28a2-684e-4523-b3ca-dcb37d9c3e5d" providerId="ADAL" clId="{2B06979C-09FA-4ACE-9D1B-5392C9D6EE8C}" dt="2021-10-28T08:37:26.532" v="1110" actId="478"/>
          <ac:cxnSpMkLst>
            <pc:docMk/>
            <pc:sldMk cId="1427060495" sldId="1131"/>
            <ac:cxnSpMk id="34" creationId="{7A910D3F-2A58-4450-A2DD-671D81273BB1}"/>
          </ac:cxnSpMkLst>
        </pc:cxnChg>
        <pc:cxnChg chg="add mod">
          <ac:chgData name="Arjan van der Meer" userId="008f28a2-684e-4523-b3ca-dcb37d9c3e5d" providerId="ADAL" clId="{2B06979C-09FA-4ACE-9D1B-5392C9D6EE8C}" dt="2021-10-28T09:08:07.513" v="1463" actId="1038"/>
          <ac:cxnSpMkLst>
            <pc:docMk/>
            <pc:sldMk cId="1427060495" sldId="1131"/>
            <ac:cxnSpMk id="45" creationId="{2416E472-A02E-4E68-8570-140B6A59F24C}"/>
          </ac:cxnSpMkLst>
        </pc:cxnChg>
        <pc:cxnChg chg="add mod">
          <ac:chgData name="Arjan van der Meer" userId="008f28a2-684e-4523-b3ca-dcb37d9c3e5d" providerId="ADAL" clId="{2B06979C-09FA-4ACE-9D1B-5392C9D6EE8C}" dt="2021-10-28T09:08:07.513" v="1463" actId="1038"/>
          <ac:cxnSpMkLst>
            <pc:docMk/>
            <pc:sldMk cId="1427060495" sldId="1131"/>
            <ac:cxnSpMk id="46" creationId="{A933A11A-AD83-4BCC-AB31-B53C9D875085}"/>
          </ac:cxnSpMkLst>
        </pc:cxnChg>
        <pc:cxnChg chg="add mod">
          <ac:chgData name="Arjan van der Meer" userId="008f28a2-684e-4523-b3ca-dcb37d9c3e5d" providerId="ADAL" clId="{2B06979C-09FA-4ACE-9D1B-5392C9D6EE8C}" dt="2021-10-28T09:08:07.513" v="1463" actId="1038"/>
          <ac:cxnSpMkLst>
            <pc:docMk/>
            <pc:sldMk cId="1427060495" sldId="1131"/>
            <ac:cxnSpMk id="47" creationId="{E2680C48-651B-4100-89FC-163340B23753}"/>
          </ac:cxnSpMkLst>
        </pc:cxnChg>
        <pc:cxnChg chg="add mod">
          <ac:chgData name="Arjan van der Meer" userId="008f28a2-684e-4523-b3ca-dcb37d9c3e5d" providerId="ADAL" clId="{2B06979C-09FA-4ACE-9D1B-5392C9D6EE8C}" dt="2021-10-28T09:08:07.513" v="1463" actId="1038"/>
          <ac:cxnSpMkLst>
            <pc:docMk/>
            <pc:sldMk cId="1427060495" sldId="1131"/>
            <ac:cxnSpMk id="49" creationId="{CE9F1B6D-FACA-469D-85A2-CFA82BC203E0}"/>
          </ac:cxnSpMkLst>
        </pc:cxnChg>
        <pc:cxnChg chg="add mod">
          <ac:chgData name="Arjan van der Meer" userId="008f28a2-684e-4523-b3ca-dcb37d9c3e5d" providerId="ADAL" clId="{2B06979C-09FA-4ACE-9D1B-5392C9D6EE8C}" dt="2021-10-28T09:08:07.513" v="1463" actId="1038"/>
          <ac:cxnSpMkLst>
            <pc:docMk/>
            <pc:sldMk cId="1427060495" sldId="1131"/>
            <ac:cxnSpMk id="50" creationId="{25A39B9B-1AD3-485D-A4B5-7FADAF7DF79E}"/>
          </ac:cxnSpMkLst>
        </pc:cxnChg>
        <pc:cxnChg chg="add mod">
          <ac:chgData name="Arjan van der Meer" userId="008f28a2-684e-4523-b3ca-dcb37d9c3e5d" providerId="ADAL" clId="{2B06979C-09FA-4ACE-9D1B-5392C9D6EE8C}" dt="2021-10-28T09:08:07.513" v="1463" actId="1038"/>
          <ac:cxnSpMkLst>
            <pc:docMk/>
            <pc:sldMk cId="1427060495" sldId="1131"/>
            <ac:cxnSpMk id="53" creationId="{630ED970-7CAE-4CC8-9567-445BC52E2E32}"/>
          </ac:cxnSpMkLst>
        </pc:cxnChg>
        <pc:cxnChg chg="add del mod">
          <ac:chgData name="Arjan van der Meer" userId="008f28a2-684e-4523-b3ca-dcb37d9c3e5d" providerId="ADAL" clId="{2B06979C-09FA-4ACE-9D1B-5392C9D6EE8C}" dt="2021-10-28T08:37:52.567" v="1114" actId="478"/>
          <ac:cxnSpMkLst>
            <pc:docMk/>
            <pc:sldMk cId="1427060495" sldId="1131"/>
            <ac:cxnSpMk id="57" creationId="{F9CC499A-15B6-4846-927A-E26EA6CB5844}"/>
          </ac:cxnSpMkLst>
        </pc:cxnChg>
      </pc:sldChg>
      <pc:sldChg chg="addSp modSp">
        <pc:chgData name="Arjan van der Meer" userId="008f28a2-684e-4523-b3ca-dcb37d9c3e5d" providerId="ADAL" clId="{2B06979C-09FA-4ACE-9D1B-5392C9D6EE8C}" dt="2021-10-29T08:24:17.859" v="1550"/>
        <pc:sldMkLst>
          <pc:docMk/>
          <pc:sldMk cId="3651997170" sldId="1132"/>
        </pc:sldMkLst>
        <pc:spChg chg="add mod">
          <ac:chgData name="Arjan van der Meer" userId="008f28a2-684e-4523-b3ca-dcb37d9c3e5d" providerId="ADAL" clId="{2B06979C-09FA-4ACE-9D1B-5392C9D6EE8C}" dt="2021-10-29T08:24:17.859" v="1550"/>
          <ac:spMkLst>
            <pc:docMk/>
            <pc:sldMk cId="3651997170" sldId="1132"/>
            <ac:spMk id="48" creationId="{75F4A9C0-8FB5-4ABF-A5A3-D37BA08F4E68}"/>
          </ac:spMkLst>
        </pc:spChg>
      </pc:sldChg>
      <pc:sldChg chg="modSp mod">
        <pc:chgData name="Arjan van der Meer" userId="008f28a2-684e-4523-b3ca-dcb37d9c3e5d" providerId="ADAL" clId="{2B06979C-09FA-4ACE-9D1B-5392C9D6EE8C}" dt="2021-10-29T09:27:53.207" v="1551" actId="14100"/>
        <pc:sldMkLst>
          <pc:docMk/>
          <pc:sldMk cId="1878737571" sldId="1133"/>
        </pc:sldMkLst>
        <pc:cxnChg chg="mod">
          <ac:chgData name="Arjan van der Meer" userId="008f28a2-684e-4523-b3ca-dcb37d9c3e5d" providerId="ADAL" clId="{2B06979C-09FA-4ACE-9D1B-5392C9D6EE8C}" dt="2021-10-29T09:27:53.207" v="1551" actId="14100"/>
          <ac:cxnSpMkLst>
            <pc:docMk/>
            <pc:sldMk cId="1878737571" sldId="1133"/>
            <ac:cxnSpMk id="67" creationId="{F5210CCF-B772-41E3-A209-6E984B97DC9E}"/>
          </ac:cxnSpMkLst>
        </pc:cxnChg>
      </pc:sldChg>
      <pc:sldChg chg="modSp mod">
        <pc:chgData name="Arjan van der Meer" userId="008f28a2-684e-4523-b3ca-dcb37d9c3e5d" providerId="ADAL" clId="{2B06979C-09FA-4ACE-9D1B-5392C9D6EE8C}" dt="2021-10-29T09:29:29.400" v="1569" actId="692"/>
        <pc:sldMkLst>
          <pc:docMk/>
          <pc:sldMk cId="4271800236" sldId="1134"/>
        </pc:sldMkLst>
        <pc:spChg chg="mod">
          <ac:chgData name="Arjan van der Meer" userId="008f28a2-684e-4523-b3ca-dcb37d9c3e5d" providerId="ADAL" clId="{2B06979C-09FA-4ACE-9D1B-5392C9D6EE8C}" dt="2021-10-29T09:28:38.725" v="1560" actId="692"/>
          <ac:spMkLst>
            <pc:docMk/>
            <pc:sldMk cId="4271800236" sldId="1134"/>
            <ac:spMk id="78" creationId="{8C64E7AF-6159-41C2-986F-F6A1EBCF5068}"/>
          </ac:spMkLst>
        </pc:spChg>
        <pc:spChg chg="mod">
          <ac:chgData name="Arjan van der Meer" userId="008f28a2-684e-4523-b3ca-dcb37d9c3e5d" providerId="ADAL" clId="{2B06979C-09FA-4ACE-9D1B-5392C9D6EE8C}" dt="2021-10-29T09:29:29.400" v="1569" actId="692"/>
          <ac:spMkLst>
            <pc:docMk/>
            <pc:sldMk cId="4271800236" sldId="1134"/>
            <ac:spMk id="79" creationId="{6B4A8220-9083-4DF5-9BF2-86374D5B1B72}"/>
          </ac:spMkLst>
        </pc:spChg>
        <pc:spChg chg="mod">
          <ac:chgData name="Arjan van der Meer" userId="008f28a2-684e-4523-b3ca-dcb37d9c3e5d" providerId="ADAL" clId="{2B06979C-09FA-4ACE-9D1B-5392C9D6EE8C}" dt="2021-10-29T09:29:29.400" v="1569" actId="692"/>
          <ac:spMkLst>
            <pc:docMk/>
            <pc:sldMk cId="4271800236" sldId="1134"/>
            <ac:spMk id="86" creationId="{7BC44EA8-1B6A-4CF3-95EB-E7223F95AF96}"/>
          </ac:spMkLst>
        </pc:spChg>
        <pc:cxnChg chg="mod">
          <ac:chgData name="Arjan van der Meer" userId="008f28a2-684e-4523-b3ca-dcb37d9c3e5d" providerId="ADAL" clId="{2B06979C-09FA-4ACE-9D1B-5392C9D6EE8C}" dt="2021-10-29T09:29:06.213" v="1561" actId="692"/>
          <ac:cxnSpMkLst>
            <pc:docMk/>
            <pc:sldMk cId="4271800236" sldId="1134"/>
            <ac:cxnSpMk id="67" creationId="{F5210CCF-B772-41E3-A209-6E984B97DC9E}"/>
          </ac:cxnSpMkLst>
        </pc:cxnChg>
        <pc:cxnChg chg="mod">
          <ac:chgData name="Arjan van der Meer" userId="008f28a2-684e-4523-b3ca-dcb37d9c3e5d" providerId="ADAL" clId="{2B06979C-09FA-4ACE-9D1B-5392C9D6EE8C}" dt="2021-10-29T09:29:06.213" v="1561" actId="692"/>
          <ac:cxnSpMkLst>
            <pc:docMk/>
            <pc:sldMk cId="4271800236" sldId="1134"/>
            <ac:cxnSpMk id="70" creationId="{93190507-9112-4D2E-A29A-6D0EE224EAEF}"/>
          </ac:cxnSpMkLst>
        </pc:cxnChg>
        <pc:cxnChg chg="mod">
          <ac:chgData name="Arjan van der Meer" userId="008f28a2-684e-4523-b3ca-dcb37d9c3e5d" providerId="ADAL" clId="{2B06979C-09FA-4ACE-9D1B-5392C9D6EE8C}" dt="2021-10-29T09:29:06.213" v="1561" actId="692"/>
          <ac:cxnSpMkLst>
            <pc:docMk/>
            <pc:sldMk cId="4271800236" sldId="1134"/>
            <ac:cxnSpMk id="81" creationId="{3C905AF5-794B-4A9B-9C6C-A5BDFCFA55A1}"/>
          </ac:cxnSpMkLst>
        </pc:cxnChg>
      </pc:sldChg>
    </pc:docChg>
  </pc:docChgLst>
  <pc:docChgLst>
    <pc:chgData name="Wytse Oortwijn" userId="6365480a-dc8d-4ff6-9ac3-d587988518bc" providerId="ADAL" clId="{CB77ECFD-CE57-48F2-8760-0A88FF145497}"/>
    <pc:docChg chg="custSel modSld">
      <pc:chgData name="Wytse Oortwijn" userId="6365480a-dc8d-4ff6-9ac3-d587988518bc" providerId="ADAL" clId="{CB77ECFD-CE57-48F2-8760-0A88FF145497}" dt="2021-10-28T08:30:48.825" v="15" actId="1592"/>
      <pc:docMkLst>
        <pc:docMk/>
      </pc:docMkLst>
      <pc:sldChg chg="addSp delSp modSp mod delAnim modAnim delCm">
        <pc:chgData name="Wytse Oortwijn" userId="6365480a-dc8d-4ff6-9ac3-d587988518bc" providerId="ADAL" clId="{CB77ECFD-CE57-48F2-8760-0A88FF145497}" dt="2021-10-28T08:30:48.825" v="15" actId="1592"/>
        <pc:sldMkLst>
          <pc:docMk/>
          <pc:sldMk cId="847182652" sldId="1119"/>
        </pc:sldMkLst>
        <pc:picChg chg="add mod">
          <ac:chgData name="Wytse Oortwijn" userId="6365480a-dc8d-4ff6-9ac3-d587988518bc" providerId="ADAL" clId="{CB77ECFD-CE57-48F2-8760-0A88FF145497}" dt="2021-10-28T08:30:07.274" v="11" actId="1076"/>
          <ac:picMkLst>
            <pc:docMk/>
            <pc:sldMk cId="847182652" sldId="1119"/>
            <ac:picMk id="7" creationId="{CCB29E04-8A49-48F3-AB43-BE3543D99374}"/>
          </ac:picMkLst>
        </pc:picChg>
        <pc:picChg chg="del mod">
          <ac:chgData name="Wytse Oortwijn" userId="6365480a-dc8d-4ff6-9ac3-d587988518bc" providerId="ADAL" clId="{CB77ECFD-CE57-48F2-8760-0A88FF145497}" dt="2021-10-28T08:29:53.899" v="10" actId="478"/>
          <ac:picMkLst>
            <pc:docMk/>
            <pc:sldMk cId="847182652" sldId="1119"/>
            <ac:picMk id="26" creationId="{F85CDBC9-170B-46B4-8C44-B2C613D07801}"/>
          </ac:picMkLst>
        </pc:picChg>
      </pc:sldChg>
      <pc:sldChg chg="addCm modCm">
        <pc:chgData name="Wytse Oortwijn" userId="6365480a-dc8d-4ff6-9ac3-d587988518bc" providerId="ADAL" clId="{CB77ECFD-CE57-48F2-8760-0A88FF145497}" dt="2021-10-27T08:14:11.521" v="2" actId="1589"/>
        <pc:sldMkLst>
          <pc:docMk/>
          <pc:sldMk cId="1288789255" sldId="1128"/>
        </pc:sldMkLst>
      </pc:sldChg>
    </pc:docChg>
  </pc:docChgLst>
  <pc:docChgLst>
    <pc:chgData name="Dennis Hendriks - DHFS" userId="ceacf04f-0b47-4d6f-9d04-eca8f76fbd3c" providerId="ADAL" clId="{2C30AD2E-1055-46DE-B5EA-11DA8BD19707}"/>
    <pc:docChg chg="undo custSel modSld">
      <pc:chgData name="Dennis Hendriks - DHFS" userId="ceacf04f-0b47-4d6f-9d04-eca8f76fbd3c" providerId="ADAL" clId="{2C30AD2E-1055-46DE-B5EA-11DA8BD19707}" dt="2021-11-24T08:42:13.882" v="721" actId="20577"/>
      <pc:docMkLst>
        <pc:docMk/>
      </pc:docMkLst>
      <pc:sldChg chg="modSp mod addCm delCm modCm">
        <pc:chgData name="Dennis Hendriks - DHFS" userId="ceacf04f-0b47-4d6f-9d04-eca8f76fbd3c" providerId="ADAL" clId="{2C30AD2E-1055-46DE-B5EA-11DA8BD19707}" dt="2021-11-22T14:18:59.263" v="472" actId="20577"/>
        <pc:sldMkLst>
          <pc:docMk/>
          <pc:sldMk cId="3412387887" sldId="1049"/>
        </pc:sldMkLst>
        <pc:graphicFrameChg chg="mod modGraphic">
          <ac:chgData name="Dennis Hendriks - DHFS" userId="ceacf04f-0b47-4d6f-9d04-eca8f76fbd3c" providerId="ADAL" clId="{2C30AD2E-1055-46DE-B5EA-11DA8BD19707}" dt="2021-11-22T14:18:59.263" v="472" actId="20577"/>
          <ac:graphicFrameMkLst>
            <pc:docMk/>
            <pc:sldMk cId="3412387887" sldId="1049"/>
            <ac:graphicFrameMk id="6" creationId="{31FFF2B5-C7AA-48B3-AD89-DE3D50093E75}"/>
          </ac:graphicFrameMkLst>
        </pc:graphicFrameChg>
      </pc:sldChg>
      <pc:sldChg chg="modSp mod">
        <pc:chgData name="Dennis Hendriks - DHFS" userId="ceacf04f-0b47-4d6f-9d04-eca8f76fbd3c" providerId="ADAL" clId="{2C30AD2E-1055-46DE-B5EA-11DA8BD19707}" dt="2021-11-24T08:40:26.492" v="720" actId="14100"/>
        <pc:sldMkLst>
          <pc:docMk/>
          <pc:sldMk cId="110981679" sldId="1073"/>
        </pc:sldMkLst>
        <pc:spChg chg="mod">
          <ac:chgData name="Dennis Hendriks - DHFS" userId="ceacf04f-0b47-4d6f-9d04-eca8f76fbd3c" providerId="ADAL" clId="{2C30AD2E-1055-46DE-B5EA-11DA8BD19707}" dt="2021-11-24T08:40:24.491" v="719" actId="14100"/>
          <ac:spMkLst>
            <pc:docMk/>
            <pc:sldMk cId="110981679" sldId="1073"/>
            <ac:spMk id="13" creationId="{D0CE3D98-5280-401C-92AE-DD60C4419F28}"/>
          </ac:spMkLst>
        </pc:spChg>
        <pc:spChg chg="mod">
          <ac:chgData name="Dennis Hendriks - DHFS" userId="ceacf04f-0b47-4d6f-9d04-eca8f76fbd3c" providerId="ADAL" clId="{2C30AD2E-1055-46DE-B5EA-11DA8BD19707}" dt="2021-11-24T08:40:26.492" v="720" actId="14100"/>
          <ac:spMkLst>
            <pc:docMk/>
            <pc:sldMk cId="110981679" sldId="1073"/>
            <ac:spMk id="14" creationId="{8B8D3686-9556-4AFA-9D20-A35EF964C325}"/>
          </ac:spMkLst>
        </pc:spChg>
      </pc:sldChg>
      <pc:sldChg chg="modSp mod">
        <pc:chgData name="Dennis Hendriks - DHFS" userId="ceacf04f-0b47-4d6f-9d04-eca8f76fbd3c" providerId="ADAL" clId="{2C30AD2E-1055-46DE-B5EA-11DA8BD19707}" dt="2021-11-24T08:42:13.882" v="721" actId="20577"/>
        <pc:sldMkLst>
          <pc:docMk/>
          <pc:sldMk cId="1055155453" sldId="1120"/>
        </pc:sldMkLst>
        <pc:spChg chg="mod">
          <ac:chgData name="Dennis Hendriks - DHFS" userId="ceacf04f-0b47-4d6f-9d04-eca8f76fbd3c" providerId="ADAL" clId="{2C30AD2E-1055-46DE-B5EA-11DA8BD19707}" dt="2021-11-22T14:13:48.294" v="390" actId="6549"/>
          <ac:spMkLst>
            <pc:docMk/>
            <pc:sldMk cId="1055155453" sldId="1120"/>
            <ac:spMk id="2" creationId="{98DB2964-9011-4EA0-8978-F0026B25A861}"/>
          </ac:spMkLst>
        </pc:spChg>
        <pc:spChg chg="mod">
          <ac:chgData name="Dennis Hendriks - DHFS" userId="ceacf04f-0b47-4d6f-9d04-eca8f76fbd3c" providerId="ADAL" clId="{2C30AD2E-1055-46DE-B5EA-11DA8BD19707}" dt="2021-11-22T14:08:58.079" v="327" actId="1038"/>
          <ac:spMkLst>
            <pc:docMk/>
            <pc:sldMk cId="1055155453" sldId="1120"/>
            <ac:spMk id="6" creationId="{992D9D5E-02A9-4672-B519-7AB45C47BF42}"/>
          </ac:spMkLst>
        </pc:spChg>
        <pc:spChg chg="mod">
          <ac:chgData name="Dennis Hendriks - DHFS" userId="ceacf04f-0b47-4d6f-9d04-eca8f76fbd3c" providerId="ADAL" clId="{2C30AD2E-1055-46DE-B5EA-11DA8BD19707}" dt="2021-11-22T14:09:22.658" v="332" actId="1036"/>
          <ac:spMkLst>
            <pc:docMk/>
            <pc:sldMk cId="1055155453" sldId="1120"/>
            <ac:spMk id="8" creationId="{85216E26-B62E-4B3E-BD0F-E008B61649A0}"/>
          </ac:spMkLst>
        </pc:spChg>
        <pc:spChg chg="mod">
          <ac:chgData name="Dennis Hendriks - DHFS" userId="ceacf04f-0b47-4d6f-9d04-eca8f76fbd3c" providerId="ADAL" clId="{2C30AD2E-1055-46DE-B5EA-11DA8BD19707}" dt="2021-11-22T14:09:29.330" v="334" actId="1076"/>
          <ac:spMkLst>
            <pc:docMk/>
            <pc:sldMk cId="1055155453" sldId="1120"/>
            <ac:spMk id="13" creationId="{6807718D-B399-40FC-9D9C-AA37FD5D59C6}"/>
          </ac:spMkLst>
        </pc:spChg>
        <pc:spChg chg="mod">
          <ac:chgData name="Dennis Hendriks - DHFS" userId="ceacf04f-0b47-4d6f-9d04-eca8f76fbd3c" providerId="ADAL" clId="{2C30AD2E-1055-46DE-B5EA-11DA8BD19707}" dt="2021-11-22T14:08:46.822" v="326" actId="1038"/>
          <ac:spMkLst>
            <pc:docMk/>
            <pc:sldMk cId="1055155453" sldId="1120"/>
            <ac:spMk id="18" creationId="{DC5505D8-2267-490D-A482-4BD69B50A3CF}"/>
          </ac:spMkLst>
        </pc:spChg>
        <pc:spChg chg="mod">
          <ac:chgData name="Dennis Hendriks - DHFS" userId="ceacf04f-0b47-4d6f-9d04-eca8f76fbd3c" providerId="ADAL" clId="{2C30AD2E-1055-46DE-B5EA-11DA8BD19707}" dt="2021-11-22T14:09:22.658" v="332" actId="1036"/>
          <ac:spMkLst>
            <pc:docMk/>
            <pc:sldMk cId="1055155453" sldId="1120"/>
            <ac:spMk id="19" creationId="{EE15FB14-61AC-4A63-800F-3E8018F0CE57}"/>
          </ac:spMkLst>
        </pc:spChg>
        <pc:spChg chg="mod">
          <ac:chgData name="Dennis Hendriks - DHFS" userId="ceacf04f-0b47-4d6f-9d04-eca8f76fbd3c" providerId="ADAL" clId="{2C30AD2E-1055-46DE-B5EA-11DA8BD19707}" dt="2021-11-24T08:42:13.882" v="721" actId="20577"/>
          <ac:spMkLst>
            <pc:docMk/>
            <pc:sldMk cId="1055155453" sldId="1120"/>
            <ac:spMk id="26" creationId="{D03F9378-959A-4705-B5B2-2E8E3BCDE570}"/>
          </ac:spMkLst>
        </pc:spChg>
        <pc:spChg chg="mod">
          <ac:chgData name="Dennis Hendriks - DHFS" userId="ceacf04f-0b47-4d6f-9d04-eca8f76fbd3c" providerId="ADAL" clId="{2C30AD2E-1055-46DE-B5EA-11DA8BD19707}" dt="2021-11-22T14:04:42.503" v="275" actId="14100"/>
          <ac:spMkLst>
            <pc:docMk/>
            <pc:sldMk cId="1055155453" sldId="1120"/>
            <ac:spMk id="32" creationId="{D7AECBFA-0ACA-4D90-8088-0902696AE2D4}"/>
          </ac:spMkLst>
        </pc:spChg>
        <pc:picChg chg="mod">
          <ac:chgData name="Dennis Hendriks - DHFS" userId="ceacf04f-0b47-4d6f-9d04-eca8f76fbd3c" providerId="ADAL" clId="{2C30AD2E-1055-46DE-B5EA-11DA8BD19707}" dt="2021-11-22T14:08:58.079" v="327" actId="1038"/>
          <ac:picMkLst>
            <pc:docMk/>
            <pc:sldMk cId="1055155453" sldId="1120"/>
            <ac:picMk id="38" creationId="{35849676-6DA6-43D9-939A-1C8413FF712F}"/>
          </ac:picMkLst>
        </pc:picChg>
        <pc:picChg chg="mod">
          <ac:chgData name="Dennis Hendriks - DHFS" userId="ceacf04f-0b47-4d6f-9d04-eca8f76fbd3c" providerId="ADAL" clId="{2C30AD2E-1055-46DE-B5EA-11DA8BD19707}" dt="2021-11-22T14:08:58.079" v="327" actId="1038"/>
          <ac:picMkLst>
            <pc:docMk/>
            <pc:sldMk cId="1055155453" sldId="1120"/>
            <ac:picMk id="39" creationId="{DD03D6D8-7062-4A15-AC06-0EB9C37A6115}"/>
          </ac:picMkLst>
        </pc:picChg>
        <pc:cxnChg chg="mod">
          <ac:chgData name="Dennis Hendriks - DHFS" userId="ceacf04f-0b47-4d6f-9d04-eca8f76fbd3c" providerId="ADAL" clId="{2C30AD2E-1055-46DE-B5EA-11DA8BD19707}" dt="2021-11-22T14:08:58.079" v="327" actId="1038"/>
          <ac:cxnSpMkLst>
            <pc:docMk/>
            <pc:sldMk cId="1055155453" sldId="1120"/>
            <ac:cxnSpMk id="35" creationId="{D0DE0056-E535-4D34-A686-45C57F2CC8A2}"/>
          </ac:cxnSpMkLst>
        </pc:cxnChg>
      </pc:sldChg>
      <pc:sldChg chg="modSp mod addCm delCm modCm">
        <pc:chgData name="Dennis Hendriks - DHFS" userId="ceacf04f-0b47-4d6f-9d04-eca8f76fbd3c" providerId="ADAL" clId="{2C30AD2E-1055-46DE-B5EA-11DA8BD19707}" dt="2021-11-22T14:19:19.742" v="473" actId="1592"/>
        <pc:sldMkLst>
          <pc:docMk/>
          <pc:sldMk cId="2347803364" sldId="1121"/>
        </pc:sldMkLst>
        <pc:spChg chg="mod">
          <ac:chgData name="Dennis Hendriks - DHFS" userId="ceacf04f-0b47-4d6f-9d04-eca8f76fbd3c" providerId="ADAL" clId="{2C30AD2E-1055-46DE-B5EA-11DA8BD19707}" dt="2021-11-22T14:14:30.710" v="414" actId="27636"/>
          <ac:spMkLst>
            <pc:docMk/>
            <pc:sldMk cId="2347803364" sldId="1121"/>
            <ac:spMk id="2" creationId="{98DB2964-9011-4EA0-8978-F0026B25A861}"/>
          </ac:spMkLst>
        </pc:spChg>
        <pc:spChg chg="mod">
          <ac:chgData name="Dennis Hendriks - DHFS" userId="ceacf04f-0b47-4d6f-9d04-eca8f76fbd3c" providerId="ADAL" clId="{2C30AD2E-1055-46DE-B5EA-11DA8BD19707}" dt="2021-11-22T14:04:56.998" v="278" actId="14100"/>
          <ac:spMkLst>
            <pc:docMk/>
            <pc:sldMk cId="2347803364" sldId="1121"/>
            <ac:spMk id="14" creationId="{C08673CD-C1FF-4482-ABF1-F545C702AF67}"/>
          </ac:spMkLst>
        </pc:spChg>
        <pc:spChg chg="mod">
          <ac:chgData name="Dennis Hendriks - DHFS" userId="ceacf04f-0b47-4d6f-9d04-eca8f76fbd3c" providerId="ADAL" clId="{2C30AD2E-1055-46DE-B5EA-11DA8BD19707}" dt="2021-11-22T14:04:56.998" v="278" actId="14100"/>
          <ac:spMkLst>
            <pc:docMk/>
            <pc:sldMk cId="2347803364" sldId="1121"/>
            <ac:spMk id="15" creationId="{02508AE0-D964-4FA0-864E-7006CF8E5627}"/>
          </ac:spMkLst>
        </pc:spChg>
      </pc:sldChg>
      <pc:sldChg chg="addSp delSp modSp mod delCm">
        <pc:chgData name="Dennis Hendriks - DHFS" userId="ceacf04f-0b47-4d6f-9d04-eca8f76fbd3c" providerId="ADAL" clId="{2C30AD2E-1055-46DE-B5EA-11DA8BD19707}" dt="2021-11-22T14:47:05.862" v="697" actId="20577"/>
        <pc:sldMkLst>
          <pc:docMk/>
          <pc:sldMk cId="2430569674" sldId="1126"/>
        </pc:sldMkLst>
        <pc:spChg chg="mod topLvl">
          <ac:chgData name="Dennis Hendriks - DHFS" userId="ceacf04f-0b47-4d6f-9d04-eca8f76fbd3c" providerId="ADAL" clId="{2C30AD2E-1055-46DE-B5EA-11DA8BD19707}" dt="2021-11-22T14:41:34.867" v="606" actId="165"/>
          <ac:spMkLst>
            <pc:docMk/>
            <pc:sldMk cId="2430569674" sldId="1126"/>
            <ac:spMk id="8" creationId="{D7802C7C-22A0-4C3A-B058-0BC1EDC8A1E6}"/>
          </ac:spMkLst>
        </pc:spChg>
        <pc:spChg chg="mod topLvl">
          <ac:chgData name="Dennis Hendriks - DHFS" userId="ceacf04f-0b47-4d6f-9d04-eca8f76fbd3c" providerId="ADAL" clId="{2C30AD2E-1055-46DE-B5EA-11DA8BD19707}" dt="2021-11-22T14:41:34.867" v="606" actId="165"/>
          <ac:spMkLst>
            <pc:docMk/>
            <pc:sldMk cId="2430569674" sldId="1126"/>
            <ac:spMk id="10" creationId="{7A7B5374-6F9B-4FD9-A3F3-51F5E2AEDFDE}"/>
          </ac:spMkLst>
        </pc:spChg>
        <pc:spChg chg="del mod topLvl">
          <ac:chgData name="Dennis Hendriks - DHFS" userId="ceacf04f-0b47-4d6f-9d04-eca8f76fbd3c" providerId="ADAL" clId="{2C30AD2E-1055-46DE-B5EA-11DA8BD19707}" dt="2021-11-22T14:41:36.714" v="607" actId="478"/>
          <ac:spMkLst>
            <pc:docMk/>
            <pc:sldMk cId="2430569674" sldId="1126"/>
            <ac:spMk id="12" creationId="{39408B2C-6955-407D-930C-78AC056BA1C9}"/>
          </ac:spMkLst>
        </pc:spChg>
        <pc:spChg chg="mod topLvl">
          <ac:chgData name="Dennis Hendriks - DHFS" userId="ceacf04f-0b47-4d6f-9d04-eca8f76fbd3c" providerId="ADAL" clId="{2C30AD2E-1055-46DE-B5EA-11DA8BD19707}" dt="2021-11-22T14:45:46.821" v="678" actId="14100"/>
          <ac:spMkLst>
            <pc:docMk/>
            <pc:sldMk cId="2430569674" sldId="1126"/>
            <ac:spMk id="14" creationId="{CA21E030-C505-4F31-923E-CD26E4AED6CE}"/>
          </ac:spMkLst>
        </pc:spChg>
        <pc:spChg chg="mod">
          <ac:chgData name="Dennis Hendriks - DHFS" userId="ceacf04f-0b47-4d6f-9d04-eca8f76fbd3c" providerId="ADAL" clId="{2C30AD2E-1055-46DE-B5EA-11DA8BD19707}" dt="2021-11-22T14:47:05.862" v="697" actId="20577"/>
          <ac:spMkLst>
            <pc:docMk/>
            <pc:sldMk cId="2430569674" sldId="1126"/>
            <ac:spMk id="15" creationId="{9A8919B3-EF75-4B40-A736-965F4D33B3B9}"/>
          </ac:spMkLst>
        </pc:spChg>
        <pc:spChg chg="mod topLvl">
          <ac:chgData name="Dennis Hendriks - DHFS" userId="ceacf04f-0b47-4d6f-9d04-eca8f76fbd3c" providerId="ADAL" clId="{2C30AD2E-1055-46DE-B5EA-11DA8BD19707}" dt="2021-11-22T14:43:51.946" v="616" actId="1076"/>
          <ac:spMkLst>
            <pc:docMk/>
            <pc:sldMk cId="2430569674" sldId="1126"/>
            <ac:spMk id="16" creationId="{963B4784-A855-45D9-82C4-C9DDA1A7BE44}"/>
          </ac:spMkLst>
        </pc:spChg>
        <pc:grpChg chg="del mod">
          <ac:chgData name="Dennis Hendriks - DHFS" userId="ceacf04f-0b47-4d6f-9d04-eca8f76fbd3c" providerId="ADAL" clId="{2C30AD2E-1055-46DE-B5EA-11DA8BD19707}" dt="2021-11-22T14:41:34.867" v="606" actId="165"/>
          <ac:grpSpMkLst>
            <pc:docMk/>
            <pc:sldMk cId="2430569674" sldId="1126"/>
            <ac:grpSpMk id="19" creationId="{AAC019F9-4A9E-4C31-9A94-44F7B53FC951}"/>
          </ac:grpSpMkLst>
        </pc:grpChg>
        <pc:picChg chg="add mod">
          <ac:chgData name="Dennis Hendriks - DHFS" userId="ceacf04f-0b47-4d6f-9d04-eca8f76fbd3c" providerId="ADAL" clId="{2C30AD2E-1055-46DE-B5EA-11DA8BD19707}" dt="2021-11-22T14:46:01.788" v="681" actId="14100"/>
          <ac:picMkLst>
            <pc:docMk/>
            <pc:sldMk cId="2430569674" sldId="1126"/>
            <ac:picMk id="6" creationId="{2DDBF213-FBCA-462A-8CB6-3DACFFE1D785}"/>
          </ac:picMkLst>
        </pc:picChg>
      </pc:sldChg>
      <pc:sldChg chg="modSp mod">
        <pc:chgData name="Dennis Hendriks - DHFS" userId="ceacf04f-0b47-4d6f-9d04-eca8f76fbd3c" providerId="ADAL" clId="{2C30AD2E-1055-46DE-B5EA-11DA8BD19707}" dt="2021-11-22T14:22:59.198" v="559" actId="255"/>
        <pc:sldMkLst>
          <pc:docMk/>
          <pc:sldMk cId="2164021417" sldId="2090650017"/>
        </pc:sldMkLst>
        <pc:spChg chg="mod">
          <ac:chgData name="Dennis Hendriks - DHFS" userId="ceacf04f-0b47-4d6f-9d04-eca8f76fbd3c" providerId="ADAL" clId="{2C30AD2E-1055-46DE-B5EA-11DA8BD19707}" dt="2021-11-22T14:18:53.370" v="466" actId="20577"/>
          <ac:spMkLst>
            <pc:docMk/>
            <pc:sldMk cId="2164021417" sldId="2090650017"/>
            <ac:spMk id="2" creationId="{D4375F11-FB1D-472D-BD02-BEEA44AF3518}"/>
          </ac:spMkLst>
        </pc:spChg>
        <pc:graphicFrameChg chg="modGraphic">
          <ac:chgData name="Dennis Hendriks - DHFS" userId="ceacf04f-0b47-4d6f-9d04-eca8f76fbd3c" providerId="ADAL" clId="{2C30AD2E-1055-46DE-B5EA-11DA8BD19707}" dt="2021-11-22T14:22:59.198" v="559" actId="255"/>
          <ac:graphicFrameMkLst>
            <pc:docMk/>
            <pc:sldMk cId="2164021417" sldId="2090650017"/>
            <ac:graphicFrameMk id="17" creationId="{EF5556F1-D7B5-45E8-8A31-FB6CB1E59428}"/>
          </ac:graphicFrameMkLst>
        </pc:graphicFrameChg>
      </pc:sldChg>
      <pc:sldChg chg="addSp delSp modSp mod addCm delCm modCm">
        <pc:chgData name="Dennis Hendriks - DHFS" userId="ceacf04f-0b47-4d6f-9d04-eca8f76fbd3c" providerId="ADAL" clId="{2C30AD2E-1055-46DE-B5EA-11DA8BD19707}" dt="2021-11-22T14:31:41.541" v="572" actId="1592"/>
        <pc:sldMkLst>
          <pc:docMk/>
          <pc:sldMk cId="75605958" sldId="2090650021"/>
        </pc:sldMkLst>
        <pc:spChg chg="mod">
          <ac:chgData name="Dennis Hendriks - DHFS" userId="ceacf04f-0b47-4d6f-9d04-eca8f76fbd3c" providerId="ADAL" clId="{2C30AD2E-1055-46DE-B5EA-11DA8BD19707}" dt="2021-11-22T14:14:41.622" v="421" actId="27636"/>
          <ac:spMkLst>
            <pc:docMk/>
            <pc:sldMk cId="75605958" sldId="2090650021"/>
            <ac:spMk id="6" creationId="{DD7127CA-6FE2-49AD-83EF-7A20BF197352}"/>
          </ac:spMkLst>
        </pc:spChg>
        <pc:spChg chg="mod ord topLvl">
          <ac:chgData name="Dennis Hendriks - DHFS" userId="ceacf04f-0b47-4d6f-9d04-eca8f76fbd3c" providerId="ADAL" clId="{2C30AD2E-1055-46DE-B5EA-11DA8BD19707}" dt="2021-11-22T14:12:55.035" v="370" actId="166"/>
          <ac:spMkLst>
            <pc:docMk/>
            <pc:sldMk cId="75605958" sldId="2090650021"/>
            <ac:spMk id="17" creationId="{9EE60CE6-6D1C-433A-9A60-DCD2F41B931F}"/>
          </ac:spMkLst>
        </pc:spChg>
        <pc:spChg chg="mod ord topLvl">
          <ac:chgData name="Dennis Hendriks - DHFS" userId="ceacf04f-0b47-4d6f-9d04-eca8f76fbd3c" providerId="ADAL" clId="{2C30AD2E-1055-46DE-B5EA-11DA8BD19707}" dt="2021-11-22T14:12:55.035" v="370" actId="166"/>
          <ac:spMkLst>
            <pc:docMk/>
            <pc:sldMk cId="75605958" sldId="2090650021"/>
            <ac:spMk id="18" creationId="{87D8C4C3-E6CF-4027-A519-03F27293C3DE}"/>
          </ac:spMkLst>
        </pc:spChg>
        <pc:spChg chg="add mod ord">
          <ac:chgData name="Dennis Hendriks - DHFS" userId="ceacf04f-0b47-4d6f-9d04-eca8f76fbd3c" providerId="ADAL" clId="{2C30AD2E-1055-46DE-B5EA-11DA8BD19707}" dt="2021-11-22T14:12:55.035" v="370" actId="166"/>
          <ac:spMkLst>
            <pc:docMk/>
            <pc:sldMk cId="75605958" sldId="2090650021"/>
            <ac:spMk id="19" creationId="{D8576EE1-76E5-4B3D-8081-1E167254DA93}"/>
          </ac:spMkLst>
        </pc:spChg>
        <pc:spChg chg="del mod topLvl">
          <ac:chgData name="Dennis Hendriks - DHFS" userId="ceacf04f-0b47-4d6f-9d04-eca8f76fbd3c" providerId="ADAL" clId="{2C30AD2E-1055-46DE-B5EA-11DA8BD19707}" dt="2021-11-22T14:13:31.401" v="371" actId="478"/>
          <ac:spMkLst>
            <pc:docMk/>
            <pc:sldMk cId="75605958" sldId="2090650021"/>
            <ac:spMk id="20" creationId="{914012F4-45B0-4C37-BC98-0C0FFA662353}"/>
          </ac:spMkLst>
        </pc:spChg>
        <pc:spChg chg="del">
          <ac:chgData name="Dennis Hendriks - DHFS" userId="ceacf04f-0b47-4d6f-9d04-eca8f76fbd3c" providerId="ADAL" clId="{2C30AD2E-1055-46DE-B5EA-11DA8BD19707}" dt="2021-11-22T13:57:16.432" v="213" actId="478"/>
          <ac:spMkLst>
            <pc:docMk/>
            <pc:sldMk cId="75605958" sldId="2090650021"/>
            <ac:spMk id="22" creationId="{A23B4324-B6FB-4FEC-928C-C834AE05F813}"/>
          </ac:spMkLst>
        </pc:spChg>
        <pc:spChg chg="mod">
          <ac:chgData name="Dennis Hendriks - DHFS" userId="ceacf04f-0b47-4d6f-9d04-eca8f76fbd3c" providerId="ADAL" clId="{2C30AD2E-1055-46DE-B5EA-11DA8BD19707}" dt="2021-11-22T14:05:09.138" v="279" actId="14100"/>
          <ac:spMkLst>
            <pc:docMk/>
            <pc:sldMk cId="75605958" sldId="2090650021"/>
            <ac:spMk id="31" creationId="{96E253E5-0F41-4C10-BF23-49599698B871}"/>
          </ac:spMkLst>
        </pc:spChg>
        <pc:spChg chg="mod">
          <ac:chgData name="Dennis Hendriks - DHFS" userId="ceacf04f-0b47-4d6f-9d04-eca8f76fbd3c" providerId="ADAL" clId="{2C30AD2E-1055-46DE-B5EA-11DA8BD19707}" dt="2021-11-22T14:05:13.528" v="280" actId="14100"/>
          <ac:spMkLst>
            <pc:docMk/>
            <pc:sldMk cId="75605958" sldId="2090650021"/>
            <ac:spMk id="32" creationId="{C904A690-9F17-4B4A-B019-B59CFED5D0DF}"/>
          </ac:spMkLst>
        </pc:spChg>
        <pc:grpChg chg="del mod ord">
          <ac:chgData name="Dennis Hendriks - DHFS" userId="ceacf04f-0b47-4d6f-9d04-eca8f76fbd3c" providerId="ADAL" clId="{2C30AD2E-1055-46DE-B5EA-11DA8BD19707}" dt="2021-11-22T14:12:47.786" v="369" actId="165"/>
          <ac:grpSpMkLst>
            <pc:docMk/>
            <pc:sldMk cId="75605958" sldId="2090650021"/>
            <ac:grpSpMk id="23" creationId="{429059D7-DD0E-41F8-88B0-9DD5004B411A}"/>
          </ac:grpSpMkLst>
        </pc:grpChg>
        <pc:picChg chg="mod topLvl">
          <ac:chgData name="Dennis Hendriks - DHFS" userId="ceacf04f-0b47-4d6f-9d04-eca8f76fbd3c" providerId="ADAL" clId="{2C30AD2E-1055-46DE-B5EA-11DA8BD19707}" dt="2021-11-22T14:12:47.786" v="369" actId="165"/>
          <ac:picMkLst>
            <pc:docMk/>
            <pc:sldMk cId="75605958" sldId="2090650021"/>
            <ac:picMk id="13" creationId="{24711714-81AC-4FFF-AFEC-7FD7AD90D37F}"/>
          </ac:picMkLst>
        </pc:picChg>
        <pc:cxnChg chg="add mod">
          <ac:chgData name="Dennis Hendriks - DHFS" userId="ceacf04f-0b47-4d6f-9d04-eca8f76fbd3c" providerId="ADAL" clId="{2C30AD2E-1055-46DE-B5EA-11DA8BD19707}" dt="2021-11-22T14:12:26.892" v="366" actId="1582"/>
          <ac:cxnSpMkLst>
            <pc:docMk/>
            <pc:sldMk cId="75605958" sldId="2090650021"/>
            <ac:cxnSpMk id="7" creationId="{EEE98EAF-559C-4544-9AFA-9BC614CFC55B}"/>
          </ac:cxnSpMkLst>
        </pc:cxnChg>
        <pc:cxnChg chg="add mod">
          <ac:chgData name="Dennis Hendriks - DHFS" userId="ceacf04f-0b47-4d6f-9d04-eca8f76fbd3c" providerId="ADAL" clId="{2C30AD2E-1055-46DE-B5EA-11DA8BD19707}" dt="2021-11-22T14:12:26.892" v="366" actId="1582"/>
          <ac:cxnSpMkLst>
            <pc:docMk/>
            <pc:sldMk cId="75605958" sldId="2090650021"/>
            <ac:cxnSpMk id="24" creationId="{3D51DD81-5648-44AF-B44D-DAAD70574CFC}"/>
          </ac:cxnSpMkLst>
        </pc:cxnChg>
      </pc:sldChg>
      <pc:sldChg chg="modSp mod">
        <pc:chgData name="Dennis Hendriks - DHFS" userId="ceacf04f-0b47-4d6f-9d04-eca8f76fbd3c" providerId="ADAL" clId="{2C30AD2E-1055-46DE-B5EA-11DA8BD19707}" dt="2021-11-22T14:48:26.143" v="708" actId="6549"/>
        <pc:sldMkLst>
          <pc:docMk/>
          <pc:sldMk cId="1760794402" sldId="2090650022"/>
        </pc:sldMkLst>
        <pc:spChg chg="mod">
          <ac:chgData name="Dennis Hendriks - DHFS" userId="ceacf04f-0b47-4d6f-9d04-eca8f76fbd3c" providerId="ADAL" clId="{2C30AD2E-1055-46DE-B5EA-11DA8BD19707}" dt="2021-11-22T14:48:26.143" v="708" actId="6549"/>
          <ac:spMkLst>
            <pc:docMk/>
            <pc:sldMk cId="1760794402" sldId="2090650022"/>
            <ac:spMk id="5" creationId="{C9AF712F-855E-4770-A252-21A85C43F212}"/>
          </ac:spMkLst>
        </pc:spChg>
      </pc:sldChg>
      <pc:sldChg chg="modSp mod">
        <pc:chgData name="Dennis Hendriks - DHFS" userId="ceacf04f-0b47-4d6f-9d04-eca8f76fbd3c" providerId="ADAL" clId="{2C30AD2E-1055-46DE-B5EA-11DA8BD19707}" dt="2021-11-22T14:32:03.792" v="573" actId="6549"/>
        <pc:sldMkLst>
          <pc:docMk/>
          <pc:sldMk cId="3408490054" sldId="2090650023"/>
        </pc:sldMkLst>
        <pc:spChg chg="mod">
          <ac:chgData name="Dennis Hendriks - DHFS" userId="ceacf04f-0b47-4d6f-9d04-eca8f76fbd3c" providerId="ADAL" clId="{2C30AD2E-1055-46DE-B5EA-11DA8BD19707}" dt="2021-11-22T14:32:03.792" v="573" actId="6549"/>
          <ac:spMkLst>
            <pc:docMk/>
            <pc:sldMk cId="3408490054" sldId="2090650023"/>
            <ac:spMk id="5" creationId="{02F08419-5EE9-4CEF-A20D-F1D1305C6005}"/>
          </ac:spMkLst>
        </pc:spChg>
        <pc:spChg chg="mod">
          <ac:chgData name="Dennis Hendriks - DHFS" userId="ceacf04f-0b47-4d6f-9d04-eca8f76fbd3c" providerId="ADAL" clId="{2C30AD2E-1055-46DE-B5EA-11DA8BD19707}" dt="2021-11-22T14:19:34.387" v="498" actId="20577"/>
          <ac:spMkLst>
            <pc:docMk/>
            <pc:sldMk cId="3408490054" sldId="2090650023"/>
            <ac:spMk id="6" creationId="{8863707A-6030-4E5A-B748-0ED80C97BC1B}"/>
          </ac:spMkLst>
        </pc:spChg>
      </pc:sldChg>
    </pc:docChg>
  </pc:docChgLst>
  <pc:docChgLst>
    <pc:chgData name="Dennis Hendriks - DHFS" userId="S::dennis.hendriks-dhfs@asml.com::ceacf04f-0b47-4d6f-9d04-eca8f76fbd3c" providerId="AD" clId="Web-{191789A2-4512-5B93-7AC0-85DDB0ABED04}"/>
    <pc:docChg chg="modSld">
      <pc:chgData name="Dennis Hendriks - DHFS" userId="S::dennis.hendriks-dhfs@asml.com::ceacf04f-0b47-4d6f-9d04-eca8f76fbd3c" providerId="AD" clId="Web-{191789A2-4512-5B93-7AC0-85DDB0ABED04}" dt="2021-11-12T07:57:40.066" v="1"/>
      <pc:docMkLst>
        <pc:docMk/>
      </pc:docMkLst>
      <pc:sldChg chg="modSp">
        <pc:chgData name="Dennis Hendriks - DHFS" userId="S::dennis.hendriks-dhfs@asml.com::ceacf04f-0b47-4d6f-9d04-eca8f76fbd3c" providerId="AD" clId="Web-{191789A2-4512-5B93-7AC0-85DDB0ABED04}" dt="2021-11-12T07:57:40.066" v="1"/>
        <pc:sldMkLst>
          <pc:docMk/>
          <pc:sldMk cId="2712997306" sldId="1094"/>
        </pc:sldMkLst>
        <pc:spChg chg="mod">
          <ac:chgData name="Dennis Hendriks - DHFS" userId="S::dennis.hendriks-dhfs@asml.com::ceacf04f-0b47-4d6f-9d04-eca8f76fbd3c" providerId="AD" clId="Web-{191789A2-4512-5B93-7AC0-85DDB0ABED04}" dt="2021-11-12T07:57:40.066" v="1"/>
          <ac:spMkLst>
            <pc:docMk/>
            <pc:sldMk cId="2712997306" sldId="1094"/>
            <ac:spMk id="7" creationId="{1D399013-B78D-4A62-933D-6A5511A30BF7}"/>
          </ac:spMkLst>
        </pc:spChg>
      </pc:sldChg>
    </pc:docChg>
  </pc:docChgLst>
  <pc:docChgLst>
    <pc:chgData name="Wytse Oortwijn" userId="6365480a-dc8d-4ff6-9ac3-d587988518bc" providerId="ADAL" clId="{FD1B0E62-EAD4-4636-AEF7-E2EB5B0D426A}"/>
    <pc:docChg chg="custSel modSld">
      <pc:chgData name="Wytse Oortwijn" userId="6365480a-dc8d-4ff6-9ac3-d587988518bc" providerId="ADAL" clId="{FD1B0E62-EAD4-4636-AEF7-E2EB5B0D426A}" dt="2021-11-11T15:29:34.570" v="27"/>
      <pc:docMkLst>
        <pc:docMk/>
      </pc:docMkLst>
      <pc:sldChg chg="addCm modCm">
        <pc:chgData name="Wytse Oortwijn" userId="6365480a-dc8d-4ff6-9ac3-d587988518bc" providerId="ADAL" clId="{FD1B0E62-EAD4-4636-AEF7-E2EB5B0D426A}" dt="2021-11-11T10:22:02.601" v="11" actId="1589"/>
        <pc:sldMkLst>
          <pc:docMk/>
          <pc:sldMk cId="3438095514" sldId="1040"/>
        </pc:sldMkLst>
      </pc:sldChg>
      <pc:sldChg chg="addCm modCm">
        <pc:chgData name="Wytse Oortwijn" userId="6365480a-dc8d-4ff6-9ac3-d587988518bc" providerId="ADAL" clId="{FD1B0E62-EAD4-4636-AEF7-E2EB5B0D426A}" dt="2021-11-11T15:26:27.510" v="23" actId="1589"/>
        <pc:sldMkLst>
          <pc:docMk/>
          <pc:sldMk cId="1950092934" sldId="1064"/>
        </pc:sldMkLst>
      </pc:sldChg>
      <pc:sldChg chg="addCm modCm">
        <pc:chgData name="Wytse Oortwijn" userId="6365480a-dc8d-4ff6-9ac3-d587988518bc" providerId="ADAL" clId="{FD1B0E62-EAD4-4636-AEF7-E2EB5B0D426A}" dt="2021-11-11T10:21:03.121" v="2"/>
        <pc:sldMkLst>
          <pc:docMk/>
          <pc:sldMk cId="4138300204" sldId="1065"/>
        </pc:sldMkLst>
      </pc:sldChg>
      <pc:sldChg chg="addCm modCm">
        <pc:chgData name="Wytse Oortwijn" userId="6365480a-dc8d-4ff6-9ac3-d587988518bc" providerId="ADAL" clId="{FD1B0E62-EAD4-4636-AEF7-E2EB5B0D426A}" dt="2021-11-11T15:26:06.968" v="22" actId="1589"/>
        <pc:sldMkLst>
          <pc:docMk/>
          <pc:sldMk cId="2712997306" sldId="1094"/>
        </pc:sldMkLst>
      </pc:sldChg>
      <pc:sldChg chg="addCm modCm">
        <pc:chgData name="Wytse Oortwijn" userId="6365480a-dc8d-4ff6-9ac3-d587988518bc" providerId="ADAL" clId="{FD1B0E62-EAD4-4636-AEF7-E2EB5B0D426A}" dt="2021-11-11T15:29:15.741" v="25"/>
        <pc:sldMkLst>
          <pc:docMk/>
          <pc:sldMk cId="3651997170" sldId="1132"/>
        </pc:sldMkLst>
      </pc:sldChg>
      <pc:sldChg chg="addCm modCm">
        <pc:chgData name="Wytse Oortwijn" userId="6365480a-dc8d-4ff6-9ac3-d587988518bc" providerId="ADAL" clId="{FD1B0E62-EAD4-4636-AEF7-E2EB5B0D426A}" dt="2021-11-11T15:29:34.570" v="27"/>
        <pc:sldMkLst>
          <pc:docMk/>
          <pc:sldMk cId="1878737571" sldId="1133"/>
        </pc:sldMkLst>
      </pc:sldChg>
      <pc:sldChg chg="addCm modCm">
        <pc:chgData name="Wytse Oortwijn" userId="6365480a-dc8d-4ff6-9ac3-d587988518bc" providerId="ADAL" clId="{FD1B0E62-EAD4-4636-AEF7-E2EB5B0D426A}" dt="2021-11-11T10:24:34.017" v="13"/>
        <pc:sldMkLst>
          <pc:docMk/>
          <pc:sldMk cId="3738793062" sldId="1135"/>
        </pc:sldMkLst>
      </pc:sldChg>
      <pc:sldChg chg="modSp addCm modCm">
        <pc:chgData name="Wytse Oortwijn" userId="6365480a-dc8d-4ff6-9ac3-d587988518bc" providerId="ADAL" clId="{FD1B0E62-EAD4-4636-AEF7-E2EB5B0D426A}" dt="2021-11-11T15:25:12.034" v="21" actId="1589"/>
        <pc:sldMkLst>
          <pc:docMk/>
          <pc:sldMk cId="147180483" sldId="1138"/>
        </pc:sldMkLst>
        <pc:spChg chg="mod">
          <ac:chgData name="Wytse Oortwijn" userId="6365480a-dc8d-4ff6-9ac3-d587988518bc" providerId="ADAL" clId="{FD1B0E62-EAD4-4636-AEF7-E2EB5B0D426A}" dt="2021-11-11T10:13:07" v="0" actId="20577"/>
          <ac:spMkLst>
            <pc:docMk/>
            <pc:sldMk cId="147180483" sldId="1138"/>
            <ac:spMk id="115" creationId="{2B08D37D-CEB2-4D4C-AEE8-486F812E4C3D}"/>
          </ac:spMkLst>
        </pc:spChg>
      </pc:sldChg>
    </pc:docChg>
  </pc:docChgLst>
  <pc:docChgLst>
    <pc:chgData name="Dennis Hendriks - DHFS" userId="ceacf04f-0b47-4d6f-9d04-eca8f76fbd3c" providerId="ADAL" clId="{B674B05E-5DE6-4887-A5FB-CB54B8FBDEF9}"/>
    <pc:docChg chg="undo custSel addSld delSld modSld sldOrd modSection">
      <pc:chgData name="Dennis Hendriks - DHFS" userId="ceacf04f-0b47-4d6f-9d04-eca8f76fbd3c" providerId="ADAL" clId="{B674B05E-5DE6-4887-A5FB-CB54B8FBDEF9}" dt="2021-11-17T08:35:53.887" v="678" actId="1592"/>
      <pc:docMkLst>
        <pc:docMk/>
      </pc:docMkLst>
      <pc:sldChg chg="modSp mod">
        <pc:chgData name="Dennis Hendriks - DHFS" userId="ceacf04f-0b47-4d6f-9d04-eca8f76fbd3c" providerId="ADAL" clId="{B674B05E-5DE6-4887-A5FB-CB54B8FBDEF9}" dt="2021-11-11T15:15:27.117" v="145" actId="20577"/>
        <pc:sldMkLst>
          <pc:docMk/>
          <pc:sldMk cId="1288819339" sldId="352"/>
        </pc:sldMkLst>
        <pc:spChg chg="mod">
          <ac:chgData name="Dennis Hendriks - DHFS" userId="ceacf04f-0b47-4d6f-9d04-eca8f76fbd3c" providerId="ADAL" clId="{B674B05E-5DE6-4887-A5FB-CB54B8FBDEF9}" dt="2021-11-11T15:15:27.117" v="145" actId="20577"/>
          <ac:spMkLst>
            <pc:docMk/>
            <pc:sldMk cId="1288819339" sldId="352"/>
            <ac:spMk id="7" creationId="{62266F87-063E-414D-9DF7-F9A808854D3C}"/>
          </ac:spMkLst>
        </pc:spChg>
      </pc:sldChg>
      <pc:sldChg chg="modSp mod ord addCm delCm">
        <pc:chgData name="Dennis Hendriks - DHFS" userId="ceacf04f-0b47-4d6f-9d04-eca8f76fbd3c" providerId="ADAL" clId="{B674B05E-5DE6-4887-A5FB-CB54B8FBDEF9}" dt="2021-11-17T08:30:31.916" v="674" actId="1592"/>
        <pc:sldMkLst>
          <pc:docMk/>
          <pc:sldMk cId="3438095514" sldId="1040"/>
        </pc:sldMkLst>
        <pc:spChg chg="mod">
          <ac:chgData name="Dennis Hendriks - DHFS" userId="ceacf04f-0b47-4d6f-9d04-eca8f76fbd3c" providerId="ADAL" clId="{B674B05E-5DE6-4887-A5FB-CB54B8FBDEF9}" dt="2021-11-17T08:28:49.370" v="671" actId="20577"/>
          <ac:spMkLst>
            <pc:docMk/>
            <pc:sldMk cId="3438095514" sldId="1040"/>
            <ac:spMk id="2" creationId="{2AEBC816-FE4A-4DE3-9455-FC003C604A99}"/>
          </ac:spMkLst>
        </pc:spChg>
      </pc:sldChg>
      <pc:sldChg chg="add">
        <pc:chgData name="Dennis Hendriks - DHFS" userId="ceacf04f-0b47-4d6f-9d04-eca8f76fbd3c" providerId="ADAL" clId="{B674B05E-5DE6-4887-A5FB-CB54B8FBDEF9}" dt="2021-11-17T08:29:48.172" v="673"/>
        <pc:sldMkLst>
          <pc:docMk/>
          <pc:sldMk cId="1049956562" sldId="1041"/>
        </pc:sldMkLst>
      </pc:sldChg>
      <pc:sldChg chg="del">
        <pc:chgData name="Dennis Hendriks - DHFS" userId="ceacf04f-0b47-4d6f-9d04-eca8f76fbd3c" providerId="ADAL" clId="{B674B05E-5DE6-4887-A5FB-CB54B8FBDEF9}" dt="2021-11-17T08:29:45.723" v="672" actId="2696"/>
        <pc:sldMkLst>
          <pc:docMk/>
          <pc:sldMk cId="3312085732" sldId="1041"/>
        </pc:sldMkLst>
      </pc:sldChg>
      <pc:sldChg chg="modSp addCm delCm modCm">
        <pc:chgData name="Dennis Hendriks - DHFS" userId="ceacf04f-0b47-4d6f-9d04-eca8f76fbd3c" providerId="ADAL" clId="{B674B05E-5DE6-4887-A5FB-CB54B8FBDEF9}" dt="2021-11-17T08:35:19.942" v="675" actId="1592"/>
        <pc:sldMkLst>
          <pc:docMk/>
          <pc:sldMk cId="248328226" sldId="1051"/>
        </pc:sldMkLst>
        <pc:spChg chg="mod">
          <ac:chgData name="Dennis Hendriks - DHFS" userId="ceacf04f-0b47-4d6f-9d04-eca8f76fbd3c" providerId="ADAL" clId="{B674B05E-5DE6-4887-A5FB-CB54B8FBDEF9}" dt="2021-11-15T13:01:25.680" v="407" actId="20577"/>
          <ac:spMkLst>
            <pc:docMk/>
            <pc:sldMk cId="248328226" sldId="1051"/>
            <ac:spMk id="31" creationId="{8F75C490-68B8-4829-A63C-861F89B2B63D}"/>
          </ac:spMkLst>
        </pc:spChg>
      </pc:sldChg>
      <pc:sldChg chg="modSp mod">
        <pc:chgData name="Dennis Hendriks - DHFS" userId="ceacf04f-0b47-4d6f-9d04-eca8f76fbd3c" providerId="ADAL" clId="{B674B05E-5DE6-4887-A5FB-CB54B8FBDEF9}" dt="2021-11-15T13:01:28.771" v="408"/>
        <pc:sldMkLst>
          <pc:docMk/>
          <pc:sldMk cId="3007114066" sldId="1052"/>
        </pc:sldMkLst>
        <pc:spChg chg="mod">
          <ac:chgData name="Dennis Hendriks - DHFS" userId="ceacf04f-0b47-4d6f-9d04-eca8f76fbd3c" providerId="ADAL" clId="{B674B05E-5DE6-4887-A5FB-CB54B8FBDEF9}" dt="2021-11-15T13:00:47.224" v="393" actId="14100"/>
          <ac:spMkLst>
            <pc:docMk/>
            <pc:sldMk cId="3007114066" sldId="1052"/>
            <ac:spMk id="27" creationId="{E7310465-7395-49D1-A213-C24E2CD4C4E1}"/>
          </ac:spMkLst>
        </pc:spChg>
        <pc:spChg chg="mod">
          <ac:chgData name="Dennis Hendriks - DHFS" userId="ceacf04f-0b47-4d6f-9d04-eca8f76fbd3c" providerId="ADAL" clId="{B674B05E-5DE6-4887-A5FB-CB54B8FBDEF9}" dt="2021-11-15T13:01:00.390" v="395" actId="14100"/>
          <ac:spMkLst>
            <pc:docMk/>
            <pc:sldMk cId="3007114066" sldId="1052"/>
            <ac:spMk id="28" creationId="{64E0EED2-ACFE-4FEA-BACD-9845823E2DDB}"/>
          </ac:spMkLst>
        </pc:spChg>
        <pc:spChg chg="mod">
          <ac:chgData name="Dennis Hendriks - DHFS" userId="ceacf04f-0b47-4d6f-9d04-eca8f76fbd3c" providerId="ADAL" clId="{B674B05E-5DE6-4887-A5FB-CB54B8FBDEF9}" dt="2021-11-15T13:01:03.494" v="396" actId="14100"/>
          <ac:spMkLst>
            <pc:docMk/>
            <pc:sldMk cId="3007114066" sldId="1052"/>
            <ac:spMk id="29" creationId="{897B541F-4EF6-48C0-9925-84365FFE9561}"/>
          </ac:spMkLst>
        </pc:spChg>
        <pc:spChg chg="mod">
          <ac:chgData name="Dennis Hendriks - DHFS" userId="ceacf04f-0b47-4d6f-9d04-eca8f76fbd3c" providerId="ADAL" clId="{B674B05E-5DE6-4887-A5FB-CB54B8FBDEF9}" dt="2021-11-15T13:01:28.771" v="408"/>
          <ac:spMkLst>
            <pc:docMk/>
            <pc:sldMk cId="3007114066" sldId="1052"/>
            <ac:spMk id="30" creationId="{D73BCAC4-8C25-4280-94C5-4CDEC81431FD}"/>
          </ac:spMkLst>
        </pc:spChg>
      </pc:sldChg>
      <pc:sldChg chg="modSp mod">
        <pc:chgData name="Dennis Hendriks - DHFS" userId="ceacf04f-0b47-4d6f-9d04-eca8f76fbd3c" providerId="ADAL" clId="{B674B05E-5DE6-4887-A5FB-CB54B8FBDEF9}" dt="2021-11-17T08:17:15.655" v="430" actId="1076"/>
        <pc:sldMkLst>
          <pc:docMk/>
          <pc:sldMk cId="1183965526" sldId="1061"/>
        </pc:sldMkLst>
        <pc:picChg chg="mod">
          <ac:chgData name="Dennis Hendriks - DHFS" userId="ceacf04f-0b47-4d6f-9d04-eca8f76fbd3c" providerId="ADAL" clId="{B674B05E-5DE6-4887-A5FB-CB54B8FBDEF9}" dt="2021-11-17T08:17:15.655" v="430" actId="1076"/>
          <ac:picMkLst>
            <pc:docMk/>
            <pc:sldMk cId="1183965526" sldId="1061"/>
            <ac:picMk id="10" creationId="{5B22E482-867A-488D-A0F5-E7E5AAC33A38}"/>
          </ac:picMkLst>
        </pc:picChg>
      </pc:sldChg>
      <pc:sldChg chg="addSp delSp modSp mod addCm delCm">
        <pc:chgData name="Dennis Hendriks - DHFS" userId="ceacf04f-0b47-4d6f-9d04-eca8f76fbd3c" providerId="ADAL" clId="{B674B05E-5DE6-4887-A5FB-CB54B8FBDEF9}" dt="2021-11-15T12:58:46.051" v="379" actId="1592"/>
        <pc:sldMkLst>
          <pc:docMk/>
          <pc:sldMk cId="1950092934" sldId="1064"/>
        </pc:sldMkLst>
        <pc:spChg chg="add del mod">
          <ac:chgData name="Dennis Hendriks - DHFS" userId="ceacf04f-0b47-4d6f-9d04-eca8f76fbd3c" providerId="ADAL" clId="{B674B05E-5DE6-4887-A5FB-CB54B8FBDEF9}" dt="2021-11-11T15:19:08.081" v="232" actId="478"/>
          <ac:spMkLst>
            <pc:docMk/>
            <pc:sldMk cId="1950092934" sldId="1064"/>
            <ac:spMk id="58" creationId="{EB17FB70-0BF0-4F21-BC98-FA06D29F12CA}"/>
          </ac:spMkLst>
        </pc:spChg>
        <pc:spChg chg="add mod">
          <ac:chgData name="Dennis Hendriks - DHFS" userId="ceacf04f-0b47-4d6f-9d04-eca8f76fbd3c" providerId="ADAL" clId="{B674B05E-5DE6-4887-A5FB-CB54B8FBDEF9}" dt="2021-11-11T15:20:17.740" v="350" actId="5793"/>
          <ac:spMkLst>
            <pc:docMk/>
            <pc:sldMk cId="1950092934" sldId="1064"/>
            <ac:spMk id="59" creationId="{4C39176F-9D36-457C-B693-AB5A9AC42752}"/>
          </ac:spMkLst>
        </pc:spChg>
      </pc:sldChg>
      <pc:sldChg chg="modSp mod addCm delCm">
        <pc:chgData name="Dennis Hendriks - DHFS" userId="ceacf04f-0b47-4d6f-9d04-eca8f76fbd3c" providerId="ADAL" clId="{B674B05E-5DE6-4887-A5FB-CB54B8FBDEF9}" dt="2021-11-15T12:51:19.373" v="360" actId="20577"/>
        <pc:sldMkLst>
          <pc:docMk/>
          <pc:sldMk cId="4138300204" sldId="1065"/>
        </pc:sldMkLst>
        <pc:spChg chg="mod">
          <ac:chgData name="Dennis Hendriks - DHFS" userId="ceacf04f-0b47-4d6f-9d04-eca8f76fbd3c" providerId="ADAL" clId="{B674B05E-5DE6-4887-A5FB-CB54B8FBDEF9}" dt="2021-11-11T15:05:40.897" v="6" actId="20577"/>
          <ac:spMkLst>
            <pc:docMk/>
            <pc:sldMk cId="4138300204" sldId="1065"/>
            <ac:spMk id="2" creationId="{186E864A-1AF1-41BE-8BBC-7B6F7CCA645E}"/>
          </ac:spMkLst>
        </pc:spChg>
        <pc:spChg chg="mod">
          <ac:chgData name="Dennis Hendriks - DHFS" userId="ceacf04f-0b47-4d6f-9d04-eca8f76fbd3c" providerId="ADAL" clId="{B674B05E-5DE6-4887-A5FB-CB54B8FBDEF9}" dt="2021-11-15T12:51:19.373" v="360" actId="20577"/>
          <ac:spMkLst>
            <pc:docMk/>
            <pc:sldMk cId="4138300204" sldId="1065"/>
            <ac:spMk id="5" creationId="{BDE3B0FF-B947-4B45-82C9-28ED80494271}"/>
          </ac:spMkLst>
        </pc:spChg>
      </pc:sldChg>
      <pc:sldChg chg="addSp delSp mod addAnim delAnim modNotesTx">
        <pc:chgData name="Dennis Hendriks - DHFS" userId="ceacf04f-0b47-4d6f-9d04-eca8f76fbd3c" providerId="ADAL" clId="{B674B05E-5DE6-4887-A5FB-CB54B8FBDEF9}" dt="2021-11-15T12:51:32.376" v="367" actId="6549"/>
        <pc:sldMkLst>
          <pc:docMk/>
          <pc:sldMk cId="110981679" sldId="1073"/>
        </pc:sldMkLst>
        <pc:spChg chg="add del">
          <ac:chgData name="Dennis Hendriks - DHFS" userId="ceacf04f-0b47-4d6f-9d04-eca8f76fbd3c" providerId="ADAL" clId="{B674B05E-5DE6-4887-A5FB-CB54B8FBDEF9}" dt="2021-11-11T15:07:30.041" v="69" actId="478"/>
          <ac:spMkLst>
            <pc:docMk/>
            <pc:sldMk cId="110981679" sldId="1073"/>
            <ac:spMk id="9" creationId="{5EF1D910-1C71-412D-996B-29CBF84D9FA7}"/>
          </ac:spMkLst>
        </pc:spChg>
      </pc:sldChg>
      <pc:sldChg chg="ord addCm modCm">
        <pc:chgData name="Dennis Hendriks - DHFS" userId="ceacf04f-0b47-4d6f-9d04-eca8f76fbd3c" providerId="ADAL" clId="{B674B05E-5DE6-4887-A5FB-CB54B8FBDEF9}" dt="2021-11-15T12:52:46.244" v="371"/>
        <pc:sldMkLst>
          <pc:docMk/>
          <pc:sldMk cId="2073591893" sldId="1088"/>
        </pc:sldMkLst>
      </pc:sldChg>
      <pc:sldChg chg="addSp modSp mod addCm delCm">
        <pc:chgData name="Dennis Hendriks - DHFS" userId="ceacf04f-0b47-4d6f-9d04-eca8f76fbd3c" providerId="ADAL" clId="{B674B05E-5DE6-4887-A5FB-CB54B8FBDEF9}" dt="2021-11-15T12:58:25.991" v="378" actId="1592"/>
        <pc:sldMkLst>
          <pc:docMk/>
          <pc:sldMk cId="2712997306" sldId="1094"/>
        </pc:sldMkLst>
        <pc:spChg chg="mod">
          <ac:chgData name="Dennis Hendriks - DHFS" userId="ceacf04f-0b47-4d6f-9d04-eca8f76fbd3c" providerId="ADAL" clId="{B674B05E-5DE6-4887-A5FB-CB54B8FBDEF9}" dt="2021-11-11T15:16:42.774" v="152" actId="12"/>
          <ac:spMkLst>
            <pc:docMk/>
            <pc:sldMk cId="2712997306" sldId="1094"/>
            <ac:spMk id="6" creationId="{A7EBF8B7-7F7C-4160-8732-AA20DEF5DC4A}"/>
          </ac:spMkLst>
        </pc:spChg>
        <pc:spChg chg="add mod">
          <ac:chgData name="Dennis Hendriks - DHFS" userId="ceacf04f-0b47-4d6f-9d04-eca8f76fbd3c" providerId="ADAL" clId="{B674B05E-5DE6-4887-A5FB-CB54B8FBDEF9}" dt="2021-11-11T15:17:51.834" v="201" actId="207"/>
          <ac:spMkLst>
            <pc:docMk/>
            <pc:sldMk cId="2712997306" sldId="1094"/>
            <ac:spMk id="7" creationId="{1D399013-B78D-4A62-933D-6A5511A30BF7}"/>
          </ac:spMkLst>
        </pc:spChg>
        <pc:spChg chg="add mod">
          <ac:chgData name="Dennis Hendriks - DHFS" userId="ceacf04f-0b47-4d6f-9d04-eca8f76fbd3c" providerId="ADAL" clId="{B674B05E-5DE6-4887-A5FB-CB54B8FBDEF9}" dt="2021-11-11T15:17:17.998" v="180" actId="20577"/>
          <ac:spMkLst>
            <pc:docMk/>
            <pc:sldMk cId="2712997306" sldId="1094"/>
            <ac:spMk id="8" creationId="{C889F9CC-0B9B-4080-8D9C-5A93A161C9F0}"/>
          </ac:spMkLst>
        </pc:spChg>
        <pc:spChg chg="add mod">
          <ac:chgData name="Dennis Hendriks - DHFS" userId="ceacf04f-0b47-4d6f-9d04-eca8f76fbd3c" providerId="ADAL" clId="{B674B05E-5DE6-4887-A5FB-CB54B8FBDEF9}" dt="2021-11-11T15:17:30.677" v="199" actId="20577"/>
          <ac:spMkLst>
            <pc:docMk/>
            <pc:sldMk cId="2712997306" sldId="1094"/>
            <ac:spMk id="9" creationId="{A55125CE-88D7-4C8F-8A34-99A48D913889}"/>
          </ac:spMkLst>
        </pc:spChg>
      </pc:sldChg>
      <pc:sldChg chg="addCm delCm modCm">
        <pc:chgData name="Dennis Hendriks - DHFS" userId="ceacf04f-0b47-4d6f-9d04-eca8f76fbd3c" providerId="ADAL" clId="{B674B05E-5DE6-4887-A5FB-CB54B8FBDEF9}" dt="2021-11-17T08:35:53.887" v="678" actId="1592"/>
        <pc:sldMkLst>
          <pc:docMk/>
          <pc:sldMk cId="579590064" sldId="1107"/>
        </pc:sldMkLst>
      </pc:sldChg>
      <pc:sldChg chg="modSp mod">
        <pc:chgData name="Dennis Hendriks - DHFS" userId="ceacf04f-0b47-4d6f-9d04-eca8f76fbd3c" providerId="ADAL" clId="{B674B05E-5DE6-4887-A5FB-CB54B8FBDEF9}" dt="2021-11-15T12:51:22.747" v="366" actId="20577"/>
        <pc:sldMkLst>
          <pc:docMk/>
          <pc:sldMk cId="3687647465" sldId="1126"/>
        </pc:sldMkLst>
        <pc:spChg chg="mod">
          <ac:chgData name="Dennis Hendriks - DHFS" userId="ceacf04f-0b47-4d6f-9d04-eca8f76fbd3c" providerId="ADAL" clId="{B674B05E-5DE6-4887-A5FB-CB54B8FBDEF9}" dt="2021-11-15T12:51:22.747" v="366" actId="20577"/>
          <ac:spMkLst>
            <pc:docMk/>
            <pc:sldMk cId="3687647465" sldId="1126"/>
            <ac:spMk id="7" creationId="{53B82952-3A7E-45C4-AD52-2E6E76E8113E}"/>
          </ac:spMkLst>
        </pc:spChg>
      </pc:sldChg>
      <pc:sldChg chg="delSp mod">
        <pc:chgData name="Dennis Hendriks - DHFS" userId="ceacf04f-0b47-4d6f-9d04-eca8f76fbd3c" providerId="ADAL" clId="{B674B05E-5DE6-4887-A5FB-CB54B8FBDEF9}" dt="2021-11-11T15:14:46.468" v="91" actId="478"/>
        <pc:sldMkLst>
          <pc:docMk/>
          <pc:sldMk cId="3136399987" sldId="1129"/>
        </pc:sldMkLst>
        <pc:spChg chg="del">
          <ac:chgData name="Dennis Hendriks - DHFS" userId="ceacf04f-0b47-4d6f-9d04-eca8f76fbd3c" providerId="ADAL" clId="{B674B05E-5DE6-4887-A5FB-CB54B8FBDEF9}" dt="2021-11-11T15:14:46.468" v="91" actId="478"/>
          <ac:spMkLst>
            <pc:docMk/>
            <pc:sldMk cId="3136399987" sldId="1129"/>
            <ac:spMk id="4" creationId="{5C923ECA-8564-463A-97B2-791D303E53F0}"/>
          </ac:spMkLst>
        </pc:spChg>
      </pc:sldChg>
      <pc:sldChg chg="modSp mod addCm delCm">
        <pc:chgData name="Dennis Hendriks - DHFS" userId="ceacf04f-0b47-4d6f-9d04-eca8f76fbd3c" providerId="ADAL" clId="{B674B05E-5DE6-4887-A5FB-CB54B8FBDEF9}" dt="2021-11-17T08:35:38.642" v="677" actId="1592"/>
        <pc:sldMkLst>
          <pc:docMk/>
          <pc:sldMk cId="3651997170" sldId="1132"/>
        </pc:sldMkLst>
        <pc:spChg chg="mod">
          <ac:chgData name="Dennis Hendriks - DHFS" userId="ceacf04f-0b47-4d6f-9d04-eca8f76fbd3c" providerId="ADAL" clId="{B674B05E-5DE6-4887-A5FB-CB54B8FBDEF9}" dt="2021-11-15T12:59:08.564" v="382" actId="14100"/>
          <ac:spMkLst>
            <pc:docMk/>
            <pc:sldMk cId="3651997170" sldId="1132"/>
            <ac:spMk id="84" creationId="{E395A1B4-640B-44FC-BC85-9E207C4BB63D}"/>
          </ac:spMkLst>
        </pc:spChg>
      </pc:sldChg>
      <pc:sldChg chg="modSp mod delCm">
        <pc:chgData name="Dennis Hendriks - DHFS" userId="ceacf04f-0b47-4d6f-9d04-eca8f76fbd3c" providerId="ADAL" clId="{B674B05E-5DE6-4887-A5FB-CB54B8FBDEF9}" dt="2021-11-17T08:35:32.384" v="676" actId="1592"/>
        <pc:sldMkLst>
          <pc:docMk/>
          <pc:sldMk cId="1878737571" sldId="1133"/>
        </pc:sldMkLst>
        <pc:spChg chg="mod">
          <ac:chgData name="Dennis Hendriks - DHFS" userId="ceacf04f-0b47-4d6f-9d04-eca8f76fbd3c" providerId="ADAL" clId="{B674B05E-5DE6-4887-A5FB-CB54B8FBDEF9}" dt="2021-11-15T13:00:09.151" v="390" actId="1036"/>
          <ac:spMkLst>
            <pc:docMk/>
            <pc:sldMk cId="1878737571" sldId="1133"/>
            <ac:spMk id="83" creationId="{3512D7F1-1BC2-4C76-9971-CDF56EDCA6B0}"/>
          </ac:spMkLst>
        </pc:spChg>
      </pc:sldChg>
      <pc:sldChg chg="addSp delSp modSp mod">
        <pc:chgData name="Dennis Hendriks - DHFS" userId="ceacf04f-0b47-4d6f-9d04-eca8f76fbd3c" providerId="ADAL" clId="{B674B05E-5DE6-4887-A5FB-CB54B8FBDEF9}" dt="2021-11-15T13:00:13.392" v="392"/>
        <pc:sldMkLst>
          <pc:docMk/>
          <pc:sldMk cId="4271800236" sldId="1134"/>
        </pc:sldMkLst>
        <pc:spChg chg="add mod">
          <ac:chgData name="Dennis Hendriks - DHFS" userId="ceacf04f-0b47-4d6f-9d04-eca8f76fbd3c" providerId="ADAL" clId="{B674B05E-5DE6-4887-A5FB-CB54B8FBDEF9}" dt="2021-11-15T13:00:13.392" v="392"/>
          <ac:spMkLst>
            <pc:docMk/>
            <pc:sldMk cId="4271800236" sldId="1134"/>
            <ac:spMk id="49" creationId="{AFCEA2FD-8BBE-4ECB-8C41-5301C197A5B7}"/>
          </ac:spMkLst>
        </pc:spChg>
        <pc:spChg chg="del">
          <ac:chgData name="Dennis Hendriks - DHFS" userId="ceacf04f-0b47-4d6f-9d04-eca8f76fbd3c" providerId="ADAL" clId="{B674B05E-5DE6-4887-A5FB-CB54B8FBDEF9}" dt="2021-11-15T13:00:13.206" v="391" actId="478"/>
          <ac:spMkLst>
            <pc:docMk/>
            <pc:sldMk cId="4271800236" sldId="1134"/>
            <ac:spMk id="83" creationId="{3512D7F1-1BC2-4C76-9971-CDF56EDCA6B0}"/>
          </ac:spMkLst>
        </pc:spChg>
      </pc:sldChg>
      <pc:sldChg chg="addCm">
        <pc:chgData name="Dennis Hendriks - DHFS" userId="ceacf04f-0b47-4d6f-9d04-eca8f76fbd3c" providerId="ADAL" clId="{B674B05E-5DE6-4887-A5FB-CB54B8FBDEF9}" dt="2021-11-11T15:09:11.309" v="71" actId="1589"/>
        <pc:sldMkLst>
          <pc:docMk/>
          <pc:sldMk cId="3738793062" sldId="1135"/>
        </pc:sldMkLst>
      </pc:sldChg>
      <pc:sldChg chg="delSp modSp mod">
        <pc:chgData name="Dennis Hendriks - DHFS" userId="ceacf04f-0b47-4d6f-9d04-eca8f76fbd3c" providerId="ADAL" clId="{B674B05E-5DE6-4887-A5FB-CB54B8FBDEF9}" dt="2021-11-11T15:15:00.281" v="98" actId="478"/>
        <pc:sldMkLst>
          <pc:docMk/>
          <pc:sldMk cId="3982984944" sldId="1136"/>
        </pc:sldMkLst>
        <pc:spChg chg="del">
          <ac:chgData name="Dennis Hendriks - DHFS" userId="ceacf04f-0b47-4d6f-9d04-eca8f76fbd3c" providerId="ADAL" clId="{B674B05E-5DE6-4887-A5FB-CB54B8FBDEF9}" dt="2021-11-11T15:15:00.281" v="98" actId="478"/>
          <ac:spMkLst>
            <pc:docMk/>
            <pc:sldMk cId="3982984944" sldId="1136"/>
            <ac:spMk id="2" creationId="{5B720DED-4D29-431F-B624-85D9C647FAE0}"/>
          </ac:spMkLst>
        </pc:spChg>
        <pc:spChg chg="del">
          <ac:chgData name="Dennis Hendriks - DHFS" userId="ceacf04f-0b47-4d6f-9d04-eca8f76fbd3c" providerId="ADAL" clId="{B674B05E-5DE6-4887-A5FB-CB54B8FBDEF9}" dt="2021-11-11T15:14:59.664" v="97" actId="478"/>
          <ac:spMkLst>
            <pc:docMk/>
            <pc:sldMk cId="3982984944" sldId="1136"/>
            <ac:spMk id="3" creationId="{C933EDF8-497B-4E3F-89A2-88CA75801EEE}"/>
          </ac:spMkLst>
        </pc:spChg>
        <pc:spChg chg="del mod">
          <ac:chgData name="Dennis Hendriks - DHFS" userId="ceacf04f-0b47-4d6f-9d04-eca8f76fbd3c" providerId="ADAL" clId="{B674B05E-5DE6-4887-A5FB-CB54B8FBDEF9}" dt="2021-11-11T15:14:59.047" v="96" actId="478"/>
          <ac:spMkLst>
            <pc:docMk/>
            <pc:sldMk cId="3982984944" sldId="1136"/>
            <ac:spMk id="4" creationId="{5C1E1EDF-3706-4FD9-9A74-D86739543DDF}"/>
          </ac:spMkLst>
        </pc:spChg>
        <pc:spChg chg="mod">
          <ac:chgData name="Dennis Hendriks - DHFS" userId="ceacf04f-0b47-4d6f-9d04-eca8f76fbd3c" providerId="ADAL" clId="{B674B05E-5DE6-4887-A5FB-CB54B8FBDEF9}" dt="2021-11-11T15:14:32.809" v="90" actId="14838"/>
          <ac:spMkLst>
            <pc:docMk/>
            <pc:sldMk cId="3982984944" sldId="1136"/>
            <ac:spMk id="7" creationId="{F06FE84F-D398-4162-9970-186E96933487}"/>
          </ac:spMkLst>
        </pc:spChg>
      </pc:sldChg>
      <pc:sldChg chg="delSp modSp mod">
        <pc:chgData name="Dennis Hendriks - DHFS" userId="ceacf04f-0b47-4d6f-9d04-eca8f76fbd3c" providerId="ADAL" clId="{B674B05E-5DE6-4887-A5FB-CB54B8FBDEF9}" dt="2021-11-11T15:14:55.306" v="94" actId="478"/>
        <pc:sldMkLst>
          <pc:docMk/>
          <pc:sldMk cId="374201696" sldId="1137"/>
        </pc:sldMkLst>
        <pc:spChg chg="del">
          <ac:chgData name="Dennis Hendriks - DHFS" userId="ceacf04f-0b47-4d6f-9d04-eca8f76fbd3c" providerId="ADAL" clId="{B674B05E-5DE6-4887-A5FB-CB54B8FBDEF9}" dt="2021-11-11T15:14:55.306" v="94" actId="478"/>
          <ac:spMkLst>
            <pc:docMk/>
            <pc:sldMk cId="374201696" sldId="1137"/>
            <ac:spMk id="2" creationId="{1DF792D5-4DC1-4AF8-99F0-70885865169C}"/>
          </ac:spMkLst>
        </pc:spChg>
        <pc:spChg chg="del">
          <ac:chgData name="Dennis Hendriks - DHFS" userId="ceacf04f-0b47-4d6f-9d04-eca8f76fbd3c" providerId="ADAL" clId="{B674B05E-5DE6-4887-A5FB-CB54B8FBDEF9}" dt="2021-11-11T15:14:54.636" v="93" actId="478"/>
          <ac:spMkLst>
            <pc:docMk/>
            <pc:sldMk cId="374201696" sldId="1137"/>
            <ac:spMk id="3" creationId="{6A776CF2-F6B2-4F5C-830F-B91976A8FED6}"/>
          </ac:spMkLst>
        </pc:spChg>
        <pc:spChg chg="del">
          <ac:chgData name="Dennis Hendriks - DHFS" userId="ceacf04f-0b47-4d6f-9d04-eca8f76fbd3c" providerId="ADAL" clId="{B674B05E-5DE6-4887-A5FB-CB54B8FBDEF9}" dt="2021-11-11T15:14:53.148" v="92" actId="478"/>
          <ac:spMkLst>
            <pc:docMk/>
            <pc:sldMk cId="374201696" sldId="1137"/>
            <ac:spMk id="4" creationId="{DB1519D5-BC1C-4BDD-B765-929E4F0A92E8}"/>
          </ac:spMkLst>
        </pc:spChg>
        <pc:spChg chg="mod">
          <ac:chgData name="Dennis Hendriks - DHFS" userId="ceacf04f-0b47-4d6f-9d04-eca8f76fbd3c" providerId="ADAL" clId="{B674B05E-5DE6-4887-A5FB-CB54B8FBDEF9}" dt="2021-11-11T15:14:24.522" v="89" actId="14838"/>
          <ac:spMkLst>
            <pc:docMk/>
            <pc:sldMk cId="374201696" sldId="1137"/>
            <ac:spMk id="7" creationId="{40667537-0548-4EF1-906F-336FAEBD0F90}"/>
          </ac:spMkLst>
        </pc:spChg>
      </pc:sldChg>
      <pc:sldChg chg="modSp mod addCm modCm">
        <pc:chgData name="Dennis Hendriks - DHFS" userId="ceacf04f-0b47-4d6f-9d04-eca8f76fbd3c" providerId="ADAL" clId="{B674B05E-5DE6-4887-A5FB-CB54B8FBDEF9}" dt="2021-11-11T15:14:04.715" v="88"/>
        <pc:sldMkLst>
          <pc:docMk/>
          <pc:sldMk cId="147180483" sldId="1138"/>
        </pc:sldMkLst>
        <pc:spChg chg="mod">
          <ac:chgData name="Dennis Hendriks - DHFS" userId="ceacf04f-0b47-4d6f-9d04-eca8f76fbd3c" providerId="ADAL" clId="{B674B05E-5DE6-4887-A5FB-CB54B8FBDEF9}" dt="2021-11-11T15:09:53.641" v="75" actId="20577"/>
          <ac:spMkLst>
            <pc:docMk/>
            <pc:sldMk cId="147180483" sldId="1138"/>
            <ac:spMk id="28" creationId="{E3483678-514B-423F-A990-932DAC675BDB}"/>
          </ac:spMkLst>
        </pc:spChg>
        <pc:spChg chg="mod">
          <ac:chgData name="Dennis Hendriks - DHFS" userId="ceacf04f-0b47-4d6f-9d04-eca8f76fbd3c" providerId="ADAL" clId="{B674B05E-5DE6-4887-A5FB-CB54B8FBDEF9}" dt="2021-11-11T15:09:49.969" v="73" actId="20577"/>
          <ac:spMkLst>
            <pc:docMk/>
            <pc:sldMk cId="147180483" sldId="1138"/>
            <ac:spMk id="29" creationId="{39CB23F7-208D-4444-B789-74589DD6EB08}"/>
          </ac:spMkLst>
        </pc:spChg>
        <pc:spChg chg="mod">
          <ac:chgData name="Dennis Hendriks - DHFS" userId="ceacf04f-0b47-4d6f-9d04-eca8f76fbd3c" providerId="ADAL" clId="{B674B05E-5DE6-4887-A5FB-CB54B8FBDEF9}" dt="2021-11-11T15:09:57.519" v="79" actId="20577"/>
          <ac:spMkLst>
            <pc:docMk/>
            <pc:sldMk cId="147180483" sldId="1138"/>
            <ac:spMk id="44" creationId="{8B2ABE26-B772-4FC0-844E-760135C32886}"/>
          </ac:spMkLst>
        </pc:spChg>
        <pc:spChg chg="mod">
          <ac:chgData name="Dennis Hendriks - DHFS" userId="ceacf04f-0b47-4d6f-9d04-eca8f76fbd3c" providerId="ADAL" clId="{B674B05E-5DE6-4887-A5FB-CB54B8FBDEF9}" dt="2021-11-11T15:09:55.746" v="77" actId="20577"/>
          <ac:spMkLst>
            <pc:docMk/>
            <pc:sldMk cId="147180483" sldId="1138"/>
            <ac:spMk id="45" creationId="{F09BB88C-FD5B-4DD5-94F8-193941B11AA4}"/>
          </ac:spMkLst>
        </pc:spChg>
        <pc:spChg chg="mod">
          <ac:chgData name="Dennis Hendriks - DHFS" userId="ceacf04f-0b47-4d6f-9d04-eca8f76fbd3c" providerId="ADAL" clId="{B674B05E-5DE6-4887-A5FB-CB54B8FBDEF9}" dt="2021-11-11T15:10:33.263" v="80" actId="1076"/>
          <ac:spMkLst>
            <pc:docMk/>
            <pc:sldMk cId="147180483" sldId="1138"/>
            <ac:spMk id="52" creationId="{8E7DFBE5-DC53-4E92-930D-013F341CA29B}"/>
          </ac:spMkLst>
        </pc:spChg>
        <pc:spChg chg="mod">
          <ac:chgData name="Dennis Hendriks - DHFS" userId="ceacf04f-0b47-4d6f-9d04-eca8f76fbd3c" providerId="ADAL" clId="{B674B05E-5DE6-4887-A5FB-CB54B8FBDEF9}" dt="2021-11-11T15:10:42.278" v="82" actId="1076"/>
          <ac:spMkLst>
            <pc:docMk/>
            <pc:sldMk cId="147180483" sldId="1138"/>
            <ac:spMk id="108" creationId="{C9364FB2-EEF3-4A7B-9801-A858BFCD30A0}"/>
          </ac:spMkLst>
        </pc:spChg>
        <pc:cxnChg chg="mod">
          <ac:chgData name="Dennis Hendriks - DHFS" userId="ceacf04f-0b47-4d6f-9d04-eca8f76fbd3c" providerId="ADAL" clId="{B674B05E-5DE6-4887-A5FB-CB54B8FBDEF9}" dt="2021-11-11T15:10:45.161" v="83" actId="1076"/>
          <ac:cxnSpMkLst>
            <pc:docMk/>
            <pc:sldMk cId="147180483" sldId="1138"/>
            <ac:cxnSpMk id="106" creationId="{1E831BDD-1278-441F-908B-A13B522F9282}"/>
          </ac:cxnSpMkLst>
        </pc:cxnChg>
      </pc:sldChg>
      <pc:sldChg chg="addCm">
        <pc:chgData name="Dennis Hendriks - DHFS" userId="ceacf04f-0b47-4d6f-9d04-eca8f76fbd3c" providerId="ADAL" clId="{B674B05E-5DE6-4887-A5FB-CB54B8FBDEF9}" dt="2021-11-15T13:17:32.737" v="411" actId="1589"/>
        <pc:sldMkLst>
          <pc:docMk/>
          <pc:sldMk cId="2131368487" sldId="1139"/>
        </pc:sldMkLst>
      </pc:sldChg>
      <pc:sldChg chg="modSp mod">
        <pc:chgData name="Dennis Hendriks - DHFS" userId="ceacf04f-0b47-4d6f-9d04-eca8f76fbd3c" providerId="ADAL" clId="{B674B05E-5DE6-4887-A5FB-CB54B8FBDEF9}" dt="2021-11-17T08:21:36.830" v="601" actId="27636"/>
        <pc:sldMkLst>
          <pc:docMk/>
          <pc:sldMk cId="2116620579" sldId="1140"/>
        </pc:sldMkLst>
        <pc:spChg chg="mod">
          <ac:chgData name="Dennis Hendriks - DHFS" userId="ceacf04f-0b47-4d6f-9d04-eca8f76fbd3c" providerId="ADAL" clId="{B674B05E-5DE6-4887-A5FB-CB54B8FBDEF9}" dt="2021-11-17T08:21:36.830" v="601" actId="27636"/>
          <ac:spMkLst>
            <pc:docMk/>
            <pc:sldMk cId="2116620579" sldId="1140"/>
            <ac:spMk id="6" creationId="{97B63E9B-CD94-419C-A970-53D8F1E729DE}"/>
          </ac:spMkLst>
        </pc:spChg>
      </pc:sldChg>
      <pc:sldChg chg="addSp delSp modSp mod addAnim delAnim addCm delCm modCm">
        <pc:chgData name="Dennis Hendriks - DHFS" userId="ceacf04f-0b47-4d6f-9d04-eca8f76fbd3c" providerId="ADAL" clId="{B674B05E-5DE6-4887-A5FB-CB54B8FBDEF9}" dt="2021-11-17T08:26:14.148" v="627" actId="21"/>
        <pc:sldMkLst>
          <pc:docMk/>
          <pc:sldMk cId="4121857338" sldId="1141"/>
        </pc:sldMkLst>
        <pc:spChg chg="mod">
          <ac:chgData name="Dennis Hendriks - DHFS" userId="ceacf04f-0b47-4d6f-9d04-eca8f76fbd3c" providerId="ADAL" clId="{B674B05E-5DE6-4887-A5FB-CB54B8FBDEF9}" dt="2021-11-17T08:22:24.127" v="623" actId="20577"/>
          <ac:spMkLst>
            <pc:docMk/>
            <pc:sldMk cId="4121857338" sldId="1141"/>
            <ac:spMk id="6" creationId="{F1BF446E-72DC-4E1D-ADD8-0DBC443AF994}"/>
          </ac:spMkLst>
        </pc:spChg>
        <pc:spChg chg="add del">
          <ac:chgData name="Dennis Hendriks - DHFS" userId="ceacf04f-0b47-4d6f-9d04-eca8f76fbd3c" providerId="ADAL" clId="{B674B05E-5DE6-4887-A5FB-CB54B8FBDEF9}" dt="2021-11-17T08:14:34.866" v="425" actId="478"/>
          <ac:spMkLst>
            <pc:docMk/>
            <pc:sldMk cId="4121857338" sldId="1141"/>
            <ac:spMk id="9" creationId="{F8C71980-C7D4-44B7-B46A-B4B8F83E6682}"/>
          </ac:spMkLst>
        </pc:spChg>
        <pc:spChg chg="add del">
          <ac:chgData name="Dennis Hendriks - DHFS" userId="ceacf04f-0b47-4d6f-9d04-eca8f76fbd3c" providerId="ADAL" clId="{B674B05E-5DE6-4887-A5FB-CB54B8FBDEF9}" dt="2021-11-17T08:14:34.866" v="425" actId="478"/>
          <ac:spMkLst>
            <pc:docMk/>
            <pc:sldMk cId="4121857338" sldId="1141"/>
            <ac:spMk id="10" creationId="{BB0EC4A0-9D30-4668-8CE8-69AA690BE015}"/>
          </ac:spMkLst>
        </pc:spChg>
        <pc:spChg chg="add del">
          <ac:chgData name="Dennis Hendriks - DHFS" userId="ceacf04f-0b47-4d6f-9d04-eca8f76fbd3c" providerId="ADAL" clId="{B674B05E-5DE6-4887-A5FB-CB54B8FBDEF9}" dt="2021-11-17T08:14:34.866" v="425" actId="478"/>
          <ac:spMkLst>
            <pc:docMk/>
            <pc:sldMk cId="4121857338" sldId="1141"/>
            <ac:spMk id="11" creationId="{4C181E30-5772-48C3-BFDC-7A3E1CDA8087}"/>
          </ac:spMkLst>
        </pc:spChg>
        <pc:spChg chg="add del">
          <ac:chgData name="Dennis Hendriks - DHFS" userId="ceacf04f-0b47-4d6f-9d04-eca8f76fbd3c" providerId="ADAL" clId="{B674B05E-5DE6-4887-A5FB-CB54B8FBDEF9}" dt="2021-11-17T08:14:34.866" v="425" actId="478"/>
          <ac:spMkLst>
            <pc:docMk/>
            <pc:sldMk cId="4121857338" sldId="1141"/>
            <ac:spMk id="12" creationId="{D826DB48-4BBC-4522-B713-7BEA5AA6071D}"/>
          </ac:spMkLst>
        </pc:spChg>
        <pc:spChg chg="del">
          <ac:chgData name="Dennis Hendriks - DHFS" userId="ceacf04f-0b47-4d6f-9d04-eca8f76fbd3c" providerId="ADAL" clId="{B674B05E-5DE6-4887-A5FB-CB54B8FBDEF9}" dt="2021-11-17T08:14:49.056" v="427" actId="478"/>
          <ac:spMkLst>
            <pc:docMk/>
            <pc:sldMk cId="4121857338" sldId="1141"/>
            <ac:spMk id="13" creationId="{1E31FB26-6AFF-4435-8DD3-FF760457D251}"/>
          </ac:spMkLst>
        </pc:spChg>
        <pc:spChg chg="add del">
          <ac:chgData name="Dennis Hendriks - DHFS" userId="ceacf04f-0b47-4d6f-9d04-eca8f76fbd3c" providerId="ADAL" clId="{B674B05E-5DE6-4887-A5FB-CB54B8FBDEF9}" dt="2021-11-17T08:26:14.148" v="627" actId="21"/>
          <ac:spMkLst>
            <pc:docMk/>
            <pc:sldMk cId="4121857338" sldId="1141"/>
            <ac:spMk id="14" creationId="{C5D0FC24-EA42-4565-8E5F-AB93549E34AB}"/>
          </ac:spMkLst>
        </pc:spChg>
        <pc:spChg chg="add del">
          <ac:chgData name="Dennis Hendriks - DHFS" userId="ceacf04f-0b47-4d6f-9d04-eca8f76fbd3c" providerId="ADAL" clId="{B674B05E-5DE6-4887-A5FB-CB54B8FBDEF9}" dt="2021-11-17T08:14:38.896" v="426" actId="478"/>
          <ac:spMkLst>
            <pc:docMk/>
            <pc:sldMk cId="4121857338" sldId="1141"/>
            <ac:spMk id="15" creationId="{4B21C335-A445-42CF-8456-53343324FA9F}"/>
          </ac:spMkLst>
        </pc:spChg>
        <pc:spChg chg="add del">
          <ac:chgData name="Dennis Hendriks - DHFS" userId="ceacf04f-0b47-4d6f-9d04-eca8f76fbd3c" providerId="ADAL" clId="{B674B05E-5DE6-4887-A5FB-CB54B8FBDEF9}" dt="2021-11-17T08:14:34.866" v="425" actId="478"/>
          <ac:spMkLst>
            <pc:docMk/>
            <pc:sldMk cId="4121857338" sldId="1141"/>
            <ac:spMk id="16" creationId="{E618847C-E863-4B6E-9608-44BFD6BB455C}"/>
          </ac:spMkLst>
        </pc:spChg>
        <pc:spChg chg="del">
          <ac:chgData name="Dennis Hendriks - DHFS" userId="ceacf04f-0b47-4d6f-9d04-eca8f76fbd3c" providerId="ADAL" clId="{B674B05E-5DE6-4887-A5FB-CB54B8FBDEF9}" dt="2021-11-17T08:14:49.438" v="428" actId="478"/>
          <ac:spMkLst>
            <pc:docMk/>
            <pc:sldMk cId="4121857338" sldId="1141"/>
            <ac:spMk id="17" creationId="{3A6BD43B-F97B-421E-8F2F-AB8DE5777DCF}"/>
          </ac:spMkLst>
        </pc:spChg>
        <pc:spChg chg="add del">
          <ac:chgData name="Dennis Hendriks - DHFS" userId="ceacf04f-0b47-4d6f-9d04-eca8f76fbd3c" providerId="ADAL" clId="{B674B05E-5DE6-4887-A5FB-CB54B8FBDEF9}" dt="2021-11-17T08:14:34.866" v="425" actId="478"/>
          <ac:spMkLst>
            <pc:docMk/>
            <pc:sldMk cId="4121857338" sldId="1141"/>
            <ac:spMk id="18" creationId="{41516590-F2E2-435A-A3FB-202867592709}"/>
          </ac:spMkLst>
        </pc:spChg>
        <pc:spChg chg="add del">
          <ac:chgData name="Dennis Hendriks - DHFS" userId="ceacf04f-0b47-4d6f-9d04-eca8f76fbd3c" providerId="ADAL" clId="{B674B05E-5DE6-4887-A5FB-CB54B8FBDEF9}" dt="2021-11-17T08:14:34.866" v="425" actId="478"/>
          <ac:spMkLst>
            <pc:docMk/>
            <pc:sldMk cId="4121857338" sldId="1141"/>
            <ac:spMk id="19" creationId="{8A4BE49C-149F-4497-A889-06C2B30728A6}"/>
          </ac:spMkLst>
        </pc:spChg>
        <pc:spChg chg="add del">
          <ac:chgData name="Dennis Hendriks - DHFS" userId="ceacf04f-0b47-4d6f-9d04-eca8f76fbd3c" providerId="ADAL" clId="{B674B05E-5DE6-4887-A5FB-CB54B8FBDEF9}" dt="2021-11-17T08:14:34.866" v="425" actId="478"/>
          <ac:spMkLst>
            <pc:docMk/>
            <pc:sldMk cId="4121857338" sldId="1141"/>
            <ac:spMk id="22" creationId="{4C5A76D1-23A6-4339-A9AF-F15044D15B7B}"/>
          </ac:spMkLst>
        </pc:spChg>
      </pc:sldChg>
      <pc:sldChg chg="addSp modSp mod modAnim addCm modCm">
        <pc:chgData name="Dennis Hendriks - DHFS" userId="ceacf04f-0b47-4d6f-9d04-eca8f76fbd3c" providerId="ADAL" clId="{B674B05E-5DE6-4887-A5FB-CB54B8FBDEF9}" dt="2021-11-17T08:26:42.767" v="637"/>
        <pc:sldMkLst>
          <pc:docMk/>
          <pc:sldMk cId="484690177" sldId="1142"/>
        </pc:sldMkLst>
        <pc:spChg chg="mod">
          <ac:chgData name="Dennis Hendriks - DHFS" userId="ceacf04f-0b47-4d6f-9d04-eca8f76fbd3c" providerId="ADAL" clId="{B674B05E-5DE6-4887-A5FB-CB54B8FBDEF9}" dt="2021-11-17T08:22:45.558" v="624"/>
          <ac:spMkLst>
            <pc:docMk/>
            <pc:sldMk cId="484690177" sldId="1142"/>
            <ac:spMk id="6" creationId="{BB9C16E5-03E2-4BC0-A8DC-54BB2BF77386}"/>
          </ac:spMkLst>
        </pc:spChg>
        <pc:spChg chg="add mod">
          <ac:chgData name="Dennis Hendriks - DHFS" userId="ceacf04f-0b47-4d6f-9d04-eca8f76fbd3c" providerId="ADAL" clId="{B674B05E-5DE6-4887-A5FB-CB54B8FBDEF9}" dt="2021-11-17T08:26:34.319" v="635" actId="1035"/>
          <ac:spMkLst>
            <pc:docMk/>
            <pc:sldMk cId="484690177" sldId="1142"/>
            <ac:spMk id="7" creationId="{F4991981-0942-4BF4-8158-780289C0D825}"/>
          </ac:spMkLst>
        </pc:spChg>
      </pc:sldChg>
      <pc:sldChg chg="modSp mod">
        <pc:chgData name="Dennis Hendriks - DHFS" userId="ceacf04f-0b47-4d6f-9d04-eca8f76fbd3c" providerId="ADAL" clId="{B674B05E-5DE6-4887-A5FB-CB54B8FBDEF9}" dt="2021-11-17T08:27:27.648" v="638"/>
        <pc:sldMkLst>
          <pc:docMk/>
          <pc:sldMk cId="462935068" sldId="1143"/>
        </pc:sldMkLst>
        <pc:spChg chg="mod">
          <ac:chgData name="Dennis Hendriks - DHFS" userId="ceacf04f-0b47-4d6f-9d04-eca8f76fbd3c" providerId="ADAL" clId="{B674B05E-5DE6-4887-A5FB-CB54B8FBDEF9}" dt="2021-11-17T08:27:27.648" v="638"/>
          <ac:spMkLst>
            <pc:docMk/>
            <pc:sldMk cId="462935068" sldId="1143"/>
            <ac:spMk id="6" creationId="{143BF298-6CEB-4F26-AB7D-C92AE07AB0D5}"/>
          </ac:spMkLst>
        </pc:spChg>
      </pc:sldChg>
      <pc:sldChg chg="modSp mod addCm modCm">
        <pc:chgData name="Dennis Hendriks - DHFS" userId="ceacf04f-0b47-4d6f-9d04-eca8f76fbd3c" providerId="ADAL" clId="{B674B05E-5DE6-4887-A5FB-CB54B8FBDEF9}" dt="2021-11-17T08:21:57.118" v="602"/>
        <pc:sldMkLst>
          <pc:docMk/>
          <pc:sldMk cId="1708163982" sldId="1145"/>
        </pc:sldMkLst>
        <pc:spChg chg="mod">
          <ac:chgData name="Dennis Hendriks - DHFS" userId="ceacf04f-0b47-4d6f-9d04-eca8f76fbd3c" providerId="ADAL" clId="{B674B05E-5DE6-4887-A5FB-CB54B8FBDEF9}" dt="2021-11-17T08:21:57.118" v="602"/>
          <ac:spMkLst>
            <pc:docMk/>
            <pc:sldMk cId="1708163982" sldId="1145"/>
            <ac:spMk id="6" creationId="{96749142-9860-437C-A886-0F96DDE9820E}"/>
          </ac:spMkLst>
        </pc:spChg>
      </pc:sldChg>
      <pc:sldChg chg="modSp addCm modCm">
        <pc:chgData name="Dennis Hendriks - DHFS" userId="ceacf04f-0b47-4d6f-9d04-eca8f76fbd3c" providerId="ADAL" clId="{B674B05E-5DE6-4887-A5FB-CB54B8FBDEF9}" dt="2021-11-17T08:25:27.647" v="626"/>
        <pc:sldMkLst>
          <pc:docMk/>
          <pc:sldMk cId="1916556699" sldId="1147"/>
        </pc:sldMkLst>
        <pc:spChg chg="mod">
          <ac:chgData name="Dennis Hendriks - DHFS" userId="ceacf04f-0b47-4d6f-9d04-eca8f76fbd3c" providerId="ADAL" clId="{B674B05E-5DE6-4887-A5FB-CB54B8FBDEF9}" dt="2021-11-17T08:21:02.072" v="544" actId="20577"/>
          <ac:spMkLst>
            <pc:docMk/>
            <pc:sldMk cId="1916556699" sldId="1147"/>
            <ac:spMk id="6" creationId="{318E74E1-E4CA-4435-AD45-B3B7F9484E12}"/>
          </ac:spMkLst>
        </pc:spChg>
      </pc:sldChg>
      <pc:sldChg chg="addSp modSp add mod modAnim">
        <pc:chgData name="Dennis Hendriks - DHFS" userId="ceacf04f-0b47-4d6f-9d04-eca8f76fbd3c" providerId="ADAL" clId="{B674B05E-5DE6-4887-A5FB-CB54B8FBDEF9}" dt="2021-11-17T08:20:00.890" v="501" actId="20577"/>
        <pc:sldMkLst>
          <pc:docMk/>
          <pc:sldMk cId="1425062256" sldId="1148"/>
        </pc:sldMkLst>
        <pc:spChg chg="mod">
          <ac:chgData name="Dennis Hendriks - DHFS" userId="ceacf04f-0b47-4d6f-9d04-eca8f76fbd3c" providerId="ADAL" clId="{B674B05E-5DE6-4887-A5FB-CB54B8FBDEF9}" dt="2021-11-17T08:20:00.890" v="501" actId="20577"/>
          <ac:spMkLst>
            <pc:docMk/>
            <pc:sldMk cId="1425062256" sldId="1148"/>
            <ac:spMk id="6" creationId="{F1BF446E-72DC-4E1D-ADD8-0DBC443AF994}"/>
          </ac:spMkLst>
        </pc:spChg>
        <pc:spChg chg="add mod">
          <ac:chgData name="Dennis Hendriks - DHFS" userId="ceacf04f-0b47-4d6f-9d04-eca8f76fbd3c" providerId="ADAL" clId="{B674B05E-5DE6-4887-A5FB-CB54B8FBDEF9}" dt="2021-11-17T08:19:03.126" v="483" actId="1076"/>
          <ac:spMkLst>
            <pc:docMk/>
            <pc:sldMk cId="1425062256" sldId="1148"/>
            <ac:spMk id="10" creationId="{0A2D6D5E-2A30-48EC-84DC-93D19B894440}"/>
          </ac:spMkLst>
        </pc:spChg>
        <pc:spChg chg="mod">
          <ac:chgData name="Dennis Hendriks - DHFS" userId="ceacf04f-0b47-4d6f-9d04-eca8f76fbd3c" providerId="ADAL" clId="{B674B05E-5DE6-4887-A5FB-CB54B8FBDEF9}" dt="2021-11-17T08:18:29.197" v="475" actId="1076"/>
          <ac:spMkLst>
            <pc:docMk/>
            <pc:sldMk cId="1425062256" sldId="1148"/>
            <ac:spMk id="14" creationId="{C5D0FC24-EA42-4565-8E5F-AB93549E34AB}"/>
          </ac:spMkLst>
        </pc:spChg>
        <pc:picChg chg="mod">
          <ac:chgData name="Dennis Hendriks - DHFS" userId="ceacf04f-0b47-4d6f-9d04-eca8f76fbd3c" providerId="ADAL" clId="{B674B05E-5DE6-4887-A5FB-CB54B8FBDEF9}" dt="2021-11-17T08:18:29.197" v="475" actId="1076"/>
          <ac:picMkLst>
            <pc:docMk/>
            <pc:sldMk cId="1425062256" sldId="1148"/>
            <ac:picMk id="8" creationId="{E014E2D2-C2B8-4A93-AF35-A75528742AB2}"/>
          </ac:picMkLst>
        </pc:picChg>
        <pc:picChg chg="add mod">
          <ac:chgData name="Dennis Hendriks - DHFS" userId="ceacf04f-0b47-4d6f-9d04-eca8f76fbd3c" providerId="ADAL" clId="{B674B05E-5DE6-4887-A5FB-CB54B8FBDEF9}" dt="2021-11-17T08:18:40.613" v="479" actId="1076"/>
          <ac:picMkLst>
            <pc:docMk/>
            <pc:sldMk cId="1425062256" sldId="1148"/>
            <ac:picMk id="9" creationId="{88167900-25CD-4FEF-8C47-1605647D695B}"/>
          </ac:picMkLst>
        </pc:picChg>
      </pc:sldChg>
    </pc:docChg>
  </pc:docChgLst>
  <pc:docChgLst>
    <pc:chgData name="Arjan van der Meer" userId="008f28a2-684e-4523-b3ca-dcb37d9c3e5d" providerId="ADAL" clId="{EDCE2028-0D12-4BF9-9B5B-480A0D187AD0}"/>
    <pc:docChg chg="undo custSel addSld delSld modSld sldOrd">
      <pc:chgData name="Arjan van der Meer" userId="008f28a2-684e-4523-b3ca-dcb37d9c3e5d" providerId="ADAL" clId="{EDCE2028-0D12-4BF9-9B5B-480A0D187AD0}" dt="2021-10-26T13:37:15.209" v="2424" actId="2696"/>
      <pc:docMkLst>
        <pc:docMk/>
      </pc:docMkLst>
      <pc:sldChg chg="modNotesTx">
        <pc:chgData name="Arjan van der Meer" userId="008f28a2-684e-4523-b3ca-dcb37d9c3e5d" providerId="ADAL" clId="{EDCE2028-0D12-4BF9-9B5B-480A0D187AD0}" dt="2021-10-26T13:32:25.705" v="2413" actId="20577"/>
        <pc:sldMkLst>
          <pc:docMk/>
          <pc:sldMk cId="2771001521" sldId="1024"/>
        </pc:sldMkLst>
      </pc:sldChg>
      <pc:sldChg chg="modNotesTx">
        <pc:chgData name="Arjan van der Meer" userId="008f28a2-684e-4523-b3ca-dcb37d9c3e5d" providerId="ADAL" clId="{EDCE2028-0D12-4BF9-9B5B-480A0D187AD0}" dt="2021-10-26T09:12:07.238" v="1406" actId="20577"/>
        <pc:sldMkLst>
          <pc:docMk/>
          <pc:sldMk cId="3438095514" sldId="1040"/>
        </pc:sldMkLst>
      </pc:sldChg>
      <pc:sldChg chg="modSp mod modNotesTx">
        <pc:chgData name="Arjan van der Meer" userId="008f28a2-684e-4523-b3ca-dcb37d9c3e5d" providerId="ADAL" clId="{EDCE2028-0D12-4BF9-9B5B-480A0D187AD0}" dt="2021-10-26T08:40:14.453" v="995" actId="20577"/>
        <pc:sldMkLst>
          <pc:docMk/>
          <pc:sldMk cId="3312085732" sldId="1041"/>
        </pc:sldMkLst>
        <pc:spChg chg="mod">
          <ac:chgData name="Arjan van der Meer" userId="008f28a2-684e-4523-b3ca-dcb37d9c3e5d" providerId="ADAL" clId="{EDCE2028-0D12-4BF9-9B5B-480A0D187AD0}" dt="2021-10-26T08:40:14.453" v="995" actId="20577"/>
          <ac:spMkLst>
            <pc:docMk/>
            <pc:sldMk cId="3312085732" sldId="1041"/>
            <ac:spMk id="5" creationId="{0605AAED-6A4F-46E6-ADEA-9460F6C56118}"/>
          </ac:spMkLst>
        </pc:spChg>
      </pc:sldChg>
      <pc:sldChg chg="modSp del mod modShow modNotesTx">
        <pc:chgData name="Arjan van der Meer" userId="008f28a2-684e-4523-b3ca-dcb37d9c3e5d" providerId="ADAL" clId="{EDCE2028-0D12-4BF9-9B5B-480A0D187AD0}" dt="2021-10-26T13:34:54.976" v="2416" actId="2696"/>
        <pc:sldMkLst>
          <pc:docMk/>
          <pc:sldMk cId="374053279" sldId="1047"/>
        </pc:sldMkLst>
        <pc:spChg chg="mod">
          <ac:chgData name="Arjan van der Meer" userId="008f28a2-684e-4523-b3ca-dcb37d9c3e5d" providerId="ADAL" clId="{EDCE2028-0D12-4BF9-9B5B-480A0D187AD0}" dt="2021-10-26T08:33:07.851" v="713" actId="20577"/>
          <ac:spMkLst>
            <pc:docMk/>
            <pc:sldMk cId="374053279" sldId="1047"/>
            <ac:spMk id="2" creationId="{0A911719-F6EE-4039-A3F1-59A51A2D41B1}"/>
          </ac:spMkLst>
        </pc:spChg>
        <pc:spChg chg="mod">
          <ac:chgData name="Arjan van der Meer" userId="008f28a2-684e-4523-b3ca-dcb37d9c3e5d" providerId="ADAL" clId="{EDCE2028-0D12-4BF9-9B5B-480A0D187AD0}" dt="2021-10-26T08:12:01.278" v="519" actId="20577"/>
          <ac:spMkLst>
            <pc:docMk/>
            <pc:sldMk cId="374053279" sldId="1047"/>
            <ac:spMk id="6" creationId="{8443B594-403E-4E93-8654-0D2C30416435}"/>
          </ac:spMkLst>
        </pc:spChg>
      </pc:sldChg>
      <pc:sldChg chg="del">
        <pc:chgData name="Arjan van der Meer" userId="008f28a2-684e-4523-b3ca-dcb37d9c3e5d" providerId="ADAL" clId="{EDCE2028-0D12-4BF9-9B5B-480A0D187AD0}" dt="2021-10-26T10:59:20.386" v="2001" actId="47"/>
        <pc:sldMkLst>
          <pc:docMk/>
          <pc:sldMk cId="1616559209" sldId="1049"/>
        </pc:sldMkLst>
      </pc:sldChg>
      <pc:sldChg chg="addSp modSp mod modNotesTx">
        <pc:chgData name="Arjan van der Meer" userId="008f28a2-684e-4523-b3ca-dcb37d9c3e5d" providerId="ADAL" clId="{EDCE2028-0D12-4BF9-9B5B-480A0D187AD0}" dt="2021-10-26T13:36:36.809" v="2421" actId="20577"/>
        <pc:sldMkLst>
          <pc:docMk/>
          <pc:sldMk cId="248328226" sldId="1051"/>
        </pc:sldMkLst>
        <pc:spChg chg="mod">
          <ac:chgData name="Arjan van der Meer" userId="008f28a2-684e-4523-b3ca-dcb37d9c3e5d" providerId="ADAL" clId="{EDCE2028-0D12-4BF9-9B5B-480A0D187AD0}" dt="2021-10-26T11:32:43.985" v="2268" actId="1037"/>
          <ac:spMkLst>
            <pc:docMk/>
            <pc:sldMk cId="248328226" sldId="1051"/>
            <ac:spMk id="6" creationId="{5FCAB3F2-C9E4-4074-934B-37E7613D4ABB}"/>
          </ac:spMkLst>
        </pc:spChg>
        <pc:spChg chg="mod">
          <ac:chgData name="Arjan van der Meer" userId="008f28a2-684e-4523-b3ca-dcb37d9c3e5d" providerId="ADAL" clId="{EDCE2028-0D12-4BF9-9B5B-480A0D187AD0}" dt="2021-10-26T11:32:43.985" v="2268" actId="1037"/>
          <ac:spMkLst>
            <pc:docMk/>
            <pc:sldMk cId="248328226" sldId="1051"/>
            <ac:spMk id="7" creationId="{E5F2A22C-E0C3-4C4B-9FF3-BCBD6569068E}"/>
          </ac:spMkLst>
        </pc:spChg>
        <pc:spChg chg="mod">
          <ac:chgData name="Arjan van der Meer" userId="008f28a2-684e-4523-b3ca-dcb37d9c3e5d" providerId="ADAL" clId="{EDCE2028-0D12-4BF9-9B5B-480A0D187AD0}" dt="2021-10-26T11:32:43.985" v="2268" actId="1037"/>
          <ac:spMkLst>
            <pc:docMk/>
            <pc:sldMk cId="248328226" sldId="1051"/>
            <ac:spMk id="9" creationId="{CC94035F-7676-4273-A0DB-AB1DDC3163F5}"/>
          </ac:spMkLst>
        </pc:spChg>
        <pc:spChg chg="mod">
          <ac:chgData name="Arjan van der Meer" userId="008f28a2-684e-4523-b3ca-dcb37d9c3e5d" providerId="ADAL" clId="{EDCE2028-0D12-4BF9-9B5B-480A0D187AD0}" dt="2021-10-26T11:32:43.985" v="2268" actId="1037"/>
          <ac:spMkLst>
            <pc:docMk/>
            <pc:sldMk cId="248328226" sldId="1051"/>
            <ac:spMk id="10" creationId="{D863802D-021F-4854-A0F8-C744318C1AAD}"/>
          </ac:spMkLst>
        </pc:spChg>
        <pc:spChg chg="add mod">
          <ac:chgData name="Arjan van der Meer" userId="008f28a2-684e-4523-b3ca-dcb37d9c3e5d" providerId="ADAL" clId="{EDCE2028-0D12-4BF9-9B5B-480A0D187AD0}" dt="2021-10-26T11:33:20.526" v="2273" actId="1076"/>
          <ac:spMkLst>
            <pc:docMk/>
            <pc:sldMk cId="248328226" sldId="1051"/>
            <ac:spMk id="21" creationId="{064CC481-AA7D-47C8-B879-9FA695C8A616}"/>
          </ac:spMkLst>
        </pc:spChg>
        <pc:spChg chg="mod">
          <ac:chgData name="Arjan van der Meer" userId="008f28a2-684e-4523-b3ca-dcb37d9c3e5d" providerId="ADAL" clId="{EDCE2028-0D12-4BF9-9B5B-480A0D187AD0}" dt="2021-10-26T11:32:43.985" v="2268" actId="1037"/>
          <ac:spMkLst>
            <pc:docMk/>
            <pc:sldMk cId="248328226" sldId="1051"/>
            <ac:spMk id="26" creationId="{C79FEB23-E5C8-4370-8831-38D12F424816}"/>
          </ac:spMkLst>
        </pc:spChg>
        <pc:spChg chg="mod">
          <ac:chgData name="Arjan van der Meer" userId="008f28a2-684e-4523-b3ca-dcb37d9c3e5d" providerId="ADAL" clId="{EDCE2028-0D12-4BF9-9B5B-480A0D187AD0}" dt="2021-10-26T11:32:43.985" v="2268" actId="1037"/>
          <ac:spMkLst>
            <pc:docMk/>
            <pc:sldMk cId="248328226" sldId="1051"/>
            <ac:spMk id="27" creationId="{3CCCA85F-527F-4975-947F-48B0BFADEF1E}"/>
          </ac:spMkLst>
        </pc:spChg>
        <pc:spChg chg="mod">
          <ac:chgData name="Arjan van der Meer" userId="008f28a2-684e-4523-b3ca-dcb37d9c3e5d" providerId="ADAL" clId="{EDCE2028-0D12-4BF9-9B5B-480A0D187AD0}" dt="2021-10-26T11:32:43.985" v="2268" actId="1037"/>
          <ac:spMkLst>
            <pc:docMk/>
            <pc:sldMk cId="248328226" sldId="1051"/>
            <ac:spMk id="28" creationId="{4C485E54-BD65-4AB2-A903-DF997500B4F0}"/>
          </ac:spMkLst>
        </pc:spChg>
        <pc:spChg chg="mod">
          <ac:chgData name="Arjan van der Meer" userId="008f28a2-684e-4523-b3ca-dcb37d9c3e5d" providerId="ADAL" clId="{EDCE2028-0D12-4BF9-9B5B-480A0D187AD0}" dt="2021-10-26T11:32:43.985" v="2268" actId="1037"/>
          <ac:spMkLst>
            <pc:docMk/>
            <pc:sldMk cId="248328226" sldId="1051"/>
            <ac:spMk id="29" creationId="{73606000-4A1B-43E9-9AE3-E4F65EEB94AA}"/>
          </ac:spMkLst>
        </pc:spChg>
        <pc:spChg chg="mod">
          <ac:chgData name="Arjan van der Meer" userId="008f28a2-684e-4523-b3ca-dcb37d9c3e5d" providerId="ADAL" clId="{EDCE2028-0D12-4BF9-9B5B-480A0D187AD0}" dt="2021-10-26T11:32:43.985" v="2268" actId="1037"/>
          <ac:spMkLst>
            <pc:docMk/>
            <pc:sldMk cId="248328226" sldId="1051"/>
            <ac:spMk id="31" creationId="{8F75C490-68B8-4829-A63C-861F89B2B63D}"/>
          </ac:spMkLst>
        </pc:spChg>
        <pc:spChg chg="add mod">
          <ac:chgData name="Arjan van der Meer" userId="008f28a2-684e-4523-b3ca-dcb37d9c3e5d" providerId="ADAL" clId="{EDCE2028-0D12-4BF9-9B5B-480A0D187AD0}" dt="2021-10-26T11:34:35.895" v="2281" actId="1076"/>
          <ac:spMkLst>
            <pc:docMk/>
            <pc:sldMk cId="248328226" sldId="1051"/>
            <ac:spMk id="32" creationId="{C29A773C-527E-4A71-8AAB-A04A8E88F4D5}"/>
          </ac:spMkLst>
        </pc:spChg>
        <pc:spChg chg="add mod">
          <ac:chgData name="Arjan van der Meer" userId="008f28a2-684e-4523-b3ca-dcb37d9c3e5d" providerId="ADAL" clId="{EDCE2028-0D12-4BF9-9B5B-480A0D187AD0}" dt="2021-10-26T11:34:43.079" v="2283" actId="1076"/>
          <ac:spMkLst>
            <pc:docMk/>
            <pc:sldMk cId="248328226" sldId="1051"/>
            <ac:spMk id="33" creationId="{ADB5BE8B-3C7C-42E2-AF48-7CCF51481193}"/>
          </ac:spMkLst>
        </pc:spChg>
        <pc:spChg chg="add mod">
          <ac:chgData name="Arjan van der Meer" userId="008f28a2-684e-4523-b3ca-dcb37d9c3e5d" providerId="ADAL" clId="{EDCE2028-0D12-4BF9-9B5B-480A0D187AD0}" dt="2021-10-26T11:34:52.939" v="2285" actId="1076"/>
          <ac:spMkLst>
            <pc:docMk/>
            <pc:sldMk cId="248328226" sldId="1051"/>
            <ac:spMk id="34" creationId="{F2B94BEE-467D-4CEB-80C8-39D8D02B319D}"/>
          </ac:spMkLst>
        </pc:spChg>
        <pc:spChg chg="add mod">
          <ac:chgData name="Arjan van der Meer" userId="008f28a2-684e-4523-b3ca-dcb37d9c3e5d" providerId="ADAL" clId="{EDCE2028-0D12-4BF9-9B5B-480A0D187AD0}" dt="2021-10-26T11:35:03.922" v="2287" actId="1076"/>
          <ac:spMkLst>
            <pc:docMk/>
            <pc:sldMk cId="248328226" sldId="1051"/>
            <ac:spMk id="35" creationId="{8E52A959-4E6E-4F5E-9221-F54D32BC2D6C}"/>
          </ac:spMkLst>
        </pc:spChg>
        <pc:picChg chg="mod">
          <ac:chgData name="Arjan van der Meer" userId="008f28a2-684e-4523-b3ca-dcb37d9c3e5d" providerId="ADAL" clId="{EDCE2028-0D12-4BF9-9B5B-480A0D187AD0}" dt="2021-10-26T11:32:43.985" v="2268" actId="1037"/>
          <ac:picMkLst>
            <pc:docMk/>
            <pc:sldMk cId="248328226" sldId="1051"/>
            <ac:picMk id="8" creationId="{02425CCB-A86F-4774-826F-50653CB9646C}"/>
          </ac:picMkLst>
        </pc:picChg>
        <pc:cxnChg chg="mod">
          <ac:chgData name="Arjan van der Meer" userId="008f28a2-684e-4523-b3ca-dcb37d9c3e5d" providerId="ADAL" clId="{EDCE2028-0D12-4BF9-9B5B-480A0D187AD0}" dt="2021-10-26T11:32:52.912" v="2269" actId="1076"/>
          <ac:cxnSpMkLst>
            <pc:docMk/>
            <pc:sldMk cId="248328226" sldId="1051"/>
            <ac:cxnSpMk id="12" creationId="{43910F97-04EE-4F28-84C9-329B66D04676}"/>
          </ac:cxnSpMkLst>
        </pc:cxnChg>
        <pc:cxnChg chg="add">
          <ac:chgData name="Arjan van der Meer" userId="008f28a2-684e-4523-b3ca-dcb37d9c3e5d" providerId="ADAL" clId="{EDCE2028-0D12-4BF9-9B5B-480A0D187AD0}" dt="2021-10-26T11:33:42.082" v="2274" actId="11529"/>
          <ac:cxnSpMkLst>
            <pc:docMk/>
            <pc:sldMk cId="248328226" sldId="1051"/>
            <ac:cxnSpMk id="13" creationId="{C3F165C6-37E7-47BC-AD2E-A6DD072F59F8}"/>
          </ac:cxnSpMkLst>
        </pc:cxnChg>
        <pc:cxnChg chg="add">
          <ac:chgData name="Arjan van der Meer" userId="008f28a2-684e-4523-b3ca-dcb37d9c3e5d" providerId="ADAL" clId="{EDCE2028-0D12-4BF9-9B5B-480A0D187AD0}" dt="2021-10-26T11:33:53.223" v="2275" actId="11529"/>
          <ac:cxnSpMkLst>
            <pc:docMk/>
            <pc:sldMk cId="248328226" sldId="1051"/>
            <ac:cxnSpMk id="15" creationId="{660BC2E9-BCF3-4982-B359-2CDD4CB90C95}"/>
          </ac:cxnSpMkLst>
        </pc:cxnChg>
        <pc:cxnChg chg="mod">
          <ac:chgData name="Arjan van der Meer" userId="008f28a2-684e-4523-b3ca-dcb37d9c3e5d" providerId="ADAL" clId="{EDCE2028-0D12-4BF9-9B5B-480A0D187AD0}" dt="2021-10-26T11:32:57.675" v="2270" actId="1076"/>
          <ac:cxnSpMkLst>
            <pc:docMk/>
            <pc:sldMk cId="248328226" sldId="1051"/>
            <ac:cxnSpMk id="16" creationId="{AE3F2C2B-D2EB-4527-B01C-DC121CE8AAF1}"/>
          </ac:cxnSpMkLst>
        </pc:cxnChg>
        <pc:cxnChg chg="mod">
          <ac:chgData name="Arjan van der Meer" userId="008f28a2-684e-4523-b3ca-dcb37d9c3e5d" providerId="ADAL" clId="{EDCE2028-0D12-4BF9-9B5B-480A0D187AD0}" dt="2021-10-26T11:32:43.985" v="2268" actId="1037"/>
          <ac:cxnSpMkLst>
            <pc:docMk/>
            <pc:sldMk cId="248328226" sldId="1051"/>
            <ac:cxnSpMk id="18" creationId="{C7B9251E-FB60-4761-9894-FA6E2A5190E0}"/>
          </ac:cxnSpMkLst>
        </pc:cxnChg>
        <pc:cxnChg chg="add">
          <ac:chgData name="Arjan van der Meer" userId="008f28a2-684e-4523-b3ca-dcb37d9c3e5d" providerId="ADAL" clId="{EDCE2028-0D12-4BF9-9B5B-480A0D187AD0}" dt="2021-10-26T11:33:58.237" v="2276" actId="11529"/>
          <ac:cxnSpMkLst>
            <pc:docMk/>
            <pc:sldMk cId="248328226" sldId="1051"/>
            <ac:cxnSpMk id="19" creationId="{61F78CDF-6773-4B82-ADD4-DA5E366DD155}"/>
          </ac:cxnSpMkLst>
        </pc:cxnChg>
        <pc:cxnChg chg="mod">
          <ac:chgData name="Arjan van der Meer" userId="008f28a2-684e-4523-b3ca-dcb37d9c3e5d" providerId="ADAL" clId="{EDCE2028-0D12-4BF9-9B5B-480A0D187AD0}" dt="2021-10-26T11:32:43.985" v="2268" actId="1037"/>
          <ac:cxnSpMkLst>
            <pc:docMk/>
            <pc:sldMk cId="248328226" sldId="1051"/>
            <ac:cxnSpMk id="20" creationId="{34AC8F5A-784D-4A1D-B3B9-C1369619B704}"/>
          </ac:cxnSpMkLst>
        </pc:cxnChg>
        <pc:cxnChg chg="mod">
          <ac:chgData name="Arjan van der Meer" userId="008f28a2-684e-4523-b3ca-dcb37d9c3e5d" providerId="ADAL" clId="{EDCE2028-0D12-4BF9-9B5B-480A0D187AD0}" dt="2021-10-26T11:33:00.875" v="2271" actId="1076"/>
          <ac:cxnSpMkLst>
            <pc:docMk/>
            <pc:sldMk cId="248328226" sldId="1051"/>
            <ac:cxnSpMk id="22" creationId="{BC8A6310-1947-4C19-83A4-FD91367D1DBB}"/>
          </ac:cxnSpMkLst>
        </pc:cxnChg>
        <pc:cxnChg chg="add mod">
          <ac:chgData name="Arjan van der Meer" userId="008f28a2-684e-4523-b3ca-dcb37d9c3e5d" providerId="ADAL" clId="{EDCE2028-0D12-4BF9-9B5B-480A0D187AD0}" dt="2021-10-26T11:33:20.526" v="2273" actId="1076"/>
          <ac:cxnSpMkLst>
            <pc:docMk/>
            <pc:sldMk cId="248328226" sldId="1051"/>
            <ac:cxnSpMk id="23" creationId="{A25D5F05-C62F-4428-9B6B-27888D2BE099}"/>
          </ac:cxnSpMkLst>
        </pc:cxnChg>
        <pc:cxnChg chg="add">
          <ac:chgData name="Arjan van der Meer" userId="008f28a2-684e-4523-b3ca-dcb37d9c3e5d" providerId="ADAL" clId="{EDCE2028-0D12-4BF9-9B5B-480A0D187AD0}" dt="2021-10-26T11:34:04.515" v="2277" actId="11529"/>
          <ac:cxnSpMkLst>
            <pc:docMk/>
            <pc:sldMk cId="248328226" sldId="1051"/>
            <ac:cxnSpMk id="25" creationId="{36551DD3-35A0-4CD8-AF2E-610F2D7D712F}"/>
          </ac:cxnSpMkLst>
        </pc:cxnChg>
      </pc:sldChg>
      <pc:sldChg chg="addSp delSp modSp mod modNotesTx">
        <pc:chgData name="Arjan van der Meer" userId="008f28a2-684e-4523-b3ca-dcb37d9c3e5d" providerId="ADAL" clId="{EDCE2028-0D12-4BF9-9B5B-480A0D187AD0}" dt="2021-10-26T11:46:01.640" v="2402" actId="1076"/>
        <pc:sldMkLst>
          <pc:docMk/>
          <pc:sldMk cId="3007114066" sldId="1052"/>
        </pc:sldMkLst>
        <pc:spChg chg="mod">
          <ac:chgData name="Arjan van der Meer" userId="008f28a2-684e-4523-b3ca-dcb37d9c3e5d" providerId="ADAL" clId="{EDCE2028-0D12-4BF9-9B5B-480A0D187AD0}" dt="2021-10-26T11:37:58.856" v="2348" actId="1037"/>
          <ac:spMkLst>
            <pc:docMk/>
            <pc:sldMk cId="3007114066" sldId="1052"/>
            <ac:spMk id="7" creationId="{4F6AC07D-B213-4BBA-B563-9C462627E729}"/>
          </ac:spMkLst>
        </pc:spChg>
        <pc:spChg chg="mod">
          <ac:chgData name="Arjan van der Meer" userId="008f28a2-684e-4523-b3ca-dcb37d9c3e5d" providerId="ADAL" clId="{EDCE2028-0D12-4BF9-9B5B-480A0D187AD0}" dt="2021-10-26T11:37:58.856" v="2348" actId="1037"/>
          <ac:spMkLst>
            <pc:docMk/>
            <pc:sldMk cId="3007114066" sldId="1052"/>
            <ac:spMk id="9" creationId="{EC660CBA-5D72-4983-8514-C6F65B6515D0}"/>
          </ac:spMkLst>
        </pc:spChg>
        <pc:spChg chg="mod">
          <ac:chgData name="Arjan van der Meer" userId="008f28a2-684e-4523-b3ca-dcb37d9c3e5d" providerId="ADAL" clId="{EDCE2028-0D12-4BF9-9B5B-480A0D187AD0}" dt="2021-10-26T11:37:58.856" v="2348" actId="1037"/>
          <ac:spMkLst>
            <pc:docMk/>
            <pc:sldMk cId="3007114066" sldId="1052"/>
            <ac:spMk id="10" creationId="{22BED916-59ED-410E-8624-43CFFDEA338E}"/>
          </ac:spMkLst>
        </pc:spChg>
        <pc:spChg chg="mod">
          <ac:chgData name="Arjan van der Meer" userId="008f28a2-684e-4523-b3ca-dcb37d9c3e5d" providerId="ADAL" clId="{EDCE2028-0D12-4BF9-9B5B-480A0D187AD0}" dt="2021-10-26T11:37:58.856" v="2348" actId="1037"/>
          <ac:spMkLst>
            <pc:docMk/>
            <pc:sldMk cId="3007114066" sldId="1052"/>
            <ac:spMk id="11" creationId="{A2A1CB8C-C337-4A68-99D5-3D6C34D23F97}"/>
          </ac:spMkLst>
        </pc:spChg>
        <pc:spChg chg="add mod">
          <ac:chgData name="Arjan van der Meer" userId="008f28a2-684e-4523-b3ca-dcb37d9c3e5d" providerId="ADAL" clId="{EDCE2028-0D12-4BF9-9B5B-480A0D187AD0}" dt="2021-10-26T11:45:34.755" v="2397" actId="1076"/>
          <ac:spMkLst>
            <pc:docMk/>
            <pc:sldMk cId="3007114066" sldId="1052"/>
            <ac:spMk id="20" creationId="{83106891-6A97-4126-AF33-1F2CF6794F7A}"/>
          </ac:spMkLst>
        </pc:spChg>
        <pc:spChg chg="add mod">
          <ac:chgData name="Arjan van der Meer" userId="008f28a2-684e-4523-b3ca-dcb37d9c3e5d" providerId="ADAL" clId="{EDCE2028-0D12-4BF9-9B5B-480A0D187AD0}" dt="2021-10-26T11:44:23.975" v="2389" actId="1076"/>
          <ac:spMkLst>
            <pc:docMk/>
            <pc:sldMk cId="3007114066" sldId="1052"/>
            <ac:spMk id="26" creationId="{A606E920-4333-4B15-ADB0-6D89C44950BD}"/>
          </ac:spMkLst>
        </pc:spChg>
        <pc:spChg chg="mod">
          <ac:chgData name="Arjan van der Meer" userId="008f28a2-684e-4523-b3ca-dcb37d9c3e5d" providerId="ADAL" clId="{EDCE2028-0D12-4BF9-9B5B-480A0D187AD0}" dt="2021-10-26T11:37:58.856" v="2348" actId="1037"/>
          <ac:spMkLst>
            <pc:docMk/>
            <pc:sldMk cId="3007114066" sldId="1052"/>
            <ac:spMk id="27" creationId="{E7310465-7395-49D1-A213-C24E2CD4C4E1}"/>
          </ac:spMkLst>
        </pc:spChg>
        <pc:spChg chg="mod">
          <ac:chgData name="Arjan van der Meer" userId="008f28a2-684e-4523-b3ca-dcb37d9c3e5d" providerId="ADAL" clId="{EDCE2028-0D12-4BF9-9B5B-480A0D187AD0}" dt="2021-10-26T11:37:58.856" v="2348" actId="1037"/>
          <ac:spMkLst>
            <pc:docMk/>
            <pc:sldMk cId="3007114066" sldId="1052"/>
            <ac:spMk id="28" creationId="{64E0EED2-ACFE-4FEA-BACD-9845823E2DDB}"/>
          </ac:spMkLst>
        </pc:spChg>
        <pc:spChg chg="mod">
          <ac:chgData name="Arjan van der Meer" userId="008f28a2-684e-4523-b3ca-dcb37d9c3e5d" providerId="ADAL" clId="{EDCE2028-0D12-4BF9-9B5B-480A0D187AD0}" dt="2021-10-26T11:37:58.856" v="2348" actId="1037"/>
          <ac:spMkLst>
            <pc:docMk/>
            <pc:sldMk cId="3007114066" sldId="1052"/>
            <ac:spMk id="29" creationId="{897B541F-4EF6-48C0-9925-84365FFE9561}"/>
          </ac:spMkLst>
        </pc:spChg>
        <pc:spChg chg="mod">
          <ac:chgData name="Arjan van der Meer" userId="008f28a2-684e-4523-b3ca-dcb37d9c3e5d" providerId="ADAL" clId="{EDCE2028-0D12-4BF9-9B5B-480A0D187AD0}" dt="2021-10-26T11:37:58.856" v="2348" actId="1037"/>
          <ac:spMkLst>
            <pc:docMk/>
            <pc:sldMk cId="3007114066" sldId="1052"/>
            <ac:spMk id="30" creationId="{D73BCAC4-8C25-4280-94C5-4CDEC81431FD}"/>
          </ac:spMkLst>
        </pc:spChg>
        <pc:spChg chg="add mod">
          <ac:chgData name="Arjan van der Meer" userId="008f28a2-684e-4523-b3ca-dcb37d9c3e5d" providerId="ADAL" clId="{EDCE2028-0D12-4BF9-9B5B-480A0D187AD0}" dt="2021-10-26T11:44:27.457" v="2390" actId="1076"/>
          <ac:spMkLst>
            <pc:docMk/>
            <pc:sldMk cId="3007114066" sldId="1052"/>
            <ac:spMk id="31" creationId="{DF7286F5-D6AE-4DC4-A989-5A1B95F9F4F6}"/>
          </ac:spMkLst>
        </pc:spChg>
        <pc:spChg chg="add mod">
          <ac:chgData name="Arjan van der Meer" userId="008f28a2-684e-4523-b3ca-dcb37d9c3e5d" providerId="ADAL" clId="{EDCE2028-0D12-4BF9-9B5B-480A0D187AD0}" dt="2021-10-26T11:42:49.577" v="2380" actId="1076"/>
          <ac:spMkLst>
            <pc:docMk/>
            <pc:sldMk cId="3007114066" sldId="1052"/>
            <ac:spMk id="32" creationId="{C79BA4E8-1811-4B61-8431-5BB15D513EC7}"/>
          </ac:spMkLst>
        </pc:spChg>
        <pc:spChg chg="add mod">
          <ac:chgData name="Arjan van der Meer" userId="008f28a2-684e-4523-b3ca-dcb37d9c3e5d" providerId="ADAL" clId="{EDCE2028-0D12-4BF9-9B5B-480A0D187AD0}" dt="2021-10-26T11:46:01.640" v="2402" actId="1076"/>
          <ac:spMkLst>
            <pc:docMk/>
            <pc:sldMk cId="3007114066" sldId="1052"/>
            <ac:spMk id="33" creationId="{E514FC38-2160-4ABE-9420-1651A9BC26E8}"/>
          </ac:spMkLst>
        </pc:spChg>
        <pc:spChg chg="add mod">
          <ac:chgData name="Arjan van der Meer" userId="008f28a2-684e-4523-b3ca-dcb37d9c3e5d" providerId="ADAL" clId="{EDCE2028-0D12-4BF9-9B5B-480A0D187AD0}" dt="2021-10-26T11:41:00.117" v="2354" actId="1076"/>
          <ac:spMkLst>
            <pc:docMk/>
            <pc:sldMk cId="3007114066" sldId="1052"/>
            <ac:spMk id="34" creationId="{10ECFBA9-F895-43FC-9CB2-8C7C31A5D29C}"/>
          </ac:spMkLst>
        </pc:spChg>
        <pc:spChg chg="add mod">
          <ac:chgData name="Arjan van der Meer" userId="008f28a2-684e-4523-b3ca-dcb37d9c3e5d" providerId="ADAL" clId="{EDCE2028-0D12-4BF9-9B5B-480A0D187AD0}" dt="2021-10-26T11:44:18.007" v="2388" actId="1076"/>
          <ac:spMkLst>
            <pc:docMk/>
            <pc:sldMk cId="3007114066" sldId="1052"/>
            <ac:spMk id="35" creationId="{F59C9F29-D4AD-4E91-997D-992ED36644A5}"/>
          </ac:spMkLst>
        </pc:spChg>
        <pc:spChg chg="add mod">
          <ac:chgData name="Arjan van der Meer" userId="008f28a2-684e-4523-b3ca-dcb37d9c3e5d" providerId="ADAL" clId="{EDCE2028-0D12-4BF9-9B5B-480A0D187AD0}" dt="2021-10-26T11:44:36.146" v="2392" actId="1076"/>
          <ac:spMkLst>
            <pc:docMk/>
            <pc:sldMk cId="3007114066" sldId="1052"/>
            <ac:spMk id="36" creationId="{3C465C69-3919-48C0-929C-344227716234}"/>
          </ac:spMkLst>
        </pc:spChg>
        <pc:spChg chg="add mod">
          <ac:chgData name="Arjan van der Meer" userId="008f28a2-684e-4523-b3ca-dcb37d9c3e5d" providerId="ADAL" clId="{EDCE2028-0D12-4BF9-9B5B-480A0D187AD0}" dt="2021-10-26T11:43:16.971" v="2381" actId="1076"/>
          <ac:spMkLst>
            <pc:docMk/>
            <pc:sldMk cId="3007114066" sldId="1052"/>
            <ac:spMk id="37" creationId="{AEE008C8-07FB-431A-A283-C303C3DA5200}"/>
          </ac:spMkLst>
        </pc:spChg>
        <pc:spChg chg="add mod">
          <ac:chgData name="Arjan van der Meer" userId="008f28a2-684e-4523-b3ca-dcb37d9c3e5d" providerId="ADAL" clId="{EDCE2028-0D12-4BF9-9B5B-480A0D187AD0}" dt="2021-10-26T11:44:42.306" v="2393" actId="1076"/>
          <ac:spMkLst>
            <pc:docMk/>
            <pc:sldMk cId="3007114066" sldId="1052"/>
            <ac:spMk id="44" creationId="{6AE15176-BBB1-4BBE-89F6-3E585080F964}"/>
          </ac:spMkLst>
        </pc:spChg>
        <pc:picChg chg="mod">
          <ac:chgData name="Arjan van der Meer" userId="008f28a2-684e-4523-b3ca-dcb37d9c3e5d" providerId="ADAL" clId="{EDCE2028-0D12-4BF9-9B5B-480A0D187AD0}" dt="2021-10-26T11:37:58.856" v="2348" actId="1037"/>
          <ac:picMkLst>
            <pc:docMk/>
            <pc:sldMk cId="3007114066" sldId="1052"/>
            <ac:picMk id="8" creationId="{AFCF3AFA-F426-4CC6-9E51-27A0BC6DBD89}"/>
          </ac:picMkLst>
        </pc:picChg>
        <pc:cxnChg chg="mod">
          <ac:chgData name="Arjan van der Meer" userId="008f28a2-684e-4523-b3ca-dcb37d9c3e5d" providerId="ADAL" clId="{EDCE2028-0D12-4BF9-9B5B-480A0D187AD0}" dt="2021-10-26T11:37:58.856" v="2348" actId="1037"/>
          <ac:cxnSpMkLst>
            <pc:docMk/>
            <pc:sldMk cId="3007114066" sldId="1052"/>
            <ac:cxnSpMk id="12" creationId="{4BDF891F-7C73-46F1-9593-583C47E13085}"/>
          </ac:cxnSpMkLst>
        </pc:cxnChg>
        <pc:cxnChg chg="mod">
          <ac:chgData name="Arjan van der Meer" userId="008f28a2-684e-4523-b3ca-dcb37d9c3e5d" providerId="ADAL" clId="{EDCE2028-0D12-4BF9-9B5B-480A0D187AD0}" dt="2021-10-26T11:37:58.856" v="2348" actId="1037"/>
          <ac:cxnSpMkLst>
            <pc:docMk/>
            <pc:sldMk cId="3007114066" sldId="1052"/>
            <ac:cxnSpMk id="13" creationId="{AA42E6C1-B8CD-4442-8F98-3EB66EF4C92E}"/>
          </ac:cxnSpMkLst>
        </pc:cxnChg>
        <pc:cxnChg chg="mod">
          <ac:chgData name="Arjan van der Meer" userId="008f28a2-684e-4523-b3ca-dcb37d9c3e5d" providerId="ADAL" clId="{EDCE2028-0D12-4BF9-9B5B-480A0D187AD0}" dt="2021-10-26T11:37:58.856" v="2348" actId="1037"/>
          <ac:cxnSpMkLst>
            <pc:docMk/>
            <pc:sldMk cId="3007114066" sldId="1052"/>
            <ac:cxnSpMk id="14" creationId="{3A22954C-8A3F-4E9B-A90A-F901F52D9D89}"/>
          </ac:cxnSpMkLst>
        </pc:cxnChg>
        <pc:cxnChg chg="mod">
          <ac:chgData name="Arjan van der Meer" userId="008f28a2-684e-4523-b3ca-dcb37d9c3e5d" providerId="ADAL" clId="{EDCE2028-0D12-4BF9-9B5B-480A0D187AD0}" dt="2021-10-26T11:37:58.856" v="2348" actId="1037"/>
          <ac:cxnSpMkLst>
            <pc:docMk/>
            <pc:sldMk cId="3007114066" sldId="1052"/>
            <ac:cxnSpMk id="15" creationId="{F958E070-1FDE-4880-982F-C5C7830DE911}"/>
          </ac:cxnSpMkLst>
        </pc:cxnChg>
        <pc:cxnChg chg="mod">
          <ac:chgData name="Arjan van der Meer" userId="008f28a2-684e-4523-b3ca-dcb37d9c3e5d" providerId="ADAL" clId="{EDCE2028-0D12-4BF9-9B5B-480A0D187AD0}" dt="2021-10-26T11:37:58.856" v="2348" actId="1037"/>
          <ac:cxnSpMkLst>
            <pc:docMk/>
            <pc:sldMk cId="3007114066" sldId="1052"/>
            <ac:cxnSpMk id="16" creationId="{A1C14B12-D0DC-407B-822C-27BF3AD95CAE}"/>
          </ac:cxnSpMkLst>
        </pc:cxnChg>
        <pc:cxnChg chg="add mod">
          <ac:chgData name="Arjan van der Meer" userId="008f28a2-684e-4523-b3ca-dcb37d9c3e5d" providerId="ADAL" clId="{EDCE2028-0D12-4BF9-9B5B-480A0D187AD0}" dt="2021-10-26T11:45:34.755" v="2397" actId="1076"/>
          <ac:cxnSpMkLst>
            <pc:docMk/>
            <pc:sldMk cId="3007114066" sldId="1052"/>
            <ac:cxnSpMk id="17" creationId="{930003C7-3C4E-4E90-8428-97800FA62A7C}"/>
          </ac:cxnSpMkLst>
        </pc:cxnChg>
        <pc:cxnChg chg="add del mod">
          <ac:chgData name="Arjan van der Meer" userId="008f28a2-684e-4523-b3ca-dcb37d9c3e5d" providerId="ADAL" clId="{EDCE2028-0D12-4BF9-9B5B-480A0D187AD0}" dt="2021-10-26T11:44:04.060" v="2386" actId="478"/>
          <ac:cxnSpMkLst>
            <pc:docMk/>
            <pc:sldMk cId="3007114066" sldId="1052"/>
            <ac:cxnSpMk id="19" creationId="{67192C08-3D1C-463C-8D01-96FFBEC08428}"/>
          </ac:cxnSpMkLst>
        </pc:cxnChg>
        <pc:cxnChg chg="add mod">
          <ac:chgData name="Arjan van der Meer" userId="008f28a2-684e-4523-b3ca-dcb37d9c3e5d" providerId="ADAL" clId="{EDCE2028-0D12-4BF9-9B5B-480A0D187AD0}" dt="2021-10-26T11:45:34.755" v="2397" actId="1076"/>
          <ac:cxnSpMkLst>
            <pc:docMk/>
            <pc:sldMk cId="3007114066" sldId="1052"/>
            <ac:cxnSpMk id="21" creationId="{21AE98C0-2749-4011-9DE5-23C97B2436CF}"/>
          </ac:cxnSpMkLst>
        </pc:cxnChg>
        <pc:cxnChg chg="add del mod">
          <ac:chgData name="Arjan van der Meer" userId="008f28a2-684e-4523-b3ca-dcb37d9c3e5d" providerId="ADAL" clId="{EDCE2028-0D12-4BF9-9B5B-480A0D187AD0}" dt="2021-10-26T11:41:19.648" v="2362" actId="478"/>
          <ac:cxnSpMkLst>
            <pc:docMk/>
            <pc:sldMk cId="3007114066" sldId="1052"/>
            <ac:cxnSpMk id="22" creationId="{E85AB926-20D8-4E0E-91A5-529E1A8A1D33}"/>
          </ac:cxnSpMkLst>
        </pc:cxnChg>
        <pc:cxnChg chg="add del mod">
          <ac:chgData name="Arjan van der Meer" userId="008f28a2-684e-4523-b3ca-dcb37d9c3e5d" providerId="ADAL" clId="{EDCE2028-0D12-4BF9-9B5B-480A0D187AD0}" dt="2021-10-26T11:41:21.124" v="2363" actId="478"/>
          <ac:cxnSpMkLst>
            <pc:docMk/>
            <pc:sldMk cId="3007114066" sldId="1052"/>
            <ac:cxnSpMk id="23" creationId="{10EAACFF-8E3F-4B94-A2C0-A8A45D5CFD84}"/>
          </ac:cxnSpMkLst>
        </pc:cxnChg>
        <pc:cxnChg chg="add del mod">
          <ac:chgData name="Arjan van der Meer" userId="008f28a2-684e-4523-b3ca-dcb37d9c3e5d" providerId="ADAL" clId="{EDCE2028-0D12-4BF9-9B5B-480A0D187AD0}" dt="2021-10-26T11:41:23.522" v="2365" actId="478"/>
          <ac:cxnSpMkLst>
            <pc:docMk/>
            <pc:sldMk cId="3007114066" sldId="1052"/>
            <ac:cxnSpMk id="24" creationId="{97DBD79B-A42F-4F3D-9A8A-C88C5D50A459}"/>
          </ac:cxnSpMkLst>
        </pc:cxnChg>
        <pc:cxnChg chg="add del mod">
          <ac:chgData name="Arjan van der Meer" userId="008f28a2-684e-4523-b3ca-dcb37d9c3e5d" providerId="ADAL" clId="{EDCE2028-0D12-4BF9-9B5B-480A0D187AD0}" dt="2021-10-26T11:41:22.528" v="2364" actId="478"/>
          <ac:cxnSpMkLst>
            <pc:docMk/>
            <pc:sldMk cId="3007114066" sldId="1052"/>
            <ac:cxnSpMk id="25" creationId="{6ACAC3EE-FC53-45C7-91CE-A6040052D79F}"/>
          </ac:cxnSpMkLst>
        </pc:cxnChg>
        <pc:cxnChg chg="add mod">
          <ac:chgData name="Arjan van der Meer" userId="008f28a2-684e-4523-b3ca-dcb37d9c3e5d" providerId="ADAL" clId="{EDCE2028-0D12-4BF9-9B5B-480A0D187AD0}" dt="2021-10-26T11:44:36.146" v="2392" actId="1076"/>
          <ac:cxnSpMkLst>
            <pc:docMk/>
            <pc:sldMk cId="3007114066" sldId="1052"/>
            <ac:cxnSpMk id="39" creationId="{99EFF996-DF64-486F-826F-2FDA9ED80FBE}"/>
          </ac:cxnSpMkLst>
        </pc:cxnChg>
        <pc:cxnChg chg="add del mod">
          <ac:chgData name="Arjan van der Meer" userId="008f28a2-684e-4523-b3ca-dcb37d9c3e5d" providerId="ADAL" clId="{EDCE2028-0D12-4BF9-9B5B-480A0D187AD0}" dt="2021-10-26T11:42:18.226" v="2374" actId="478"/>
          <ac:cxnSpMkLst>
            <pc:docMk/>
            <pc:sldMk cId="3007114066" sldId="1052"/>
            <ac:cxnSpMk id="41" creationId="{1864596B-CF3C-482E-AE29-2470F93B9073}"/>
          </ac:cxnSpMkLst>
        </pc:cxnChg>
        <pc:cxnChg chg="add mod">
          <ac:chgData name="Arjan van der Meer" userId="008f28a2-684e-4523-b3ca-dcb37d9c3e5d" providerId="ADAL" clId="{EDCE2028-0D12-4BF9-9B5B-480A0D187AD0}" dt="2021-10-26T11:44:36.146" v="2392" actId="1076"/>
          <ac:cxnSpMkLst>
            <pc:docMk/>
            <pc:sldMk cId="3007114066" sldId="1052"/>
            <ac:cxnSpMk id="43" creationId="{211CAED3-11B5-48DD-B674-494E5844258F}"/>
          </ac:cxnSpMkLst>
        </pc:cxnChg>
        <pc:cxnChg chg="add mod">
          <ac:chgData name="Arjan van der Meer" userId="008f28a2-684e-4523-b3ca-dcb37d9c3e5d" providerId="ADAL" clId="{EDCE2028-0D12-4BF9-9B5B-480A0D187AD0}" dt="2021-10-26T11:45:34.755" v="2397" actId="1076"/>
          <ac:cxnSpMkLst>
            <pc:docMk/>
            <pc:sldMk cId="3007114066" sldId="1052"/>
            <ac:cxnSpMk id="46" creationId="{6B9445E8-B9DE-4D97-AE75-896911DB22BF}"/>
          </ac:cxnSpMkLst>
        </pc:cxnChg>
        <pc:cxnChg chg="add mod">
          <ac:chgData name="Arjan van der Meer" userId="008f28a2-684e-4523-b3ca-dcb37d9c3e5d" providerId="ADAL" clId="{EDCE2028-0D12-4BF9-9B5B-480A0D187AD0}" dt="2021-10-26T11:44:18.007" v="2388" actId="1076"/>
          <ac:cxnSpMkLst>
            <pc:docMk/>
            <pc:sldMk cId="3007114066" sldId="1052"/>
            <ac:cxnSpMk id="54" creationId="{6FF22A71-1EE4-428D-9B5C-66D2F8006CBD}"/>
          </ac:cxnSpMkLst>
        </pc:cxnChg>
      </pc:sldChg>
      <pc:sldChg chg="del">
        <pc:chgData name="Arjan van der Meer" userId="008f28a2-684e-4523-b3ca-dcb37d9c3e5d" providerId="ADAL" clId="{EDCE2028-0D12-4BF9-9B5B-480A0D187AD0}" dt="2021-10-26T13:37:02.926" v="2422" actId="2696"/>
        <pc:sldMkLst>
          <pc:docMk/>
          <pc:sldMk cId="3454179965" sldId="1053"/>
        </pc:sldMkLst>
      </pc:sldChg>
      <pc:sldChg chg="del">
        <pc:chgData name="Arjan van der Meer" userId="008f28a2-684e-4523-b3ca-dcb37d9c3e5d" providerId="ADAL" clId="{EDCE2028-0D12-4BF9-9B5B-480A0D187AD0}" dt="2021-10-26T13:37:06.647" v="2423" actId="2696"/>
        <pc:sldMkLst>
          <pc:docMk/>
          <pc:sldMk cId="662340548" sldId="1054"/>
        </pc:sldMkLst>
      </pc:sldChg>
      <pc:sldChg chg="del">
        <pc:chgData name="Arjan van der Meer" userId="008f28a2-684e-4523-b3ca-dcb37d9c3e5d" providerId="ADAL" clId="{EDCE2028-0D12-4BF9-9B5B-480A0D187AD0}" dt="2021-10-26T13:35:02.476" v="2417" actId="2696"/>
        <pc:sldMkLst>
          <pc:docMk/>
          <pc:sldMk cId="1762244077" sldId="1055"/>
        </pc:sldMkLst>
      </pc:sldChg>
      <pc:sldChg chg="del">
        <pc:chgData name="Arjan van der Meer" userId="008f28a2-684e-4523-b3ca-dcb37d9c3e5d" providerId="ADAL" clId="{EDCE2028-0D12-4BF9-9B5B-480A0D187AD0}" dt="2021-10-26T13:34:37.026" v="2414" actId="2696"/>
        <pc:sldMkLst>
          <pc:docMk/>
          <pc:sldMk cId="2753424592" sldId="1058"/>
        </pc:sldMkLst>
      </pc:sldChg>
      <pc:sldChg chg="addSp delSp modSp mod modNotesTx">
        <pc:chgData name="Arjan van der Meer" userId="008f28a2-684e-4523-b3ca-dcb37d9c3e5d" providerId="ADAL" clId="{EDCE2028-0D12-4BF9-9B5B-480A0D187AD0}" dt="2021-10-26T11:15:53.045" v="2118" actId="207"/>
        <pc:sldMkLst>
          <pc:docMk/>
          <pc:sldMk cId="3073011292" sldId="1063"/>
        </pc:sldMkLst>
        <pc:spChg chg="mod">
          <ac:chgData name="Arjan van der Meer" userId="008f28a2-684e-4523-b3ca-dcb37d9c3e5d" providerId="ADAL" clId="{EDCE2028-0D12-4BF9-9B5B-480A0D187AD0}" dt="2021-10-26T09:24:28.834" v="1489" actId="20577"/>
          <ac:spMkLst>
            <pc:docMk/>
            <pc:sldMk cId="3073011292" sldId="1063"/>
            <ac:spMk id="2" creationId="{53CB77FA-CF1B-4B0E-A304-10CE6620EE56}"/>
          </ac:spMkLst>
        </pc:spChg>
        <pc:spChg chg="add mod">
          <ac:chgData name="Arjan van der Meer" userId="008f28a2-684e-4523-b3ca-dcb37d9c3e5d" providerId="ADAL" clId="{EDCE2028-0D12-4BF9-9B5B-480A0D187AD0}" dt="2021-10-26T11:06:36.093" v="2014" actId="552"/>
          <ac:spMkLst>
            <pc:docMk/>
            <pc:sldMk cId="3073011292" sldId="1063"/>
            <ac:spMk id="6" creationId="{EFF25976-C0D4-4259-AB50-81301790BD65}"/>
          </ac:spMkLst>
        </pc:spChg>
        <pc:spChg chg="add mod">
          <ac:chgData name="Arjan van der Meer" userId="008f28a2-684e-4523-b3ca-dcb37d9c3e5d" providerId="ADAL" clId="{EDCE2028-0D12-4BF9-9B5B-480A0D187AD0}" dt="2021-10-26T11:06:45.709" v="2015" actId="465"/>
          <ac:spMkLst>
            <pc:docMk/>
            <pc:sldMk cId="3073011292" sldId="1063"/>
            <ac:spMk id="8" creationId="{C3406E72-D449-4FB0-8390-1D03AFE00053}"/>
          </ac:spMkLst>
        </pc:spChg>
        <pc:spChg chg="add mod">
          <ac:chgData name="Arjan van der Meer" userId="008f28a2-684e-4523-b3ca-dcb37d9c3e5d" providerId="ADAL" clId="{EDCE2028-0D12-4BF9-9B5B-480A0D187AD0}" dt="2021-10-26T11:06:36.093" v="2014" actId="552"/>
          <ac:spMkLst>
            <pc:docMk/>
            <pc:sldMk cId="3073011292" sldId="1063"/>
            <ac:spMk id="17" creationId="{95822C4C-5170-4571-8D2A-CFEB56C8D9F7}"/>
          </ac:spMkLst>
        </pc:spChg>
        <pc:spChg chg="add mod">
          <ac:chgData name="Arjan van der Meer" userId="008f28a2-684e-4523-b3ca-dcb37d9c3e5d" providerId="ADAL" clId="{EDCE2028-0D12-4BF9-9B5B-480A0D187AD0}" dt="2021-10-26T10:07:09.877" v="1886" actId="1076"/>
          <ac:spMkLst>
            <pc:docMk/>
            <pc:sldMk cId="3073011292" sldId="1063"/>
            <ac:spMk id="27" creationId="{99CF6255-2CE0-43C4-A8E1-EF957E1ABAF4}"/>
          </ac:spMkLst>
        </pc:spChg>
        <pc:spChg chg="del">
          <ac:chgData name="Arjan van der Meer" userId="008f28a2-684e-4523-b3ca-dcb37d9c3e5d" providerId="ADAL" clId="{EDCE2028-0D12-4BF9-9B5B-480A0D187AD0}" dt="2021-10-26T09:54:15.350" v="1736" actId="478"/>
          <ac:spMkLst>
            <pc:docMk/>
            <pc:sldMk cId="3073011292" sldId="1063"/>
            <ac:spMk id="28" creationId="{F0E48F8D-C071-4581-A9C5-B5AC90BB64D8}"/>
          </ac:spMkLst>
        </pc:spChg>
        <pc:spChg chg="add del">
          <ac:chgData name="Arjan van der Meer" userId="008f28a2-684e-4523-b3ca-dcb37d9c3e5d" providerId="ADAL" clId="{EDCE2028-0D12-4BF9-9B5B-480A0D187AD0}" dt="2021-10-26T09:51:05.185" v="1650" actId="478"/>
          <ac:spMkLst>
            <pc:docMk/>
            <pc:sldMk cId="3073011292" sldId="1063"/>
            <ac:spMk id="29" creationId="{6D322FB5-30D4-4C01-B356-951D89C08DBD}"/>
          </ac:spMkLst>
        </pc:spChg>
        <pc:spChg chg="del mod">
          <ac:chgData name="Arjan van der Meer" userId="008f28a2-684e-4523-b3ca-dcb37d9c3e5d" providerId="ADAL" clId="{EDCE2028-0D12-4BF9-9B5B-480A0D187AD0}" dt="2021-10-26T09:54:15.350" v="1736" actId="478"/>
          <ac:spMkLst>
            <pc:docMk/>
            <pc:sldMk cId="3073011292" sldId="1063"/>
            <ac:spMk id="30" creationId="{AC0E10EE-2D3E-4F8F-9FCF-394CADC514ED}"/>
          </ac:spMkLst>
        </pc:spChg>
        <pc:spChg chg="del">
          <ac:chgData name="Arjan van der Meer" userId="008f28a2-684e-4523-b3ca-dcb37d9c3e5d" providerId="ADAL" clId="{EDCE2028-0D12-4BF9-9B5B-480A0D187AD0}" dt="2021-10-26T09:54:15.350" v="1736" actId="478"/>
          <ac:spMkLst>
            <pc:docMk/>
            <pc:sldMk cId="3073011292" sldId="1063"/>
            <ac:spMk id="31" creationId="{C16A223B-73C3-419A-9AC0-2AB7FB7CEAE6}"/>
          </ac:spMkLst>
        </pc:spChg>
        <pc:spChg chg="del mod">
          <ac:chgData name="Arjan van der Meer" userId="008f28a2-684e-4523-b3ca-dcb37d9c3e5d" providerId="ADAL" clId="{EDCE2028-0D12-4BF9-9B5B-480A0D187AD0}" dt="2021-10-26T09:54:15.350" v="1736" actId="478"/>
          <ac:spMkLst>
            <pc:docMk/>
            <pc:sldMk cId="3073011292" sldId="1063"/>
            <ac:spMk id="32" creationId="{AFD41579-109B-4E22-8855-FC2D6F935732}"/>
          </ac:spMkLst>
        </pc:spChg>
        <pc:spChg chg="del">
          <ac:chgData name="Arjan van der Meer" userId="008f28a2-684e-4523-b3ca-dcb37d9c3e5d" providerId="ADAL" clId="{EDCE2028-0D12-4BF9-9B5B-480A0D187AD0}" dt="2021-10-26T09:50:51.365" v="1644" actId="478"/>
          <ac:spMkLst>
            <pc:docMk/>
            <pc:sldMk cId="3073011292" sldId="1063"/>
            <ac:spMk id="33" creationId="{002F8C92-4BD9-49DD-8196-DB6F1B372A26}"/>
          </ac:spMkLst>
        </pc:spChg>
        <pc:spChg chg="add del mod">
          <ac:chgData name="Arjan van der Meer" userId="008f28a2-684e-4523-b3ca-dcb37d9c3e5d" providerId="ADAL" clId="{EDCE2028-0D12-4BF9-9B5B-480A0D187AD0}" dt="2021-10-26T11:15:06.984" v="2112" actId="478"/>
          <ac:spMkLst>
            <pc:docMk/>
            <pc:sldMk cId="3073011292" sldId="1063"/>
            <ac:spMk id="34" creationId="{4ECD0C34-3D73-4C89-ADD7-960071286D6C}"/>
          </ac:spMkLst>
        </pc:spChg>
        <pc:spChg chg="add del mod">
          <ac:chgData name="Arjan van der Meer" userId="008f28a2-684e-4523-b3ca-dcb37d9c3e5d" providerId="ADAL" clId="{EDCE2028-0D12-4BF9-9B5B-480A0D187AD0}" dt="2021-10-26T09:41:09.782" v="1625" actId="478"/>
          <ac:spMkLst>
            <pc:docMk/>
            <pc:sldMk cId="3073011292" sldId="1063"/>
            <ac:spMk id="35" creationId="{C43D8F6B-2CCB-4E47-A649-F920AB62A39D}"/>
          </ac:spMkLst>
        </pc:spChg>
        <pc:spChg chg="add del mod">
          <ac:chgData name="Arjan van der Meer" userId="008f28a2-684e-4523-b3ca-dcb37d9c3e5d" providerId="ADAL" clId="{EDCE2028-0D12-4BF9-9B5B-480A0D187AD0}" dt="2021-10-26T11:15:06.984" v="2112" actId="478"/>
          <ac:spMkLst>
            <pc:docMk/>
            <pc:sldMk cId="3073011292" sldId="1063"/>
            <ac:spMk id="36" creationId="{20880645-285C-4980-9195-08A75003D6DB}"/>
          </ac:spMkLst>
        </pc:spChg>
        <pc:spChg chg="add mod">
          <ac:chgData name="Arjan van der Meer" userId="008f28a2-684e-4523-b3ca-dcb37d9c3e5d" providerId="ADAL" clId="{EDCE2028-0D12-4BF9-9B5B-480A0D187AD0}" dt="2021-10-26T11:15:53.045" v="2118" actId="207"/>
          <ac:spMkLst>
            <pc:docMk/>
            <pc:sldMk cId="3073011292" sldId="1063"/>
            <ac:spMk id="37" creationId="{6FA63500-E87E-4CE6-A11A-C9B0572B8E19}"/>
          </ac:spMkLst>
        </pc:spChg>
        <pc:spChg chg="del mod">
          <ac:chgData name="Arjan van der Meer" userId="008f28a2-684e-4523-b3ca-dcb37d9c3e5d" providerId="ADAL" clId="{EDCE2028-0D12-4BF9-9B5B-480A0D187AD0}" dt="2021-10-26T09:54:15.350" v="1736" actId="478"/>
          <ac:spMkLst>
            <pc:docMk/>
            <pc:sldMk cId="3073011292" sldId="1063"/>
            <ac:spMk id="38" creationId="{8F045400-06D8-48E2-9083-8FAFDB8E009B}"/>
          </ac:spMkLst>
        </pc:spChg>
        <pc:spChg chg="del">
          <ac:chgData name="Arjan van der Meer" userId="008f28a2-684e-4523-b3ca-dcb37d9c3e5d" providerId="ADAL" clId="{EDCE2028-0D12-4BF9-9B5B-480A0D187AD0}" dt="2021-10-26T09:50:52.593" v="1645" actId="478"/>
          <ac:spMkLst>
            <pc:docMk/>
            <pc:sldMk cId="3073011292" sldId="1063"/>
            <ac:spMk id="39" creationId="{36B7E453-BCA2-4681-BA1F-23E845D84100}"/>
          </ac:spMkLst>
        </pc:spChg>
        <pc:spChg chg="add mod">
          <ac:chgData name="Arjan van der Meer" userId="008f28a2-684e-4523-b3ca-dcb37d9c3e5d" providerId="ADAL" clId="{EDCE2028-0D12-4BF9-9B5B-480A0D187AD0}" dt="2021-10-26T11:07:27.482" v="2027" actId="20577"/>
          <ac:spMkLst>
            <pc:docMk/>
            <pc:sldMk cId="3073011292" sldId="1063"/>
            <ac:spMk id="42" creationId="{5976A91F-461A-4467-B587-801D6F41F1A5}"/>
          </ac:spMkLst>
        </pc:spChg>
        <pc:spChg chg="del">
          <ac:chgData name="Arjan van der Meer" userId="008f28a2-684e-4523-b3ca-dcb37d9c3e5d" providerId="ADAL" clId="{EDCE2028-0D12-4BF9-9B5B-480A0D187AD0}" dt="2021-10-26T10:07:24.078" v="1887" actId="478"/>
          <ac:spMkLst>
            <pc:docMk/>
            <pc:sldMk cId="3073011292" sldId="1063"/>
            <ac:spMk id="43" creationId="{770814A7-D04E-4868-9932-F853D318A0C0}"/>
          </ac:spMkLst>
        </pc:spChg>
        <pc:spChg chg="add mod">
          <ac:chgData name="Arjan van der Meer" userId="008f28a2-684e-4523-b3ca-dcb37d9c3e5d" providerId="ADAL" clId="{EDCE2028-0D12-4BF9-9B5B-480A0D187AD0}" dt="2021-10-26T11:07:35.256" v="2028" actId="20577"/>
          <ac:spMkLst>
            <pc:docMk/>
            <pc:sldMk cId="3073011292" sldId="1063"/>
            <ac:spMk id="44" creationId="{2B95D81E-EA32-4ACE-9C4B-7FED231E8274}"/>
          </ac:spMkLst>
        </pc:spChg>
        <pc:spChg chg="add del mod">
          <ac:chgData name="Arjan van der Meer" userId="008f28a2-684e-4523-b3ca-dcb37d9c3e5d" providerId="ADAL" clId="{EDCE2028-0D12-4BF9-9B5B-480A0D187AD0}" dt="2021-10-26T09:54:15.350" v="1736" actId="478"/>
          <ac:spMkLst>
            <pc:docMk/>
            <pc:sldMk cId="3073011292" sldId="1063"/>
            <ac:spMk id="45" creationId="{3E10E32B-3E59-4606-8D65-18E3AE65E2FB}"/>
          </ac:spMkLst>
        </pc:spChg>
        <pc:spChg chg="add del mod">
          <ac:chgData name="Arjan van der Meer" userId="008f28a2-684e-4523-b3ca-dcb37d9c3e5d" providerId="ADAL" clId="{EDCE2028-0D12-4BF9-9B5B-480A0D187AD0}" dt="2021-10-26T09:54:15.350" v="1736" actId="478"/>
          <ac:spMkLst>
            <pc:docMk/>
            <pc:sldMk cId="3073011292" sldId="1063"/>
            <ac:spMk id="46" creationId="{A1C07690-F4F2-465F-8799-6BE0E4CE24EB}"/>
          </ac:spMkLst>
        </pc:spChg>
        <pc:spChg chg="add del mod">
          <ac:chgData name="Arjan van der Meer" userId="008f28a2-684e-4523-b3ca-dcb37d9c3e5d" providerId="ADAL" clId="{EDCE2028-0D12-4BF9-9B5B-480A0D187AD0}" dt="2021-10-26T09:54:15.350" v="1736" actId="478"/>
          <ac:spMkLst>
            <pc:docMk/>
            <pc:sldMk cId="3073011292" sldId="1063"/>
            <ac:spMk id="47" creationId="{9A750F45-0F91-4510-9CCC-D7A2F94368A5}"/>
          </ac:spMkLst>
        </pc:spChg>
        <pc:spChg chg="del mod">
          <ac:chgData name="Arjan van der Meer" userId="008f28a2-684e-4523-b3ca-dcb37d9c3e5d" providerId="ADAL" clId="{EDCE2028-0D12-4BF9-9B5B-480A0D187AD0}" dt="2021-10-26T09:54:15.350" v="1736" actId="478"/>
          <ac:spMkLst>
            <pc:docMk/>
            <pc:sldMk cId="3073011292" sldId="1063"/>
            <ac:spMk id="52" creationId="{9F51B146-5A62-4F16-A297-12913B5DB8C4}"/>
          </ac:spMkLst>
        </pc:spChg>
        <pc:spChg chg="add mod">
          <ac:chgData name="Arjan van der Meer" userId="008f28a2-684e-4523-b3ca-dcb37d9c3e5d" providerId="ADAL" clId="{EDCE2028-0D12-4BF9-9B5B-480A0D187AD0}" dt="2021-10-26T09:54:23.495" v="1737"/>
          <ac:spMkLst>
            <pc:docMk/>
            <pc:sldMk cId="3073011292" sldId="1063"/>
            <ac:spMk id="53" creationId="{61EA0A3E-F1D5-43EE-8630-3E6134897329}"/>
          </ac:spMkLst>
        </pc:spChg>
        <pc:spChg chg="add mod">
          <ac:chgData name="Arjan van der Meer" userId="008f28a2-684e-4523-b3ca-dcb37d9c3e5d" providerId="ADAL" clId="{EDCE2028-0D12-4BF9-9B5B-480A0D187AD0}" dt="2021-10-26T09:54:23.495" v="1737"/>
          <ac:spMkLst>
            <pc:docMk/>
            <pc:sldMk cId="3073011292" sldId="1063"/>
            <ac:spMk id="54" creationId="{169A1F2A-7BE7-4B1E-AC07-B5812A919DBB}"/>
          </ac:spMkLst>
        </pc:spChg>
        <pc:spChg chg="add mod">
          <ac:chgData name="Arjan van der Meer" userId="008f28a2-684e-4523-b3ca-dcb37d9c3e5d" providerId="ADAL" clId="{EDCE2028-0D12-4BF9-9B5B-480A0D187AD0}" dt="2021-10-26T09:54:23.495" v="1737"/>
          <ac:spMkLst>
            <pc:docMk/>
            <pc:sldMk cId="3073011292" sldId="1063"/>
            <ac:spMk id="55" creationId="{E29737CB-9D47-48EB-B744-EEFF08E21C5E}"/>
          </ac:spMkLst>
        </pc:spChg>
        <pc:spChg chg="del mod">
          <ac:chgData name="Arjan van der Meer" userId="008f28a2-684e-4523-b3ca-dcb37d9c3e5d" providerId="ADAL" clId="{EDCE2028-0D12-4BF9-9B5B-480A0D187AD0}" dt="2021-10-26T09:54:15.350" v="1736" actId="478"/>
          <ac:spMkLst>
            <pc:docMk/>
            <pc:sldMk cId="3073011292" sldId="1063"/>
            <ac:spMk id="56" creationId="{226676F7-CACB-4408-B3B8-495C7B5578CD}"/>
          </ac:spMkLst>
        </pc:spChg>
        <pc:spChg chg="del mod">
          <ac:chgData name="Arjan van der Meer" userId="008f28a2-684e-4523-b3ca-dcb37d9c3e5d" providerId="ADAL" clId="{EDCE2028-0D12-4BF9-9B5B-480A0D187AD0}" dt="2021-10-26T09:50:55.622" v="1646" actId="478"/>
          <ac:spMkLst>
            <pc:docMk/>
            <pc:sldMk cId="3073011292" sldId="1063"/>
            <ac:spMk id="57" creationId="{D0C84354-0BD0-433F-BED2-E07A32F4BD3E}"/>
          </ac:spMkLst>
        </pc:spChg>
        <pc:spChg chg="del">
          <ac:chgData name="Arjan van der Meer" userId="008f28a2-684e-4523-b3ca-dcb37d9c3e5d" providerId="ADAL" clId="{EDCE2028-0D12-4BF9-9B5B-480A0D187AD0}" dt="2021-10-26T09:54:15.350" v="1736" actId="478"/>
          <ac:spMkLst>
            <pc:docMk/>
            <pc:sldMk cId="3073011292" sldId="1063"/>
            <ac:spMk id="58" creationId="{16F5055A-AA4F-466A-88F0-FF2A20EF94B2}"/>
          </ac:spMkLst>
        </pc:spChg>
        <pc:spChg chg="add mod">
          <ac:chgData name="Arjan van der Meer" userId="008f28a2-684e-4523-b3ca-dcb37d9c3e5d" providerId="ADAL" clId="{EDCE2028-0D12-4BF9-9B5B-480A0D187AD0}" dt="2021-10-26T09:54:23.495" v="1737"/>
          <ac:spMkLst>
            <pc:docMk/>
            <pc:sldMk cId="3073011292" sldId="1063"/>
            <ac:spMk id="59" creationId="{A8C460DA-4B60-486A-B958-168356A6492B}"/>
          </ac:spMkLst>
        </pc:spChg>
        <pc:spChg chg="del mod">
          <ac:chgData name="Arjan van der Meer" userId="008f28a2-684e-4523-b3ca-dcb37d9c3e5d" providerId="ADAL" clId="{EDCE2028-0D12-4BF9-9B5B-480A0D187AD0}" dt="2021-10-26T10:07:24.078" v="1887" actId="478"/>
          <ac:spMkLst>
            <pc:docMk/>
            <pc:sldMk cId="3073011292" sldId="1063"/>
            <ac:spMk id="61" creationId="{DFB961A7-07C0-48FC-A394-2EA6CD6FDBCC}"/>
          </ac:spMkLst>
        </pc:spChg>
        <pc:spChg chg="add mod">
          <ac:chgData name="Arjan van der Meer" userId="008f28a2-684e-4523-b3ca-dcb37d9c3e5d" providerId="ADAL" clId="{EDCE2028-0D12-4BF9-9B5B-480A0D187AD0}" dt="2021-10-26T09:54:23.495" v="1737"/>
          <ac:spMkLst>
            <pc:docMk/>
            <pc:sldMk cId="3073011292" sldId="1063"/>
            <ac:spMk id="62" creationId="{C12752A9-DB66-41C2-BD34-B5C70E7ACBEC}"/>
          </ac:spMkLst>
        </pc:spChg>
        <pc:spChg chg="del mod">
          <ac:chgData name="Arjan van der Meer" userId="008f28a2-684e-4523-b3ca-dcb37d9c3e5d" providerId="ADAL" clId="{EDCE2028-0D12-4BF9-9B5B-480A0D187AD0}" dt="2021-10-26T10:07:24.078" v="1887" actId="478"/>
          <ac:spMkLst>
            <pc:docMk/>
            <pc:sldMk cId="3073011292" sldId="1063"/>
            <ac:spMk id="63" creationId="{3C9738C2-8D59-42C0-8252-EBB2956C2A73}"/>
          </ac:spMkLst>
        </pc:spChg>
        <pc:spChg chg="del mod">
          <ac:chgData name="Arjan van der Meer" userId="008f28a2-684e-4523-b3ca-dcb37d9c3e5d" providerId="ADAL" clId="{EDCE2028-0D12-4BF9-9B5B-480A0D187AD0}" dt="2021-10-26T09:52:20.801" v="1726" actId="478"/>
          <ac:spMkLst>
            <pc:docMk/>
            <pc:sldMk cId="3073011292" sldId="1063"/>
            <ac:spMk id="64" creationId="{EAB20B6E-BB39-4127-8094-86661EDEBC61}"/>
          </ac:spMkLst>
        </pc:spChg>
        <pc:spChg chg="add mod">
          <ac:chgData name="Arjan van der Meer" userId="008f28a2-684e-4523-b3ca-dcb37d9c3e5d" providerId="ADAL" clId="{EDCE2028-0D12-4BF9-9B5B-480A0D187AD0}" dt="2021-10-26T09:54:23.495" v="1737"/>
          <ac:spMkLst>
            <pc:docMk/>
            <pc:sldMk cId="3073011292" sldId="1063"/>
            <ac:spMk id="65" creationId="{72EECB08-1366-44DB-AFE7-FDAF0F0E249F}"/>
          </ac:spMkLst>
        </pc:spChg>
        <pc:spChg chg="add mod">
          <ac:chgData name="Arjan van der Meer" userId="008f28a2-684e-4523-b3ca-dcb37d9c3e5d" providerId="ADAL" clId="{EDCE2028-0D12-4BF9-9B5B-480A0D187AD0}" dt="2021-10-26T09:54:23.495" v="1737"/>
          <ac:spMkLst>
            <pc:docMk/>
            <pc:sldMk cId="3073011292" sldId="1063"/>
            <ac:spMk id="66" creationId="{4B545B4C-11FB-4CB3-A665-7969CC2137A7}"/>
          </ac:spMkLst>
        </pc:spChg>
        <pc:spChg chg="add mod">
          <ac:chgData name="Arjan van der Meer" userId="008f28a2-684e-4523-b3ca-dcb37d9c3e5d" providerId="ADAL" clId="{EDCE2028-0D12-4BF9-9B5B-480A0D187AD0}" dt="2021-10-26T09:54:23.495" v="1737"/>
          <ac:spMkLst>
            <pc:docMk/>
            <pc:sldMk cId="3073011292" sldId="1063"/>
            <ac:spMk id="67" creationId="{3D4BEFC5-2451-446F-8996-A825B8889C1F}"/>
          </ac:spMkLst>
        </pc:spChg>
        <pc:spChg chg="add mod">
          <ac:chgData name="Arjan van der Meer" userId="008f28a2-684e-4523-b3ca-dcb37d9c3e5d" providerId="ADAL" clId="{EDCE2028-0D12-4BF9-9B5B-480A0D187AD0}" dt="2021-10-26T09:54:23.495" v="1737"/>
          <ac:spMkLst>
            <pc:docMk/>
            <pc:sldMk cId="3073011292" sldId="1063"/>
            <ac:spMk id="71" creationId="{86C4ED43-FF99-44CD-A375-572A1E97100A}"/>
          </ac:spMkLst>
        </pc:spChg>
        <pc:spChg chg="add mod">
          <ac:chgData name="Arjan van der Meer" userId="008f28a2-684e-4523-b3ca-dcb37d9c3e5d" providerId="ADAL" clId="{EDCE2028-0D12-4BF9-9B5B-480A0D187AD0}" dt="2021-10-26T09:54:23.495" v="1737"/>
          <ac:spMkLst>
            <pc:docMk/>
            <pc:sldMk cId="3073011292" sldId="1063"/>
            <ac:spMk id="72" creationId="{4E1FDB4C-5EA5-491B-BF1B-6FAF8A2BF00D}"/>
          </ac:spMkLst>
        </pc:spChg>
        <pc:spChg chg="add mod">
          <ac:chgData name="Arjan van der Meer" userId="008f28a2-684e-4523-b3ca-dcb37d9c3e5d" providerId="ADAL" clId="{EDCE2028-0D12-4BF9-9B5B-480A0D187AD0}" dt="2021-10-26T09:54:23.495" v="1737"/>
          <ac:spMkLst>
            <pc:docMk/>
            <pc:sldMk cId="3073011292" sldId="1063"/>
            <ac:spMk id="73" creationId="{4EEB8E8B-301A-4678-B616-6D526599BCCA}"/>
          </ac:spMkLst>
        </pc:spChg>
        <pc:spChg chg="add mod">
          <ac:chgData name="Arjan van der Meer" userId="008f28a2-684e-4523-b3ca-dcb37d9c3e5d" providerId="ADAL" clId="{EDCE2028-0D12-4BF9-9B5B-480A0D187AD0}" dt="2021-10-26T09:54:23.495" v="1737"/>
          <ac:spMkLst>
            <pc:docMk/>
            <pc:sldMk cId="3073011292" sldId="1063"/>
            <ac:spMk id="74" creationId="{A9429BF1-A873-4EFC-B3E0-E63AEE536BD5}"/>
          </ac:spMkLst>
        </pc:spChg>
        <pc:spChg chg="add del mod">
          <ac:chgData name="Arjan van der Meer" userId="008f28a2-684e-4523-b3ca-dcb37d9c3e5d" providerId="ADAL" clId="{EDCE2028-0D12-4BF9-9B5B-480A0D187AD0}" dt="2021-10-26T10:07:24.078" v="1887" actId="478"/>
          <ac:spMkLst>
            <pc:docMk/>
            <pc:sldMk cId="3073011292" sldId="1063"/>
            <ac:spMk id="77" creationId="{C573D1F4-7391-4202-BDA9-C6116FDB76F2}"/>
          </ac:spMkLst>
        </pc:spChg>
        <pc:spChg chg="add mod">
          <ac:chgData name="Arjan van der Meer" userId="008f28a2-684e-4523-b3ca-dcb37d9c3e5d" providerId="ADAL" clId="{EDCE2028-0D12-4BF9-9B5B-480A0D187AD0}" dt="2021-10-26T10:07:26.309" v="1888"/>
          <ac:spMkLst>
            <pc:docMk/>
            <pc:sldMk cId="3073011292" sldId="1063"/>
            <ac:spMk id="80" creationId="{45C8D6E2-0BCB-4BFE-B722-C3EA5658023F}"/>
          </ac:spMkLst>
        </pc:spChg>
        <pc:spChg chg="add mod">
          <ac:chgData name="Arjan van der Meer" userId="008f28a2-684e-4523-b3ca-dcb37d9c3e5d" providerId="ADAL" clId="{EDCE2028-0D12-4BF9-9B5B-480A0D187AD0}" dt="2021-10-26T10:07:26.309" v="1888"/>
          <ac:spMkLst>
            <pc:docMk/>
            <pc:sldMk cId="3073011292" sldId="1063"/>
            <ac:spMk id="81" creationId="{0A109274-B6F4-4B25-99C2-66DE8F1A677B}"/>
          </ac:spMkLst>
        </pc:spChg>
        <pc:spChg chg="add mod">
          <ac:chgData name="Arjan van der Meer" userId="008f28a2-684e-4523-b3ca-dcb37d9c3e5d" providerId="ADAL" clId="{EDCE2028-0D12-4BF9-9B5B-480A0D187AD0}" dt="2021-10-26T10:07:26.309" v="1888"/>
          <ac:spMkLst>
            <pc:docMk/>
            <pc:sldMk cId="3073011292" sldId="1063"/>
            <ac:spMk id="82" creationId="{43529626-15DF-464D-AC44-59E784CD31A7}"/>
          </ac:spMkLst>
        </pc:spChg>
        <pc:spChg chg="add mod">
          <ac:chgData name="Arjan van der Meer" userId="008f28a2-684e-4523-b3ca-dcb37d9c3e5d" providerId="ADAL" clId="{EDCE2028-0D12-4BF9-9B5B-480A0D187AD0}" dt="2021-10-26T10:07:46.899" v="1898" actId="1076"/>
          <ac:spMkLst>
            <pc:docMk/>
            <pc:sldMk cId="3073011292" sldId="1063"/>
            <ac:spMk id="87" creationId="{AD95D4C3-F3B7-4CA6-B406-E9FFEB10EFD8}"/>
          </ac:spMkLst>
        </pc:spChg>
        <pc:spChg chg="add mod">
          <ac:chgData name="Arjan van der Meer" userId="008f28a2-684e-4523-b3ca-dcb37d9c3e5d" providerId="ADAL" clId="{EDCE2028-0D12-4BF9-9B5B-480A0D187AD0}" dt="2021-10-26T10:07:54.738" v="1906" actId="20577"/>
          <ac:spMkLst>
            <pc:docMk/>
            <pc:sldMk cId="3073011292" sldId="1063"/>
            <ac:spMk id="88" creationId="{39EEF46E-AFAB-4A79-B251-E36F4B7A2524}"/>
          </ac:spMkLst>
        </pc:spChg>
        <pc:spChg chg="add mod">
          <ac:chgData name="Arjan van der Meer" userId="008f28a2-684e-4523-b3ca-dcb37d9c3e5d" providerId="ADAL" clId="{EDCE2028-0D12-4BF9-9B5B-480A0D187AD0}" dt="2021-10-26T10:08:13.578" v="1918" actId="1076"/>
          <ac:spMkLst>
            <pc:docMk/>
            <pc:sldMk cId="3073011292" sldId="1063"/>
            <ac:spMk id="89" creationId="{43BDC188-11A7-4578-8920-4418C89FF7B3}"/>
          </ac:spMkLst>
        </pc:spChg>
        <pc:cxnChg chg="del mod">
          <ac:chgData name="Arjan van der Meer" userId="008f28a2-684e-4523-b3ca-dcb37d9c3e5d" providerId="ADAL" clId="{EDCE2028-0D12-4BF9-9B5B-480A0D187AD0}" dt="2021-10-26T10:07:24.078" v="1887" actId="478"/>
          <ac:cxnSpMkLst>
            <pc:docMk/>
            <pc:sldMk cId="3073011292" sldId="1063"/>
            <ac:cxnSpMk id="7" creationId="{9C07DE62-A8D9-4B58-8D06-22DA10518B49}"/>
          </ac:cxnSpMkLst>
        </pc:cxnChg>
        <pc:cxnChg chg="add mod">
          <ac:chgData name="Arjan van der Meer" userId="008f28a2-684e-4523-b3ca-dcb37d9c3e5d" providerId="ADAL" clId="{EDCE2028-0D12-4BF9-9B5B-480A0D187AD0}" dt="2021-10-26T11:15:32.114" v="2116" actId="14100"/>
          <ac:cxnSpMkLst>
            <pc:docMk/>
            <pc:sldMk cId="3073011292" sldId="1063"/>
            <ac:cxnSpMk id="10" creationId="{D53EF7E9-6EE6-4CDD-A474-D51203120720}"/>
          </ac:cxnSpMkLst>
        </pc:cxnChg>
        <pc:cxnChg chg="add mod">
          <ac:chgData name="Arjan van der Meer" userId="008f28a2-684e-4523-b3ca-dcb37d9c3e5d" providerId="ADAL" clId="{EDCE2028-0D12-4BF9-9B5B-480A0D187AD0}" dt="2021-10-26T11:15:27.126" v="2115" actId="14100"/>
          <ac:cxnSpMkLst>
            <pc:docMk/>
            <pc:sldMk cId="3073011292" sldId="1063"/>
            <ac:cxnSpMk id="13" creationId="{247A946F-16B8-40E2-B3EA-2F9F501D1EDA}"/>
          </ac:cxnSpMkLst>
        </pc:cxnChg>
        <pc:cxnChg chg="add del mod">
          <ac:chgData name="Arjan van der Meer" userId="008f28a2-684e-4523-b3ca-dcb37d9c3e5d" providerId="ADAL" clId="{EDCE2028-0D12-4BF9-9B5B-480A0D187AD0}" dt="2021-10-26T10:05:34.159" v="1816" actId="478"/>
          <ac:cxnSpMkLst>
            <pc:docMk/>
            <pc:sldMk cId="3073011292" sldId="1063"/>
            <ac:cxnSpMk id="21" creationId="{D59A5F9D-AE06-4365-B152-399AFD6D26A0}"/>
          </ac:cxnSpMkLst>
        </pc:cxnChg>
        <pc:cxnChg chg="add del mod">
          <ac:chgData name="Arjan van der Meer" userId="008f28a2-684e-4523-b3ca-dcb37d9c3e5d" providerId="ADAL" clId="{EDCE2028-0D12-4BF9-9B5B-480A0D187AD0}" dt="2021-10-26T10:05:46.239" v="1819" actId="478"/>
          <ac:cxnSpMkLst>
            <pc:docMk/>
            <pc:sldMk cId="3073011292" sldId="1063"/>
            <ac:cxnSpMk id="23" creationId="{CC5CBAA2-7131-43AD-8BDD-F93E4C6C0768}"/>
          </ac:cxnSpMkLst>
        </pc:cxnChg>
        <pc:cxnChg chg="add mod">
          <ac:chgData name="Arjan van der Meer" userId="008f28a2-684e-4523-b3ca-dcb37d9c3e5d" providerId="ADAL" clId="{EDCE2028-0D12-4BF9-9B5B-480A0D187AD0}" dt="2021-10-26T10:06:31.595" v="1822" actId="13822"/>
          <ac:cxnSpMkLst>
            <pc:docMk/>
            <pc:sldMk cId="3073011292" sldId="1063"/>
            <ac:cxnSpMk id="26" creationId="{CCCBE7DE-0D5C-411C-B0AA-A8FA9FFEF73F}"/>
          </ac:cxnSpMkLst>
        </pc:cxnChg>
        <pc:cxnChg chg="add del mod">
          <ac:chgData name="Arjan van der Meer" userId="008f28a2-684e-4523-b3ca-dcb37d9c3e5d" providerId="ADAL" clId="{EDCE2028-0D12-4BF9-9B5B-480A0D187AD0}" dt="2021-10-26T09:54:15.350" v="1736" actId="478"/>
          <ac:cxnSpMkLst>
            <pc:docMk/>
            <pc:sldMk cId="3073011292" sldId="1063"/>
            <ac:cxnSpMk id="48" creationId="{286D8ADD-8B30-4519-966C-1C1A2E643009}"/>
          </ac:cxnSpMkLst>
        </pc:cxnChg>
        <pc:cxnChg chg="del mod">
          <ac:chgData name="Arjan van der Meer" userId="008f28a2-684e-4523-b3ca-dcb37d9c3e5d" providerId="ADAL" clId="{EDCE2028-0D12-4BF9-9B5B-480A0D187AD0}" dt="2021-10-26T09:54:15.350" v="1736" actId="478"/>
          <ac:cxnSpMkLst>
            <pc:docMk/>
            <pc:sldMk cId="3073011292" sldId="1063"/>
            <ac:cxnSpMk id="49" creationId="{DDCA1091-D361-430C-827D-D3C762563321}"/>
          </ac:cxnSpMkLst>
        </pc:cxnChg>
        <pc:cxnChg chg="del mod">
          <ac:chgData name="Arjan van der Meer" userId="008f28a2-684e-4523-b3ca-dcb37d9c3e5d" providerId="ADAL" clId="{EDCE2028-0D12-4BF9-9B5B-480A0D187AD0}" dt="2021-10-26T09:54:15.350" v="1736" actId="478"/>
          <ac:cxnSpMkLst>
            <pc:docMk/>
            <pc:sldMk cId="3073011292" sldId="1063"/>
            <ac:cxnSpMk id="50" creationId="{B7522B28-564A-49F2-BBE9-9D02968C1FA2}"/>
          </ac:cxnSpMkLst>
        </pc:cxnChg>
        <pc:cxnChg chg="del mod">
          <ac:chgData name="Arjan van der Meer" userId="008f28a2-684e-4523-b3ca-dcb37d9c3e5d" providerId="ADAL" clId="{EDCE2028-0D12-4BF9-9B5B-480A0D187AD0}" dt="2021-10-26T09:50:56.452" v="1647" actId="478"/>
          <ac:cxnSpMkLst>
            <pc:docMk/>
            <pc:sldMk cId="3073011292" sldId="1063"/>
            <ac:cxnSpMk id="51" creationId="{11060D11-EC1E-4458-ABF7-17E2EC4BB6DF}"/>
          </ac:cxnSpMkLst>
        </pc:cxnChg>
        <pc:cxnChg chg="del mod">
          <ac:chgData name="Arjan van der Meer" userId="008f28a2-684e-4523-b3ca-dcb37d9c3e5d" providerId="ADAL" clId="{EDCE2028-0D12-4BF9-9B5B-480A0D187AD0}" dt="2021-10-26T10:07:24.078" v="1887" actId="478"/>
          <ac:cxnSpMkLst>
            <pc:docMk/>
            <pc:sldMk cId="3073011292" sldId="1063"/>
            <ac:cxnSpMk id="60" creationId="{CBAA7CE2-9385-430B-A8A1-EF8DD6393C2C}"/>
          </ac:cxnSpMkLst>
        </pc:cxnChg>
        <pc:cxnChg chg="add mod">
          <ac:chgData name="Arjan van der Meer" userId="008f28a2-684e-4523-b3ca-dcb37d9c3e5d" providerId="ADAL" clId="{EDCE2028-0D12-4BF9-9B5B-480A0D187AD0}" dt="2021-10-26T09:54:23.495" v="1737"/>
          <ac:cxnSpMkLst>
            <pc:docMk/>
            <pc:sldMk cId="3073011292" sldId="1063"/>
            <ac:cxnSpMk id="68" creationId="{D84A51F1-F4C4-4D11-80CF-02B7FCC630B6}"/>
          </ac:cxnSpMkLst>
        </pc:cxnChg>
        <pc:cxnChg chg="add mod">
          <ac:chgData name="Arjan van der Meer" userId="008f28a2-684e-4523-b3ca-dcb37d9c3e5d" providerId="ADAL" clId="{EDCE2028-0D12-4BF9-9B5B-480A0D187AD0}" dt="2021-10-26T09:54:23.495" v="1737"/>
          <ac:cxnSpMkLst>
            <pc:docMk/>
            <pc:sldMk cId="3073011292" sldId="1063"/>
            <ac:cxnSpMk id="69" creationId="{560A203F-0AC1-4D6B-9A8A-ABC1912C3604}"/>
          </ac:cxnSpMkLst>
        </pc:cxnChg>
        <pc:cxnChg chg="add mod">
          <ac:chgData name="Arjan van der Meer" userId="008f28a2-684e-4523-b3ca-dcb37d9c3e5d" providerId="ADAL" clId="{EDCE2028-0D12-4BF9-9B5B-480A0D187AD0}" dt="2021-10-26T09:54:23.495" v="1737"/>
          <ac:cxnSpMkLst>
            <pc:docMk/>
            <pc:sldMk cId="3073011292" sldId="1063"/>
            <ac:cxnSpMk id="70" creationId="{130A31A3-F304-4C29-8053-5809AF8D6A53}"/>
          </ac:cxnSpMkLst>
        </pc:cxnChg>
        <pc:cxnChg chg="add del mod">
          <ac:chgData name="Arjan van der Meer" userId="008f28a2-684e-4523-b3ca-dcb37d9c3e5d" providerId="ADAL" clId="{EDCE2028-0D12-4BF9-9B5B-480A0D187AD0}" dt="2021-10-26T09:54:28.836" v="1739" actId="478"/>
          <ac:cxnSpMkLst>
            <pc:docMk/>
            <pc:sldMk cId="3073011292" sldId="1063"/>
            <ac:cxnSpMk id="75" creationId="{852A8F95-57A3-43FA-AB2B-BA9400F83F34}"/>
          </ac:cxnSpMkLst>
        </pc:cxnChg>
        <pc:cxnChg chg="add del mod">
          <ac:chgData name="Arjan van der Meer" userId="008f28a2-684e-4523-b3ca-dcb37d9c3e5d" providerId="ADAL" clId="{EDCE2028-0D12-4BF9-9B5B-480A0D187AD0}" dt="2021-10-26T09:54:27.153" v="1738" actId="478"/>
          <ac:cxnSpMkLst>
            <pc:docMk/>
            <pc:sldMk cId="3073011292" sldId="1063"/>
            <ac:cxnSpMk id="76" creationId="{66AFB726-C99B-4EDB-A682-871EDFD4F9D5}"/>
          </ac:cxnSpMkLst>
        </pc:cxnChg>
        <pc:cxnChg chg="add mod">
          <ac:chgData name="Arjan van der Meer" userId="008f28a2-684e-4523-b3ca-dcb37d9c3e5d" providerId="ADAL" clId="{EDCE2028-0D12-4BF9-9B5B-480A0D187AD0}" dt="2021-10-26T10:01:21.458" v="1752"/>
          <ac:cxnSpMkLst>
            <pc:docMk/>
            <pc:sldMk cId="3073011292" sldId="1063"/>
            <ac:cxnSpMk id="78" creationId="{24EA6ACA-2BDE-46B9-AE21-48C699E1B253}"/>
          </ac:cxnSpMkLst>
        </pc:cxnChg>
        <pc:cxnChg chg="add mod">
          <ac:chgData name="Arjan van der Meer" userId="008f28a2-684e-4523-b3ca-dcb37d9c3e5d" providerId="ADAL" clId="{EDCE2028-0D12-4BF9-9B5B-480A0D187AD0}" dt="2021-10-26T10:01:21.458" v="1752"/>
          <ac:cxnSpMkLst>
            <pc:docMk/>
            <pc:sldMk cId="3073011292" sldId="1063"/>
            <ac:cxnSpMk id="79" creationId="{3904C8F0-E818-45F0-957C-FDEA5F6F5B69}"/>
          </ac:cxnSpMkLst>
        </pc:cxnChg>
        <pc:cxnChg chg="add mod">
          <ac:chgData name="Arjan van der Meer" userId="008f28a2-684e-4523-b3ca-dcb37d9c3e5d" providerId="ADAL" clId="{EDCE2028-0D12-4BF9-9B5B-480A0D187AD0}" dt="2021-10-26T10:07:26.309" v="1888"/>
          <ac:cxnSpMkLst>
            <pc:docMk/>
            <pc:sldMk cId="3073011292" sldId="1063"/>
            <ac:cxnSpMk id="83" creationId="{AD51DCB4-33D3-49C6-9647-175ED1DADAB3}"/>
          </ac:cxnSpMkLst>
        </pc:cxnChg>
        <pc:cxnChg chg="add mod">
          <ac:chgData name="Arjan van der Meer" userId="008f28a2-684e-4523-b3ca-dcb37d9c3e5d" providerId="ADAL" clId="{EDCE2028-0D12-4BF9-9B5B-480A0D187AD0}" dt="2021-10-26T10:07:26.309" v="1888"/>
          <ac:cxnSpMkLst>
            <pc:docMk/>
            <pc:sldMk cId="3073011292" sldId="1063"/>
            <ac:cxnSpMk id="84" creationId="{5A74DB1F-C09A-4D3C-9749-E993C659BD8A}"/>
          </ac:cxnSpMkLst>
        </pc:cxnChg>
        <pc:cxnChg chg="add mod">
          <ac:chgData name="Arjan van der Meer" userId="008f28a2-684e-4523-b3ca-dcb37d9c3e5d" providerId="ADAL" clId="{EDCE2028-0D12-4BF9-9B5B-480A0D187AD0}" dt="2021-10-26T10:07:26.309" v="1888"/>
          <ac:cxnSpMkLst>
            <pc:docMk/>
            <pc:sldMk cId="3073011292" sldId="1063"/>
            <ac:cxnSpMk id="85" creationId="{800E48A1-9F28-49B2-A9A2-898875774F6C}"/>
          </ac:cxnSpMkLst>
        </pc:cxnChg>
        <pc:cxnChg chg="add mod">
          <ac:chgData name="Arjan van der Meer" userId="008f28a2-684e-4523-b3ca-dcb37d9c3e5d" providerId="ADAL" clId="{EDCE2028-0D12-4BF9-9B5B-480A0D187AD0}" dt="2021-10-26T10:07:26.309" v="1888"/>
          <ac:cxnSpMkLst>
            <pc:docMk/>
            <pc:sldMk cId="3073011292" sldId="1063"/>
            <ac:cxnSpMk id="86" creationId="{4D9386AE-A2F8-40AD-B8FC-993A48C8C6AE}"/>
          </ac:cxnSpMkLst>
        </pc:cxnChg>
      </pc:sldChg>
      <pc:sldChg chg="modSp del mod modNotesTx">
        <pc:chgData name="Arjan van der Meer" userId="008f28a2-684e-4523-b3ca-dcb37d9c3e5d" providerId="ADAL" clId="{EDCE2028-0D12-4BF9-9B5B-480A0D187AD0}" dt="2021-10-26T09:21:36.719" v="1469" actId="2696"/>
        <pc:sldMkLst>
          <pc:docMk/>
          <pc:sldMk cId="1073877126" sldId="1064"/>
        </pc:sldMkLst>
        <pc:spChg chg="mod">
          <ac:chgData name="Arjan van der Meer" userId="008f28a2-684e-4523-b3ca-dcb37d9c3e5d" providerId="ADAL" clId="{EDCE2028-0D12-4BF9-9B5B-480A0D187AD0}" dt="2021-10-26T09:21:02.245" v="1468" actId="20577"/>
          <ac:spMkLst>
            <pc:docMk/>
            <pc:sldMk cId="1073877126" sldId="1064"/>
            <ac:spMk id="2" creationId="{53CB77FA-CF1B-4B0E-A304-10CE6620EE56}"/>
          </ac:spMkLst>
        </pc:spChg>
      </pc:sldChg>
      <pc:sldChg chg="addSp delSp modSp add mod modNotesTx">
        <pc:chgData name="Arjan van der Meer" userId="008f28a2-684e-4523-b3ca-dcb37d9c3e5d" providerId="ADAL" clId="{EDCE2028-0D12-4BF9-9B5B-480A0D187AD0}" dt="2021-10-26T11:26:33.108" v="2161" actId="692"/>
        <pc:sldMkLst>
          <pc:docMk/>
          <pc:sldMk cId="1950092934" sldId="1064"/>
        </pc:sldMkLst>
        <pc:spChg chg="mod">
          <ac:chgData name="Arjan van der Meer" userId="008f28a2-684e-4523-b3ca-dcb37d9c3e5d" providerId="ADAL" clId="{EDCE2028-0D12-4BF9-9B5B-480A0D187AD0}" dt="2021-10-26T09:23:15.146" v="1472" actId="20577"/>
          <ac:spMkLst>
            <pc:docMk/>
            <pc:sldMk cId="1950092934" sldId="1064"/>
            <ac:spMk id="2" creationId="{53CB77FA-CF1B-4B0E-A304-10CE6620EE56}"/>
          </ac:spMkLst>
        </pc:spChg>
        <pc:spChg chg="del">
          <ac:chgData name="Arjan van der Meer" userId="008f28a2-684e-4523-b3ca-dcb37d9c3e5d" providerId="ADAL" clId="{EDCE2028-0D12-4BF9-9B5B-480A0D187AD0}" dt="2021-10-26T11:10:14.532" v="2085" actId="478"/>
          <ac:spMkLst>
            <pc:docMk/>
            <pc:sldMk cId="1950092934" sldId="1064"/>
            <ac:spMk id="6" creationId="{875327F0-D0FC-4AFF-B5B4-12ED587C71F7}"/>
          </ac:spMkLst>
        </pc:spChg>
        <pc:spChg chg="add mod">
          <ac:chgData name="Arjan van der Meer" userId="008f28a2-684e-4523-b3ca-dcb37d9c3e5d" providerId="ADAL" clId="{EDCE2028-0D12-4BF9-9B5B-480A0D187AD0}" dt="2021-10-26T11:26:33.108" v="2161" actId="692"/>
          <ac:spMkLst>
            <pc:docMk/>
            <pc:sldMk cId="1950092934" sldId="1064"/>
            <ac:spMk id="7" creationId="{05BA8703-982C-4B3F-B875-AB6CC6887E4A}"/>
          </ac:spMkLst>
        </pc:spChg>
        <pc:spChg chg="mod">
          <ac:chgData name="Arjan van der Meer" userId="008f28a2-684e-4523-b3ca-dcb37d9c3e5d" providerId="ADAL" clId="{EDCE2028-0D12-4BF9-9B5B-480A0D187AD0}" dt="2021-10-26T11:07:15.209" v="2026" actId="20577"/>
          <ac:spMkLst>
            <pc:docMk/>
            <pc:sldMk cId="1950092934" sldId="1064"/>
            <ac:spMk id="19" creationId="{69D233B8-BD14-42F3-8D3D-E627BF753CE3}"/>
          </ac:spMkLst>
        </pc:spChg>
        <pc:spChg chg="mod">
          <ac:chgData name="Arjan van der Meer" userId="008f28a2-684e-4523-b3ca-dcb37d9c3e5d" providerId="ADAL" clId="{EDCE2028-0D12-4BF9-9B5B-480A0D187AD0}" dt="2021-10-26T11:09:05.603" v="2053" actId="1076"/>
          <ac:spMkLst>
            <pc:docMk/>
            <pc:sldMk cId="1950092934" sldId="1064"/>
            <ac:spMk id="20" creationId="{AE503076-64F9-4971-927E-2FB0D6A204CD}"/>
          </ac:spMkLst>
        </pc:spChg>
        <pc:spChg chg="mod">
          <ac:chgData name="Arjan van der Meer" userId="008f28a2-684e-4523-b3ca-dcb37d9c3e5d" providerId="ADAL" clId="{EDCE2028-0D12-4BF9-9B5B-480A0D187AD0}" dt="2021-10-26T11:09:01.411" v="2052" actId="1076"/>
          <ac:spMkLst>
            <pc:docMk/>
            <pc:sldMk cId="1950092934" sldId="1064"/>
            <ac:spMk id="21" creationId="{D353F02A-3E3E-4A23-B0B9-F898044D5C99}"/>
          </ac:spMkLst>
        </pc:spChg>
        <pc:spChg chg="mod">
          <ac:chgData name="Arjan van der Meer" userId="008f28a2-684e-4523-b3ca-dcb37d9c3e5d" providerId="ADAL" clId="{EDCE2028-0D12-4BF9-9B5B-480A0D187AD0}" dt="2021-10-26T11:09:26.166" v="2064" actId="1076"/>
          <ac:spMkLst>
            <pc:docMk/>
            <pc:sldMk cId="1950092934" sldId="1064"/>
            <ac:spMk id="22" creationId="{1349657E-0642-4270-9080-3D0A4538072D}"/>
          </ac:spMkLst>
        </pc:spChg>
        <pc:spChg chg="mod">
          <ac:chgData name="Arjan van der Meer" userId="008f28a2-684e-4523-b3ca-dcb37d9c3e5d" providerId="ADAL" clId="{EDCE2028-0D12-4BF9-9B5B-480A0D187AD0}" dt="2021-10-26T11:09:43.159" v="2074" actId="20577"/>
          <ac:spMkLst>
            <pc:docMk/>
            <pc:sldMk cId="1950092934" sldId="1064"/>
            <ac:spMk id="23" creationId="{D12F4F51-4D34-4E14-B4D5-B87447DB6D1E}"/>
          </ac:spMkLst>
        </pc:spChg>
        <pc:spChg chg="mod">
          <ac:chgData name="Arjan van der Meer" userId="008f28a2-684e-4523-b3ca-dcb37d9c3e5d" providerId="ADAL" clId="{EDCE2028-0D12-4BF9-9B5B-480A0D187AD0}" dt="2021-10-26T11:13:50.729" v="2111" actId="20577"/>
          <ac:spMkLst>
            <pc:docMk/>
            <pc:sldMk cId="1950092934" sldId="1064"/>
            <ac:spMk id="24" creationId="{25E4D455-DDDF-4DA5-9A71-54FF1AB6A335}"/>
          </ac:spMkLst>
        </pc:spChg>
        <pc:spChg chg="del">
          <ac:chgData name="Arjan van der Meer" userId="008f28a2-684e-4523-b3ca-dcb37d9c3e5d" providerId="ADAL" clId="{EDCE2028-0D12-4BF9-9B5B-480A0D187AD0}" dt="2021-10-26T11:10:14.532" v="2085" actId="478"/>
          <ac:spMkLst>
            <pc:docMk/>
            <pc:sldMk cId="1950092934" sldId="1064"/>
            <ac:spMk id="29" creationId="{35C691B4-681B-4AF2-913E-E5034EF490E2}"/>
          </ac:spMkLst>
        </pc:spChg>
        <pc:spChg chg="del">
          <ac:chgData name="Arjan van der Meer" userId="008f28a2-684e-4523-b3ca-dcb37d9c3e5d" providerId="ADAL" clId="{EDCE2028-0D12-4BF9-9B5B-480A0D187AD0}" dt="2021-10-26T11:10:14.532" v="2085" actId="478"/>
          <ac:spMkLst>
            <pc:docMk/>
            <pc:sldMk cId="1950092934" sldId="1064"/>
            <ac:spMk id="30" creationId="{988911F4-62F2-4781-B94E-F96F3DAC8702}"/>
          </ac:spMkLst>
        </pc:spChg>
        <pc:spChg chg="add mod">
          <ac:chgData name="Arjan van der Meer" userId="008f28a2-684e-4523-b3ca-dcb37d9c3e5d" providerId="ADAL" clId="{EDCE2028-0D12-4BF9-9B5B-480A0D187AD0}" dt="2021-10-26T11:06:53.559" v="2016"/>
          <ac:spMkLst>
            <pc:docMk/>
            <pc:sldMk cId="1950092934" sldId="1064"/>
            <ac:spMk id="40" creationId="{333E5308-DD15-4E24-9AFF-66AA31C7A3E0}"/>
          </ac:spMkLst>
        </pc:spChg>
        <pc:spChg chg="add mod">
          <ac:chgData name="Arjan van der Meer" userId="008f28a2-684e-4523-b3ca-dcb37d9c3e5d" providerId="ADAL" clId="{EDCE2028-0D12-4BF9-9B5B-480A0D187AD0}" dt="2021-10-26T11:06:53.559" v="2016"/>
          <ac:spMkLst>
            <pc:docMk/>
            <pc:sldMk cId="1950092934" sldId="1064"/>
            <ac:spMk id="41" creationId="{CB920421-3AA7-4EFA-B205-1BB780993467}"/>
          </ac:spMkLst>
        </pc:spChg>
        <pc:spChg chg="add mod">
          <ac:chgData name="Arjan van der Meer" userId="008f28a2-684e-4523-b3ca-dcb37d9c3e5d" providerId="ADAL" clId="{EDCE2028-0D12-4BF9-9B5B-480A0D187AD0}" dt="2021-10-26T11:06:53.559" v="2016"/>
          <ac:spMkLst>
            <pc:docMk/>
            <pc:sldMk cId="1950092934" sldId="1064"/>
            <ac:spMk id="43" creationId="{556D8970-073C-41AB-8678-177186CB11B3}"/>
          </ac:spMkLst>
        </pc:spChg>
        <pc:spChg chg="add del mod">
          <ac:chgData name="Arjan van der Meer" userId="008f28a2-684e-4523-b3ca-dcb37d9c3e5d" providerId="ADAL" clId="{EDCE2028-0D12-4BF9-9B5B-480A0D187AD0}" dt="2021-10-26T11:17:46.025" v="2125" actId="478"/>
          <ac:spMkLst>
            <pc:docMk/>
            <pc:sldMk cId="1950092934" sldId="1064"/>
            <ac:spMk id="44" creationId="{18DC84B4-5574-4601-B246-452349F79999}"/>
          </ac:spMkLst>
        </pc:spChg>
        <pc:spChg chg="add del mod">
          <ac:chgData name="Arjan van der Meer" userId="008f28a2-684e-4523-b3ca-dcb37d9c3e5d" providerId="ADAL" clId="{EDCE2028-0D12-4BF9-9B5B-480A0D187AD0}" dt="2021-10-26T11:17:46.025" v="2125" actId="478"/>
          <ac:spMkLst>
            <pc:docMk/>
            <pc:sldMk cId="1950092934" sldId="1064"/>
            <ac:spMk id="45" creationId="{EAFACA46-7B29-4E47-8698-9CB1B2D7DFE8}"/>
          </ac:spMkLst>
        </pc:spChg>
        <pc:spChg chg="add del mod">
          <ac:chgData name="Arjan van der Meer" userId="008f28a2-684e-4523-b3ca-dcb37d9c3e5d" providerId="ADAL" clId="{EDCE2028-0D12-4BF9-9B5B-480A0D187AD0}" dt="2021-10-26T11:17:46.025" v="2125" actId="478"/>
          <ac:spMkLst>
            <pc:docMk/>
            <pc:sldMk cId="1950092934" sldId="1064"/>
            <ac:spMk id="46" creationId="{92CFFC24-D7F3-46E6-AC66-985CFAC1EE12}"/>
          </ac:spMkLst>
        </pc:spChg>
        <pc:spChg chg="del">
          <ac:chgData name="Arjan van der Meer" userId="008f28a2-684e-4523-b3ca-dcb37d9c3e5d" providerId="ADAL" clId="{EDCE2028-0D12-4BF9-9B5B-480A0D187AD0}" dt="2021-10-26T11:10:14.532" v="2085" actId="478"/>
          <ac:spMkLst>
            <pc:docMk/>
            <pc:sldMk cId="1950092934" sldId="1064"/>
            <ac:spMk id="47" creationId="{A64B8C9F-51E4-416E-8E77-21CB048041C9}"/>
          </ac:spMkLst>
        </pc:spChg>
        <pc:spChg chg="del">
          <ac:chgData name="Arjan van der Meer" userId="008f28a2-684e-4523-b3ca-dcb37d9c3e5d" providerId="ADAL" clId="{EDCE2028-0D12-4BF9-9B5B-480A0D187AD0}" dt="2021-10-26T11:16:46.664" v="2119" actId="478"/>
          <ac:spMkLst>
            <pc:docMk/>
            <pc:sldMk cId="1950092934" sldId="1064"/>
            <ac:spMk id="60" creationId="{0B0D5852-EE35-4561-BFE8-AA24EB4DAD9F}"/>
          </ac:spMkLst>
        </pc:spChg>
        <pc:spChg chg="del">
          <ac:chgData name="Arjan van der Meer" userId="008f28a2-684e-4523-b3ca-dcb37d9c3e5d" providerId="ADAL" clId="{EDCE2028-0D12-4BF9-9B5B-480A0D187AD0}" dt="2021-10-26T11:10:14.532" v="2085" actId="478"/>
          <ac:spMkLst>
            <pc:docMk/>
            <pc:sldMk cId="1950092934" sldId="1064"/>
            <ac:spMk id="61" creationId="{74058A14-A379-4355-9960-CABE3B74D8D1}"/>
          </ac:spMkLst>
        </pc:spChg>
        <pc:spChg chg="del">
          <ac:chgData name="Arjan van der Meer" userId="008f28a2-684e-4523-b3ca-dcb37d9c3e5d" providerId="ADAL" clId="{EDCE2028-0D12-4BF9-9B5B-480A0D187AD0}" dt="2021-10-26T11:10:14.532" v="2085" actId="478"/>
          <ac:spMkLst>
            <pc:docMk/>
            <pc:sldMk cId="1950092934" sldId="1064"/>
            <ac:spMk id="63" creationId="{7159EEF3-DA0B-4A79-8EA6-B7D63840F6BA}"/>
          </ac:spMkLst>
        </pc:spChg>
        <pc:spChg chg="del">
          <ac:chgData name="Arjan van der Meer" userId="008f28a2-684e-4523-b3ca-dcb37d9c3e5d" providerId="ADAL" clId="{EDCE2028-0D12-4BF9-9B5B-480A0D187AD0}" dt="2021-10-26T11:16:46.664" v="2119" actId="478"/>
          <ac:spMkLst>
            <pc:docMk/>
            <pc:sldMk cId="1950092934" sldId="1064"/>
            <ac:spMk id="64" creationId="{0236EF38-BC16-4445-B09B-75D3794DA876}"/>
          </ac:spMkLst>
        </pc:spChg>
        <pc:spChg chg="del">
          <ac:chgData name="Arjan van der Meer" userId="008f28a2-684e-4523-b3ca-dcb37d9c3e5d" providerId="ADAL" clId="{EDCE2028-0D12-4BF9-9B5B-480A0D187AD0}" dt="2021-10-26T11:16:46.664" v="2119" actId="478"/>
          <ac:spMkLst>
            <pc:docMk/>
            <pc:sldMk cId="1950092934" sldId="1064"/>
            <ac:spMk id="66" creationId="{F281DEA3-5CB1-45E3-9241-F6431917B150}"/>
          </ac:spMkLst>
        </pc:spChg>
        <pc:spChg chg="add del mod">
          <ac:chgData name="Arjan van der Meer" userId="008f28a2-684e-4523-b3ca-dcb37d9c3e5d" providerId="ADAL" clId="{EDCE2028-0D12-4BF9-9B5B-480A0D187AD0}" dt="2021-10-26T11:17:46.025" v="2125" actId="478"/>
          <ac:spMkLst>
            <pc:docMk/>
            <pc:sldMk cId="1950092934" sldId="1064"/>
            <ac:spMk id="68" creationId="{4809ED20-037E-492B-9AFC-59DB4468EF9B}"/>
          </ac:spMkLst>
        </pc:spChg>
        <pc:spChg chg="add del mod">
          <ac:chgData name="Arjan van der Meer" userId="008f28a2-684e-4523-b3ca-dcb37d9c3e5d" providerId="ADAL" clId="{EDCE2028-0D12-4BF9-9B5B-480A0D187AD0}" dt="2021-10-26T11:17:46.025" v="2125" actId="478"/>
          <ac:spMkLst>
            <pc:docMk/>
            <pc:sldMk cId="1950092934" sldId="1064"/>
            <ac:spMk id="70" creationId="{F6EFEA97-24CA-4D7A-B9A9-5FDC68A94640}"/>
          </ac:spMkLst>
        </pc:spChg>
        <pc:spChg chg="add del mod">
          <ac:chgData name="Arjan van der Meer" userId="008f28a2-684e-4523-b3ca-dcb37d9c3e5d" providerId="ADAL" clId="{EDCE2028-0D12-4BF9-9B5B-480A0D187AD0}" dt="2021-10-26T11:17:46.025" v="2125" actId="478"/>
          <ac:spMkLst>
            <pc:docMk/>
            <pc:sldMk cId="1950092934" sldId="1064"/>
            <ac:spMk id="71" creationId="{94B2C327-7CBB-46F8-B324-260F9324F8DE}"/>
          </ac:spMkLst>
        </pc:spChg>
        <pc:spChg chg="add del mod">
          <ac:chgData name="Arjan van der Meer" userId="008f28a2-684e-4523-b3ca-dcb37d9c3e5d" providerId="ADAL" clId="{EDCE2028-0D12-4BF9-9B5B-480A0D187AD0}" dt="2021-10-26T11:17:18.375" v="2124" actId="478"/>
          <ac:spMkLst>
            <pc:docMk/>
            <pc:sldMk cId="1950092934" sldId="1064"/>
            <ac:spMk id="72" creationId="{321395BA-65D6-4ACB-8404-253692F6C626}"/>
          </ac:spMkLst>
        </pc:spChg>
        <pc:spChg chg="add mod">
          <ac:chgData name="Arjan van der Meer" userId="008f28a2-684e-4523-b3ca-dcb37d9c3e5d" providerId="ADAL" clId="{EDCE2028-0D12-4BF9-9B5B-480A0D187AD0}" dt="2021-10-26T11:17:47.287" v="2126"/>
          <ac:spMkLst>
            <pc:docMk/>
            <pc:sldMk cId="1950092934" sldId="1064"/>
            <ac:spMk id="73" creationId="{11371509-A145-4083-8C77-13BCE839A5E3}"/>
          </ac:spMkLst>
        </pc:spChg>
        <pc:spChg chg="add mod">
          <ac:chgData name="Arjan van der Meer" userId="008f28a2-684e-4523-b3ca-dcb37d9c3e5d" providerId="ADAL" clId="{EDCE2028-0D12-4BF9-9B5B-480A0D187AD0}" dt="2021-10-26T11:17:47.287" v="2126"/>
          <ac:spMkLst>
            <pc:docMk/>
            <pc:sldMk cId="1950092934" sldId="1064"/>
            <ac:spMk id="75" creationId="{C73EE4B1-59B8-45F6-94D3-693F21BB1689}"/>
          </ac:spMkLst>
        </pc:spChg>
        <pc:spChg chg="add mod">
          <ac:chgData name="Arjan van der Meer" userId="008f28a2-684e-4523-b3ca-dcb37d9c3e5d" providerId="ADAL" clId="{EDCE2028-0D12-4BF9-9B5B-480A0D187AD0}" dt="2021-10-26T11:17:47.287" v="2126"/>
          <ac:spMkLst>
            <pc:docMk/>
            <pc:sldMk cId="1950092934" sldId="1064"/>
            <ac:spMk id="77" creationId="{62436EC8-1385-4D53-B153-341C14F149AD}"/>
          </ac:spMkLst>
        </pc:spChg>
        <pc:spChg chg="add mod">
          <ac:chgData name="Arjan van der Meer" userId="008f28a2-684e-4523-b3ca-dcb37d9c3e5d" providerId="ADAL" clId="{EDCE2028-0D12-4BF9-9B5B-480A0D187AD0}" dt="2021-10-26T11:17:47.287" v="2126"/>
          <ac:spMkLst>
            <pc:docMk/>
            <pc:sldMk cId="1950092934" sldId="1064"/>
            <ac:spMk id="78" creationId="{ECB98BE5-D6E8-4326-8EFE-EE28823681BA}"/>
          </ac:spMkLst>
        </pc:spChg>
        <pc:cxnChg chg="del mod">
          <ac:chgData name="Arjan van der Meer" userId="008f28a2-684e-4523-b3ca-dcb37d9c3e5d" providerId="ADAL" clId="{EDCE2028-0D12-4BF9-9B5B-480A0D187AD0}" dt="2021-10-26T11:10:14.532" v="2085" actId="478"/>
          <ac:cxnSpMkLst>
            <pc:docMk/>
            <pc:sldMk cId="1950092934" sldId="1064"/>
            <ac:cxnSpMk id="10" creationId="{7E792568-6D0C-4E30-B193-8933D6B2FA2D}"/>
          </ac:cxnSpMkLst>
        </pc:cxnChg>
        <pc:cxnChg chg="del mod">
          <ac:chgData name="Arjan van der Meer" userId="008f28a2-684e-4523-b3ca-dcb37d9c3e5d" providerId="ADAL" clId="{EDCE2028-0D12-4BF9-9B5B-480A0D187AD0}" dt="2021-10-26T11:10:14.532" v="2085" actId="478"/>
          <ac:cxnSpMkLst>
            <pc:docMk/>
            <pc:sldMk cId="1950092934" sldId="1064"/>
            <ac:cxnSpMk id="14" creationId="{5C1B9866-E2AD-4B54-88FE-CA9CCAE76C52}"/>
          </ac:cxnSpMkLst>
        </pc:cxnChg>
        <pc:cxnChg chg="del mod">
          <ac:chgData name="Arjan van der Meer" userId="008f28a2-684e-4523-b3ca-dcb37d9c3e5d" providerId="ADAL" clId="{EDCE2028-0D12-4BF9-9B5B-480A0D187AD0}" dt="2021-10-26T11:10:14.532" v="2085" actId="478"/>
          <ac:cxnSpMkLst>
            <pc:docMk/>
            <pc:sldMk cId="1950092934" sldId="1064"/>
            <ac:cxnSpMk id="16" creationId="{CB9C8DE1-5A04-4A9F-A82D-B5F9071E69EC}"/>
          </ac:cxnSpMkLst>
        </pc:cxnChg>
        <pc:cxnChg chg="del mod">
          <ac:chgData name="Arjan van der Meer" userId="008f28a2-684e-4523-b3ca-dcb37d9c3e5d" providerId="ADAL" clId="{EDCE2028-0D12-4BF9-9B5B-480A0D187AD0}" dt="2021-10-26T11:10:14.532" v="2085" actId="478"/>
          <ac:cxnSpMkLst>
            <pc:docMk/>
            <pc:sldMk cId="1950092934" sldId="1064"/>
            <ac:cxnSpMk id="18" creationId="{D2A4C615-3DA9-4D6C-BF6D-AF96B5E8DCBC}"/>
          </ac:cxnSpMkLst>
        </pc:cxnChg>
        <pc:cxnChg chg="mod">
          <ac:chgData name="Arjan van der Meer" userId="008f28a2-684e-4523-b3ca-dcb37d9c3e5d" providerId="ADAL" clId="{EDCE2028-0D12-4BF9-9B5B-480A0D187AD0}" dt="2021-10-26T11:17:05.065" v="2121" actId="14100"/>
          <ac:cxnSpMkLst>
            <pc:docMk/>
            <pc:sldMk cId="1950092934" sldId="1064"/>
            <ac:cxnSpMk id="32" creationId="{4058D355-B1C2-4492-BCF0-3609222B0EC2}"/>
          </ac:cxnSpMkLst>
        </pc:cxnChg>
        <pc:cxnChg chg="mod">
          <ac:chgData name="Arjan van der Meer" userId="008f28a2-684e-4523-b3ca-dcb37d9c3e5d" providerId="ADAL" clId="{EDCE2028-0D12-4BF9-9B5B-480A0D187AD0}" dt="2021-10-26T11:17:06.987" v="2122" actId="14100"/>
          <ac:cxnSpMkLst>
            <pc:docMk/>
            <pc:sldMk cId="1950092934" sldId="1064"/>
            <ac:cxnSpMk id="42" creationId="{85CDD86E-AAF5-44C7-AFE9-0C7E54C84EE7}"/>
          </ac:cxnSpMkLst>
        </pc:cxnChg>
        <pc:cxnChg chg="add del mod">
          <ac:chgData name="Arjan van der Meer" userId="008f28a2-684e-4523-b3ca-dcb37d9c3e5d" providerId="ADAL" clId="{EDCE2028-0D12-4BF9-9B5B-480A0D187AD0}" dt="2021-10-26T11:17:46.025" v="2125" actId="478"/>
          <ac:cxnSpMkLst>
            <pc:docMk/>
            <pc:sldMk cId="1950092934" sldId="1064"/>
            <ac:cxnSpMk id="50" creationId="{F936CF2D-E371-4201-8775-CDBA1D94CD0D}"/>
          </ac:cxnSpMkLst>
        </pc:cxnChg>
        <pc:cxnChg chg="add del mod">
          <ac:chgData name="Arjan van der Meer" userId="008f28a2-684e-4523-b3ca-dcb37d9c3e5d" providerId="ADAL" clId="{EDCE2028-0D12-4BF9-9B5B-480A0D187AD0}" dt="2021-10-26T11:17:46.025" v="2125" actId="478"/>
          <ac:cxnSpMkLst>
            <pc:docMk/>
            <pc:sldMk cId="1950092934" sldId="1064"/>
            <ac:cxnSpMk id="51" creationId="{ACBFF67B-F08A-4ECF-B374-76917FB9355C}"/>
          </ac:cxnSpMkLst>
        </pc:cxnChg>
        <pc:cxnChg chg="mod">
          <ac:chgData name="Arjan van der Meer" userId="008f28a2-684e-4523-b3ca-dcb37d9c3e5d" providerId="ADAL" clId="{EDCE2028-0D12-4BF9-9B5B-480A0D187AD0}" dt="2021-10-26T11:17:09.423" v="2123" actId="14100"/>
          <ac:cxnSpMkLst>
            <pc:docMk/>
            <pc:sldMk cId="1950092934" sldId="1064"/>
            <ac:cxnSpMk id="54" creationId="{4BCF0211-998F-4840-BF81-DAC84EEC675A}"/>
          </ac:cxnSpMkLst>
        </pc:cxnChg>
        <pc:cxnChg chg="add del mod">
          <ac:chgData name="Arjan van der Meer" userId="008f28a2-684e-4523-b3ca-dcb37d9c3e5d" providerId="ADAL" clId="{EDCE2028-0D12-4BF9-9B5B-480A0D187AD0}" dt="2021-10-26T11:17:46.025" v="2125" actId="478"/>
          <ac:cxnSpMkLst>
            <pc:docMk/>
            <pc:sldMk cId="1950092934" sldId="1064"/>
            <ac:cxnSpMk id="65" creationId="{3C65B036-900A-4243-9FBB-AB738F6E3A73}"/>
          </ac:cxnSpMkLst>
        </pc:cxnChg>
        <pc:cxnChg chg="add del mod">
          <ac:chgData name="Arjan van der Meer" userId="008f28a2-684e-4523-b3ca-dcb37d9c3e5d" providerId="ADAL" clId="{EDCE2028-0D12-4BF9-9B5B-480A0D187AD0}" dt="2021-10-26T11:17:46.025" v="2125" actId="478"/>
          <ac:cxnSpMkLst>
            <pc:docMk/>
            <pc:sldMk cId="1950092934" sldId="1064"/>
            <ac:cxnSpMk id="67" creationId="{C2451A0B-17E9-40A7-A27C-DE0F15FF4F54}"/>
          </ac:cxnSpMkLst>
        </pc:cxnChg>
        <pc:cxnChg chg="add mod">
          <ac:chgData name="Arjan van der Meer" userId="008f28a2-684e-4523-b3ca-dcb37d9c3e5d" providerId="ADAL" clId="{EDCE2028-0D12-4BF9-9B5B-480A0D187AD0}" dt="2021-10-26T11:17:47.287" v="2126"/>
          <ac:cxnSpMkLst>
            <pc:docMk/>
            <pc:sldMk cId="1950092934" sldId="1064"/>
            <ac:cxnSpMk id="74" creationId="{20A73534-5F7B-4BC0-A943-7AAEDD64BF3C}"/>
          </ac:cxnSpMkLst>
        </pc:cxnChg>
        <pc:cxnChg chg="add mod">
          <ac:chgData name="Arjan van der Meer" userId="008f28a2-684e-4523-b3ca-dcb37d9c3e5d" providerId="ADAL" clId="{EDCE2028-0D12-4BF9-9B5B-480A0D187AD0}" dt="2021-10-26T11:17:47.287" v="2126"/>
          <ac:cxnSpMkLst>
            <pc:docMk/>
            <pc:sldMk cId="1950092934" sldId="1064"/>
            <ac:cxnSpMk id="79" creationId="{8EE26847-5017-4F5D-B884-78275689194A}"/>
          </ac:cxnSpMkLst>
        </pc:cxnChg>
      </pc:sldChg>
      <pc:sldChg chg="modSp mod">
        <pc:chgData name="Arjan van der Meer" userId="008f28a2-684e-4523-b3ca-dcb37d9c3e5d" providerId="ADAL" clId="{EDCE2028-0D12-4BF9-9B5B-480A0D187AD0}" dt="2021-10-26T07:59:20.458" v="0" actId="20577"/>
        <pc:sldMkLst>
          <pc:docMk/>
          <pc:sldMk cId="4138300204" sldId="1065"/>
        </pc:sldMkLst>
        <pc:spChg chg="mod">
          <ac:chgData name="Arjan van der Meer" userId="008f28a2-684e-4523-b3ca-dcb37d9c3e5d" providerId="ADAL" clId="{EDCE2028-0D12-4BF9-9B5B-480A0D187AD0}" dt="2021-10-26T07:59:20.458" v="0" actId="20577"/>
          <ac:spMkLst>
            <pc:docMk/>
            <pc:sldMk cId="4138300204" sldId="1065"/>
            <ac:spMk id="5" creationId="{BDE3B0FF-B947-4B45-82C9-28ED80494271}"/>
          </ac:spMkLst>
        </pc:spChg>
      </pc:sldChg>
      <pc:sldChg chg="modSp mod">
        <pc:chgData name="Arjan van der Meer" userId="008f28a2-684e-4523-b3ca-dcb37d9c3e5d" providerId="ADAL" clId="{EDCE2028-0D12-4BF9-9B5B-480A0D187AD0}" dt="2021-10-26T11:49:13.359" v="2403" actId="207"/>
        <pc:sldMkLst>
          <pc:docMk/>
          <pc:sldMk cId="2419103688" sldId="1068"/>
        </pc:sldMkLst>
        <pc:spChg chg="mod">
          <ac:chgData name="Arjan van der Meer" userId="008f28a2-684e-4523-b3ca-dcb37d9c3e5d" providerId="ADAL" clId="{EDCE2028-0D12-4BF9-9B5B-480A0D187AD0}" dt="2021-10-26T11:49:13.359" v="2403" actId="207"/>
          <ac:spMkLst>
            <pc:docMk/>
            <pc:sldMk cId="2419103688" sldId="1068"/>
            <ac:spMk id="8" creationId="{78A476BF-FFED-45B6-BA60-C3C6B9EDF904}"/>
          </ac:spMkLst>
        </pc:spChg>
      </pc:sldChg>
      <pc:sldChg chg="mod modShow modNotesTx">
        <pc:chgData name="Arjan van der Meer" userId="008f28a2-684e-4523-b3ca-dcb37d9c3e5d" providerId="ADAL" clId="{EDCE2028-0D12-4BF9-9B5B-480A0D187AD0}" dt="2021-10-26T08:41:11.662" v="1036" actId="729"/>
        <pc:sldMkLst>
          <pc:docMk/>
          <pc:sldMk cId="2202544704" sldId="1070"/>
        </pc:sldMkLst>
      </pc:sldChg>
      <pc:sldChg chg="add">
        <pc:chgData name="Arjan van der Meer" userId="008f28a2-684e-4523-b3ca-dcb37d9c3e5d" providerId="ADAL" clId="{EDCE2028-0D12-4BF9-9B5B-480A0D187AD0}" dt="2021-10-26T09:22:04.026" v="1470"/>
        <pc:sldMkLst>
          <pc:docMk/>
          <pc:sldMk cId="2659228924" sldId="1071"/>
        </pc:sldMkLst>
      </pc:sldChg>
      <pc:sldChg chg="del">
        <pc:chgData name="Arjan van der Meer" userId="008f28a2-684e-4523-b3ca-dcb37d9c3e5d" providerId="ADAL" clId="{EDCE2028-0D12-4BF9-9B5B-480A0D187AD0}" dt="2021-10-26T09:21:36.719" v="1469" actId="2696"/>
        <pc:sldMkLst>
          <pc:docMk/>
          <pc:sldMk cId="4241184338" sldId="1071"/>
        </pc:sldMkLst>
      </pc:sldChg>
      <pc:sldChg chg="del">
        <pc:chgData name="Arjan van der Meer" userId="008f28a2-684e-4523-b3ca-dcb37d9c3e5d" providerId="ADAL" clId="{EDCE2028-0D12-4BF9-9B5B-480A0D187AD0}" dt="2021-10-26T09:21:36.719" v="1469" actId="2696"/>
        <pc:sldMkLst>
          <pc:docMk/>
          <pc:sldMk cId="1658168544" sldId="1072"/>
        </pc:sldMkLst>
      </pc:sldChg>
      <pc:sldChg chg="add">
        <pc:chgData name="Arjan van der Meer" userId="008f28a2-684e-4523-b3ca-dcb37d9c3e5d" providerId="ADAL" clId="{EDCE2028-0D12-4BF9-9B5B-480A0D187AD0}" dt="2021-10-26T09:22:04.026" v="1470"/>
        <pc:sldMkLst>
          <pc:docMk/>
          <pc:sldMk cId="1768273606" sldId="1072"/>
        </pc:sldMkLst>
      </pc:sldChg>
      <pc:sldChg chg="modSp mod">
        <pc:chgData name="Arjan van der Meer" userId="008f28a2-684e-4523-b3ca-dcb37d9c3e5d" providerId="ADAL" clId="{EDCE2028-0D12-4BF9-9B5B-480A0D187AD0}" dt="2021-10-26T13:30:28.687" v="2406" actId="1076"/>
        <pc:sldMkLst>
          <pc:docMk/>
          <pc:sldMk cId="1002399906" sldId="1075"/>
        </pc:sldMkLst>
        <pc:picChg chg="mod">
          <ac:chgData name="Arjan van der Meer" userId="008f28a2-684e-4523-b3ca-dcb37d9c3e5d" providerId="ADAL" clId="{EDCE2028-0D12-4BF9-9B5B-480A0D187AD0}" dt="2021-10-26T13:30:28.687" v="2406" actId="1076"/>
          <ac:picMkLst>
            <pc:docMk/>
            <pc:sldMk cId="1002399906" sldId="1075"/>
            <ac:picMk id="11" creationId="{22D0A5DA-C535-4E55-98FD-7863DB909CDE}"/>
          </ac:picMkLst>
        </pc:picChg>
      </pc:sldChg>
      <pc:sldChg chg="modSp mod modNotesTx">
        <pc:chgData name="Arjan van der Meer" userId="008f28a2-684e-4523-b3ca-dcb37d9c3e5d" providerId="ADAL" clId="{EDCE2028-0D12-4BF9-9B5B-480A0D187AD0}" dt="2021-10-26T09:12:19.059" v="1407" actId="20577"/>
        <pc:sldMkLst>
          <pc:docMk/>
          <pc:sldMk cId="254963194" sldId="1086"/>
        </pc:sldMkLst>
        <pc:spChg chg="mod">
          <ac:chgData name="Arjan van der Meer" userId="008f28a2-684e-4523-b3ca-dcb37d9c3e5d" providerId="ADAL" clId="{EDCE2028-0D12-4BF9-9B5B-480A0D187AD0}" dt="2021-10-26T09:09:24.519" v="1404" actId="692"/>
          <ac:spMkLst>
            <pc:docMk/>
            <pc:sldMk cId="254963194" sldId="1086"/>
            <ac:spMk id="5" creationId="{0F261FE0-184C-4983-8B46-33AF7B6C8105}"/>
          </ac:spMkLst>
        </pc:spChg>
        <pc:spChg chg="mod">
          <ac:chgData name="Arjan van der Meer" userId="008f28a2-684e-4523-b3ca-dcb37d9c3e5d" providerId="ADAL" clId="{EDCE2028-0D12-4BF9-9B5B-480A0D187AD0}" dt="2021-10-26T09:09:24.519" v="1404" actId="692"/>
          <ac:spMkLst>
            <pc:docMk/>
            <pc:sldMk cId="254963194" sldId="1086"/>
            <ac:spMk id="8" creationId="{7680997F-BF54-49B7-8141-67E7B88BE51D}"/>
          </ac:spMkLst>
        </pc:spChg>
        <pc:spChg chg="mod">
          <ac:chgData name="Arjan van der Meer" userId="008f28a2-684e-4523-b3ca-dcb37d9c3e5d" providerId="ADAL" clId="{EDCE2028-0D12-4BF9-9B5B-480A0D187AD0}" dt="2021-10-26T09:09:24.519" v="1404" actId="692"/>
          <ac:spMkLst>
            <pc:docMk/>
            <pc:sldMk cId="254963194" sldId="1086"/>
            <ac:spMk id="12" creationId="{596332ED-6E58-4283-B20E-E34778B20B0E}"/>
          </ac:spMkLst>
        </pc:spChg>
        <pc:spChg chg="mod">
          <ac:chgData name="Arjan van der Meer" userId="008f28a2-684e-4523-b3ca-dcb37d9c3e5d" providerId="ADAL" clId="{EDCE2028-0D12-4BF9-9B5B-480A0D187AD0}" dt="2021-10-26T09:09:24.519" v="1404" actId="692"/>
          <ac:spMkLst>
            <pc:docMk/>
            <pc:sldMk cId="254963194" sldId="1086"/>
            <ac:spMk id="13" creationId="{8A440996-7D82-4796-9A31-A846748623E6}"/>
          </ac:spMkLst>
        </pc:spChg>
        <pc:spChg chg="mod">
          <ac:chgData name="Arjan van der Meer" userId="008f28a2-684e-4523-b3ca-dcb37d9c3e5d" providerId="ADAL" clId="{EDCE2028-0D12-4BF9-9B5B-480A0D187AD0}" dt="2021-10-26T09:09:24.519" v="1404" actId="692"/>
          <ac:spMkLst>
            <pc:docMk/>
            <pc:sldMk cId="254963194" sldId="1086"/>
            <ac:spMk id="14" creationId="{E4D2EE06-969A-4D7C-8423-7F0F36FA0540}"/>
          </ac:spMkLst>
        </pc:spChg>
      </pc:sldChg>
      <pc:sldChg chg="modNotesTx">
        <pc:chgData name="Arjan van der Meer" userId="008f28a2-684e-4523-b3ca-dcb37d9c3e5d" providerId="ADAL" clId="{EDCE2028-0D12-4BF9-9B5B-480A0D187AD0}" dt="2021-10-26T09:11:57.669" v="1405" actId="20577"/>
        <pc:sldMkLst>
          <pc:docMk/>
          <pc:sldMk cId="2073591893" sldId="1088"/>
        </pc:sldMkLst>
      </pc:sldChg>
      <pc:sldChg chg="modNotesTx">
        <pc:chgData name="Arjan van der Meer" userId="008f28a2-684e-4523-b3ca-dcb37d9c3e5d" providerId="ADAL" clId="{EDCE2028-0D12-4BF9-9B5B-480A0D187AD0}" dt="2021-10-26T08:32:42.631" v="711" actId="20577"/>
        <pc:sldMkLst>
          <pc:docMk/>
          <pc:sldMk cId="2712997306" sldId="1094"/>
        </pc:sldMkLst>
      </pc:sldChg>
      <pc:sldChg chg="del">
        <pc:chgData name="Arjan van der Meer" userId="008f28a2-684e-4523-b3ca-dcb37d9c3e5d" providerId="ADAL" clId="{EDCE2028-0D12-4BF9-9B5B-480A0D187AD0}" dt="2021-10-26T13:35:11.556" v="2418" actId="2696"/>
        <pc:sldMkLst>
          <pc:docMk/>
          <pc:sldMk cId="3780689544" sldId="1095"/>
        </pc:sldMkLst>
      </pc:sldChg>
      <pc:sldChg chg="modNotesTx">
        <pc:chgData name="Arjan van der Meer" userId="008f28a2-684e-4523-b3ca-dcb37d9c3e5d" providerId="ADAL" clId="{EDCE2028-0D12-4BF9-9B5B-480A0D187AD0}" dt="2021-10-26T09:07:03.861" v="1400" actId="20577"/>
        <pc:sldMkLst>
          <pc:docMk/>
          <pc:sldMk cId="1867670977" sldId="1096"/>
        </pc:sldMkLst>
      </pc:sldChg>
      <pc:sldChg chg="addSp delSp modSp mod ord">
        <pc:chgData name="Arjan van der Meer" userId="008f28a2-684e-4523-b3ca-dcb37d9c3e5d" providerId="ADAL" clId="{EDCE2028-0D12-4BF9-9B5B-480A0D187AD0}" dt="2021-10-26T11:18:25.707" v="2129" actId="21"/>
        <pc:sldMkLst>
          <pc:docMk/>
          <pc:sldMk cId="2435104620" sldId="1098"/>
        </pc:sldMkLst>
        <pc:spChg chg="mod">
          <ac:chgData name="Arjan van der Meer" userId="008f28a2-684e-4523-b3ca-dcb37d9c3e5d" providerId="ADAL" clId="{EDCE2028-0D12-4BF9-9B5B-480A0D187AD0}" dt="2021-10-26T10:04:55.137" v="1814" actId="20577"/>
          <ac:spMkLst>
            <pc:docMk/>
            <pc:sldMk cId="2435104620" sldId="1098"/>
            <ac:spMk id="17" creationId="{6B8B1B31-0262-4A85-AF84-B56C12108DB4}"/>
          </ac:spMkLst>
        </pc:spChg>
        <pc:spChg chg="del">
          <ac:chgData name="Arjan van der Meer" userId="008f28a2-684e-4523-b3ca-dcb37d9c3e5d" providerId="ADAL" clId="{EDCE2028-0D12-4BF9-9B5B-480A0D187AD0}" dt="2021-10-26T11:18:25.707" v="2129" actId="21"/>
          <ac:spMkLst>
            <pc:docMk/>
            <pc:sldMk cId="2435104620" sldId="1098"/>
            <ac:spMk id="23" creationId="{FA77D003-95A2-48AD-99C2-5FE786EEE659}"/>
          </ac:spMkLst>
        </pc:spChg>
        <pc:spChg chg="del">
          <ac:chgData name="Arjan van der Meer" userId="008f28a2-684e-4523-b3ca-dcb37d9c3e5d" providerId="ADAL" clId="{EDCE2028-0D12-4BF9-9B5B-480A0D187AD0}" dt="2021-10-26T11:18:25.707" v="2129" actId="21"/>
          <ac:spMkLst>
            <pc:docMk/>
            <pc:sldMk cId="2435104620" sldId="1098"/>
            <ac:spMk id="24" creationId="{00D578AC-BF39-4472-B899-A0377C0D76D1}"/>
          </ac:spMkLst>
        </pc:spChg>
        <pc:spChg chg="del mod">
          <ac:chgData name="Arjan van der Meer" userId="008f28a2-684e-4523-b3ca-dcb37d9c3e5d" providerId="ADAL" clId="{EDCE2028-0D12-4BF9-9B5B-480A0D187AD0}" dt="2021-10-26T11:18:25.707" v="2129" actId="21"/>
          <ac:spMkLst>
            <pc:docMk/>
            <pc:sldMk cId="2435104620" sldId="1098"/>
            <ac:spMk id="30" creationId="{D47B9CD5-C7B1-462B-A98E-EE54B5432721}"/>
          </ac:spMkLst>
        </pc:spChg>
        <pc:spChg chg="del">
          <ac:chgData name="Arjan van der Meer" userId="008f28a2-684e-4523-b3ca-dcb37d9c3e5d" providerId="ADAL" clId="{EDCE2028-0D12-4BF9-9B5B-480A0D187AD0}" dt="2021-10-26T11:18:25.707" v="2129" actId="21"/>
          <ac:spMkLst>
            <pc:docMk/>
            <pc:sldMk cId="2435104620" sldId="1098"/>
            <ac:spMk id="31" creationId="{3C6296A4-98DD-432B-BE2A-D627FE092B3C}"/>
          </ac:spMkLst>
        </pc:spChg>
        <pc:spChg chg="del mod">
          <ac:chgData name="Arjan van der Meer" userId="008f28a2-684e-4523-b3ca-dcb37d9c3e5d" providerId="ADAL" clId="{EDCE2028-0D12-4BF9-9B5B-480A0D187AD0}" dt="2021-10-26T11:18:25.707" v="2129" actId="21"/>
          <ac:spMkLst>
            <pc:docMk/>
            <pc:sldMk cId="2435104620" sldId="1098"/>
            <ac:spMk id="32" creationId="{FF42B23C-AB83-4104-809D-55CC0E262925}"/>
          </ac:spMkLst>
        </pc:spChg>
        <pc:spChg chg="del">
          <ac:chgData name="Arjan van der Meer" userId="008f28a2-684e-4523-b3ca-dcb37d9c3e5d" providerId="ADAL" clId="{EDCE2028-0D12-4BF9-9B5B-480A0D187AD0}" dt="2021-10-26T09:28:07.531" v="1546" actId="478"/>
          <ac:spMkLst>
            <pc:docMk/>
            <pc:sldMk cId="2435104620" sldId="1098"/>
            <ac:spMk id="34" creationId="{117E0BFB-BB64-4D28-9C43-4D33C273D094}"/>
          </ac:spMkLst>
        </pc:spChg>
        <pc:spChg chg="del">
          <ac:chgData name="Arjan van der Meer" userId="008f28a2-684e-4523-b3ca-dcb37d9c3e5d" providerId="ADAL" clId="{EDCE2028-0D12-4BF9-9B5B-480A0D187AD0}" dt="2021-10-26T09:28:07.531" v="1546" actId="478"/>
          <ac:spMkLst>
            <pc:docMk/>
            <pc:sldMk cId="2435104620" sldId="1098"/>
            <ac:spMk id="35" creationId="{56E51AEB-B732-47BB-ACE4-1881C2B20B24}"/>
          </ac:spMkLst>
        </pc:spChg>
        <pc:spChg chg="del">
          <ac:chgData name="Arjan van der Meer" userId="008f28a2-684e-4523-b3ca-dcb37d9c3e5d" providerId="ADAL" clId="{EDCE2028-0D12-4BF9-9B5B-480A0D187AD0}" dt="2021-10-26T09:28:07.531" v="1546" actId="478"/>
          <ac:spMkLst>
            <pc:docMk/>
            <pc:sldMk cId="2435104620" sldId="1098"/>
            <ac:spMk id="36" creationId="{9630286E-8103-45A4-AE8E-6CF17D4BC519}"/>
          </ac:spMkLst>
        </pc:spChg>
        <pc:spChg chg="del">
          <ac:chgData name="Arjan van der Meer" userId="008f28a2-684e-4523-b3ca-dcb37d9c3e5d" providerId="ADAL" clId="{EDCE2028-0D12-4BF9-9B5B-480A0D187AD0}" dt="2021-10-26T09:28:07.531" v="1546" actId="478"/>
          <ac:spMkLst>
            <pc:docMk/>
            <pc:sldMk cId="2435104620" sldId="1098"/>
            <ac:spMk id="37" creationId="{E934A417-6B93-47E1-AA0F-7D8A28947D1C}"/>
          </ac:spMkLst>
        </pc:spChg>
        <pc:spChg chg="del">
          <ac:chgData name="Arjan van der Meer" userId="008f28a2-684e-4523-b3ca-dcb37d9c3e5d" providerId="ADAL" clId="{EDCE2028-0D12-4BF9-9B5B-480A0D187AD0}" dt="2021-10-26T09:28:07.531" v="1546" actId="478"/>
          <ac:spMkLst>
            <pc:docMk/>
            <pc:sldMk cId="2435104620" sldId="1098"/>
            <ac:spMk id="38" creationId="{599E70A1-AC0B-436E-A846-7ABB7BC03F12}"/>
          </ac:spMkLst>
        </pc:spChg>
        <pc:spChg chg="del">
          <ac:chgData name="Arjan van der Meer" userId="008f28a2-684e-4523-b3ca-dcb37d9c3e5d" providerId="ADAL" clId="{EDCE2028-0D12-4BF9-9B5B-480A0D187AD0}" dt="2021-10-26T11:18:25.707" v="2129" actId="21"/>
          <ac:spMkLst>
            <pc:docMk/>
            <pc:sldMk cId="2435104620" sldId="1098"/>
            <ac:spMk id="39" creationId="{4B2A2958-2C1B-4AB5-A23D-412E938FF92A}"/>
          </ac:spMkLst>
        </pc:spChg>
        <pc:spChg chg="del">
          <ac:chgData name="Arjan van der Meer" userId="008f28a2-684e-4523-b3ca-dcb37d9c3e5d" providerId="ADAL" clId="{EDCE2028-0D12-4BF9-9B5B-480A0D187AD0}" dt="2021-10-26T09:28:07.531" v="1546" actId="478"/>
          <ac:spMkLst>
            <pc:docMk/>
            <pc:sldMk cId="2435104620" sldId="1098"/>
            <ac:spMk id="40" creationId="{3DDBA1D4-CB15-420E-9849-AF99575A93A6}"/>
          </ac:spMkLst>
        </pc:spChg>
        <pc:spChg chg="del">
          <ac:chgData name="Arjan van der Meer" userId="008f28a2-684e-4523-b3ca-dcb37d9c3e5d" providerId="ADAL" clId="{EDCE2028-0D12-4BF9-9B5B-480A0D187AD0}" dt="2021-10-26T09:28:07.531" v="1546" actId="478"/>
          <ac:spMkLst>
            <pc:docMk/>
            <pc:sldMk cId="2435104620" sldId="1098"/>
            <ac:spMk id="41" creationId="{17119FE2-CE63-4666-A58A-4FCB5D8A1D41}"/>
          </ac:spMkLst>
        </pc:spChg>
        <pc:spChg chg="del">
          <ac:chgData name="Arjan van der Meer" userId="008f28a2-684e-4523-b3ca-dcb37d9c3e5d" providerId="ADAL" clId="{EDCE2028-0D12-4BF9-9B5B-480A0D187AD0}" dt="2021-10-26T09:28:07.531" v="1546" actId="478"/>
          <ac:spMkLst>
            <pc:docMk/>
            <pc:sldMk cId="2435104620" sldId="1098"/>
            <ac:spMk id="42" creationId="{E5E5E916-2D0B-4B61-9B69-FC344DA33391}"/>
          </ac:spMkLst>
        </pc:spChg>
        <pc:spChg chg="add mod">
          <ac:chgData name="Arjan van der Meer" userId="008f28a2-684e-4523-b3ca-dcb37d9c3e5d" providerId="ADAL" clId="{EDCE2028-0D12-4BF9-9B5B-480A0D187AD0}" dt="2021-10-26T09:28:08.932" v="1547"/>
          <ac:spMkLst>
            <pc:docMk/>
            <pc:sldMk cId="2435104620" sldId="1098"/>
            <ac:spMk id="43" creationId="{3C74AFFC-88C5-414D-8D5D-CEB2880D2741}"/>
          </ac:spMkLst>
        </pc:spChg>
        <pc:spChg chg="add mod">
          <ac:chgData name="Arjan van der Meer" userId="008f28a2-684e-4523-b3ca-dcb37d9c3e5d" providerId="ADAL" clId="{EDCE2028-0D12-4BF9-9B5B-480A0D187AD0}" dt="2021-10-26T09:28:08.932" v="1547"/>
          <ac:spMkLst>
            <pc:docMk/>
            <pc:sldMk cId="2435104620" sldId="1098"/>
            <ac:spMk id="44" creationId="{71B7B269-A06B-4765-845D-2253D7626E1E}"/>
          </ac:spMkLst>
        </pc:spChg>
        <pc:spChg chg="add mod">
          <ac:chgData name="Arjan van der Meer" userId="008f28a2-684e-4523-b3ca-dcb37d9c3e5d" providerId="ADAL" clId="{EDCE2028-0D12-4BF9-9B5B-480A0D187AD0}" dt="2021-10-26T09:28:08.932" v="1547"/>
          <ac:spMkLst>
            <pc:docMk/>
            <pc:sldMk cId="2435104620" sldId="1098"/>
            <ac:spMk id="45" creationId="{5CCD9305-7FBC-41CE-A146-FCC84A908069}"/>
          </ac:spMkLst>
        </pc:spChg>
        <pc:spChg chg="add mod">
          <ac:chgData name="Arjan van der Meer" userId="008f28a2-684e-4523-b3ca-dcb37d9c3e5d" providerId="ADAL" clId="{EDCE2028-0D12-4BF9-9B5B-480A0D187AD0}" dt="2021-10-26T09:28:08.932" v="1547"/>
          <ac:spMkLst>
            <pc:docMk/>
            <pc:sldMk cId="2435104620" sldId="1098"/>
            <ac:spMk id="46" creationId="{D22BFB30-5B7C-45E6-AB23-5BFEE6FDF80E}"/>
          </ac:spMkLst>
        </pc:spChg>
        <pc:spChg chg="add mod">
          <ac:chgData name="Arjan van der Meer" userId="008f28a2-684e-4523-b3ca-dcb37d9c3e5d" providerId="ADAL" clId="{EDCE2028-0D12-4BF9-9B5B-480A0D187AD0}" dt="2021-10-26T09:28:08.932" v="1547"/>
          <ac:spMkLst>
            <pc:docMk/>
            <pc:sldMk cId="2435104620" sldId="1098"/>
            <ac:spMk id="47" creationId="{04526A35-B78A-4983-9EC7-7CA174D71473}"/>
          </ac:spMkLst>
        </pc:spChg>
        <pc:spChg chg="add mod">
          <ac:chgData name="Arjan van der Meer" userId="008f28a2-684e-4523-b3ca-dcb37d9c3e5d" providerId="ADAL" clId="{EDCE2028-0D12-4BF9-9B5B-480A0D187AD0}" dt="2021-10-26T09:28:08.932" v="1547"/>
          <ac:spMkLst>
            <pc:docMk/>
            <pc:sldMk cId="2435104620" sldId="1098"/>
            <ac:spMk id="48" creationId="{56476498-A834-493E-A0ED-8E380D6A14B5}"/>
          </ac:spMkLst>
        </pc:spChg>
        <pc:spChg chg="add mod">
          <ac:chgData name="Arjan van der Meer" userId="008f28a2-684e-4523-b3ca-dcb37d9c3e5d" providerId="ADAL" clId="{EDCE2028-0D12-4BF9-9B5B-480A0D187AD0}" dt="2021-10-26T09:28:08.932" v="1547"/>
          <ac:spMkLst>
            <pc:docMk/>
            <pc:sldMk cId="2435104620" sldId="1098"/>
            <ac:spMk id="49" creationId="{4A170414-96B5-4841-A67A-241BA5C1C1D9}"/>
          </ac:spMkLst>
        </pc:spChg>
        <pc:spChg chg="add mod">
          <ac:chgData name="Arjan van der Meer" userId="008f28a2-684e-4523-b3ca-dcb37d9c3e5d" providerId="ADAL" clId="{EDCE2028-0D12-4BF9-9B5B-480A0D187AD0}" dt="2021-10-26T09:28:08.932" v="1547"/>
          <ac:spMkLst>
            <pc:docMk/>
            <pc:sldMk cId="2435104620" sldId="1098"/>
            <ac:spMk id="50" creationId="{68643709-E45A-4DC1-B6D0-575F55B9F2A5}"/>
          </ac:spMkLst>
        </pc:spChg>
        <pc:spChg chg="add mod">
          <ac:chgData name="Arjan van der Meer" userId="008f28a2-684e-4523-b3ca-dcb37d9c3e5d" providerId="ADAL" clId="{EDCE2028-0D12-4BF9-9B5B-480A0D187AD0}" dt="2021-10-26T09:28:08.932" v="1547"/>
          <ac:spMkLst>
            <pc:docMk/>
            <pc:sldMk cId="2435104620" sldId="1098"/>
            <ac:spMk id="54" creationId="{64897885-032F-4EDB-BB34-FEA8B08FB816}"/>
          </ac:spMkLst>
        </pc:spChg>
        <pc:spChg chg="add mod">
          <ac:chgData name="Arjan van der Meer" userId="008f28a2-684e-4523-b3ca-dcb37d9c3e5d" providerId="ADAL" clId="{EDCE2028-0D12-4BF9-9B5B-480A0D187AD0}" dt="2021-10-26T09:28:08.932" v="1547"/>
          <ac:spMkLst>
            <pc:docMk/>
            <pc:sldMk cId="2435104620" sldId="1098"/>
            <ac:spMk id="55" creationId="{F2CC9A90-83AC-4CD4-ADFB-67F49E7F37EB}"/>
          </ac:spMkLst>
        </pc:spChg>
        <pc:spChg chg="add mod">
          <ac:chgData name="Arjan van der Meer" userId="008f28a2-684e-4523-b3ca-dcb37d9c3e5d" providerId="ADAL" clId="{EDCE2028-0D12-4BF9-9B5B-480A0D187AD0}" dt="2021-10-26T09:28:08.932" v="1547"/>
          <ac:spMkLst>
            <pc:docMk/>
            <pc:sldMk cId="2435104620" sldId="1098"/>
            <ac:spMk id="56" creationId="{90373BB0-F4D9-4B2A-ACD7-5CF28454492F}"/>
          </ac:spMkLst>
        </pc:spChg>
        <pc:spChg chg="add mod">
          <ac:chgData name="Arjan van der Meer" userId="008f28a2-684e-4523-b3ca-dcb37d9c3e5d" providerId="ADAL" clId="{EDCE2028-0D12-4BF9-9B5B-480A0D187AD0}" dt="2021-10-26T09:28:08.932" v="1547"/>
          <ac:spMkLst>
            <pc:docMk/>
            <pc:sldMk cId="2435104620" sldId="1098"/>
            <ac:spMk id="57" creationId="{B8E6C194-C2AA-47D7-A33D-6127D93AFF72}"/>
          </ac:spMkLst>
        </pc:spChg>
        <pc:spChg chg="add mod">
          <ac:chgData name="Arjan van der Meer" userId="008f28a2-684e-4523-b3ca-dcb37d9c3e5d" providerId="ADAL" clId="{EDCE2028-0D12-4BF9-9B5B-480A0D187AD0}" dt="2021-10-26T09:28:08.932" v="1547"/>
          <ac:spMkLst>
            <pc:docMk/>
            <pc:sldMk cId="2435104620" sldId="1098"/>
            <ac:spMk id="58" creationId="{95DBE54D-F0C6-4C99-B083-C077B06B1277}"/>
          </ac:spMkLst>
        </pc:spChg>
        <pc:spChg chg="add mod">
          <ac:chgData name="Arjan van der Meer" userId="008f28a2-684e-4523-b3ca-dcb37d9c3e5d" providerId="ADAL" clId="{EDCE2028-0D12-4BF9-9B5B-480A0D187AD0}" dt="2021-10-26T09:28:08.932" v="1547"/>
          <ac:spMkLst>
            <pc:docMk/>
            <pc:sldMk cId="2435104620" sldId="1098"/>
            <ac:spMk id="59" creationId="{A3E29ECA-23EE-4A7E-8B42-83CB25C167C3}"/>
          </ac:spMkLst>
        </pc:spChg>
        <pc:spChg chg="del">
          <ac:chgData name="Arjan van der Meer" userId="008f28a2-684e-4523-b3ca-dcb37d9c3e5d" providerId="ADAL" clId="{EDCE2028-0D12-4BF9-9B5B-480A0D187AD0}" dt="2021-10-26T09:28:07.531" v="1546" actId="478"/>
          <ac:spMkLst>
            <pc:docMk/>
            <pc:sldMk cId="2435104620" sldId="1098"/>
            <ac:spMk id="64" creationId="{47B01373-8E84-4AE7-A5DA-5944C1CF4853}"/>
          </ac:spMkLst>
        </pc:spChg>
        <pc:spChg chg="add mod">
          <ac:chgData name="Arjan van der Meer" userId="008f28a2-684e-4523-b3ca-dcb37d9c3e5d" providerId="ADAL" clId="{EDCE2028-0D12-4BF9-9B5B-480A0D187AD0}" dt="2021-10-26T10:03:32.625" v="1761"/>
          <ac:spMkLst>
            <pc:docMk/>
            <pc:sldMk cId="2435104620" sldId="1098"/>
            <ac:spMk id="66" creationId="{08076202-0DC6-4407-9656-357D437051DA}"/>
          </ac:spMkLst>
        </pc:spChg>
        <pc:spChg chg="add mod">
          <ac:chgData name="Arjan van der Meer" userId="008f28a2-684e-4523-b3ca-dcb37d9c3e5d" providerId="ADAL" clId="{EDCE2028-0D12-4BF9-9B5B-480A0D187AD0}" dt="2021-10-26T10:03:32.625" v="1761"/>
          <ac:spMkLst>
            <pc:docMk/>
            <pc:sldMk cId="2435104620" sldId="1098"/>
            <ac:spMk id="67" creationId="{C11E34EE-5DD7-4298-9FCC-CE0674039E0E}"/>
          </ac:spMkLst>
        </pc:spChg>
        <pc:spChg chg="del">
          <ac:chgData name="Arjan van der Meer" userId="008f28a2-684e-4523-b3ca-dcb37d9c3e5d" providerId="ADAL" clId="{EDCE2028-0D12-4BF9-9B5B-480A0D187AD0}" dt="2021-10-26T09:28:07.531" v="1546" actId="478"/>
          <ac:spMkLst>
            <pc:docMk/>
            <pc:sldMk cId="2435104620" sldId="1098"/>
            <ac:spMk id="68" creationId="{FCFD719B-4F5B-49EF-BDC7-63BE8E6E9FD4}"/>
          </ac:spMkLst>
        </pc:spChg>
        <pc:spChg chg="del">
          <ac:chgData name="Arjan van der Meer" userId="008f28a2-684e-4523-b3ca-dcb37d9c3e5d" providerId="ADAL" clId="{EDCE2028-0D12-4BF9-9B5B-480A0D187AD0}" dt="2021-10-26T09:28:07.531" v="1546" actId="478"/>
          <ac:spMkLst>
            <pc:docMk/>
            <pc:sldMk cId="2435104620" sldId="1098"/>
            <ac:spMk id="70" creationId="{790C5EA0-E608-4438-A5F3-EEB5DFE7D962}"/>
          </ac:spMkLst>
        </pc:spChg>
        <pc:spChg chg="del">
          <ac:chgData name="Arjan van der Meer" userId="008f28a2-684e-4523-b3ca-dcb37d9c3e5d" providerId="ADAL" clId="{EDCE2028-0D12-4BF9-9B5B-480A0D187AD0}" dt="2021-10-26T09:28:07.531" v="1546" actId="478"/>
          <ac:spMkLst>
            <pc:docMk/>
            <pc:sldMk cId="2435104620" sldId="1098"/>
            <ac:spMk id="71" creationId="{4E517789-F745-4CBD-86AC-8EB9D1688E11}"/>
          </ac:spMkLst>
        </pc:spChg>
        <pc:cxnChg chg="del mod">
          <ac:chgData name="Arjan van der Meer" userId="008f28a2-684e-4523-b3ca-dcb37d9c3e5d" providerId="ADAL" clId="{EDCE2028-0D12-4BF9-9B5B-480A0D187AD0}" dt="2021-10-26T11:18:25.707" v="2129" actId="21"/>
          <ac:cxnSpMkLst>
            <pc:docMk/>
            <pc:sldMk cId="2435104620" sldId="1098"/>
            <ac:cxnSpMk id="7" creationId="{A675CD82-C5FC-44D1-9160-9E25BD549257}"/>
          </ac:cxnSpMkLst>
        </pc:cxnChg>
        <pc:cxnChg chg="del mod">
          <ac:chgData name="Arjan van der Meer" userId="008f28a2-684e-4523-b3ca-dcb37d9c3e5d" providerId="ADAL" clId="{EDCE2028-0D12-4BF9-9B5B-480A0D187AD0}" dt="2021-10-26T09:28:07.531" v="1546" actId="478"/>
          <ac:cxnSpMkLst>
            <pc:docMk/>
            <pc:sldMk cId="2435104620" sldId="1098"/>
            <ac:cxnSpMk id="8" creationId="{E0E4D673-8BDA-4105-B3A1-C9140ACBD3EA}"/>
          </ac:cxnSpMkLst>
        </pc:cxnChg>
        <pc:cxnChg chg="add mod">
          <ac:chgData name="Arjan van der Meer" userId="008f28a2-684e-4523-b3ca-dcb37d9c3e5d" providerId="ADAL" clId="{EDCE2028-0D12-4BF9-9B5B-480A0D187AD0}" dt="2021-10-26T09:28:45.495" v="1550" actId="13822"/>
          <ac:cxnSpMkLst>
            <pc:docMk/>
            <pc:sldMk cId="2435104620" sldId="1098"/>
            <ac:cxnSpMk id="9" creationId="{80481994-D2EB-45A0-8D5D-1B69E66E22EA}"/>
          </ac:cxnSpMkLst>
        </pc:cxnChg>
        <pc:cxnChg chg="del mod">
          <ac:chgData name="Arjan van der Meer" userId="008f28a2-684e-4523-b3ca-dcb37d9c3e5d" providerId="ADAL" clId="{EDCE2028-0D12-4BF9-9B5B-480A0D187AD0}" dt="2021-10-26T11:18:25.707" v="2129" actId="21"/>
          <ac:cxnSpMkLst>
            <pc:docMk/>
            <pc:sldMk cId="2435104620" sldId="1098"/>
            <ac:cxnSpMk id="10" creationId="{0C271C6B-C46A-441D-A89E-D0A12D1A5C0C}"/>
          </ac:cxnSpMkLst>
        </pc:cxnChg>
        <pc:cxnChg chg="del mod">
          <ac:chgData name="Arjan van der Meer" userId="008f28a2-684e-4523-b3ca-dcb37d9c3e5d" providerId="ADAL" clId="{EDCE2028-0D12-4BF9-9B5B-480A0D187AD0}" dt="2021-10-26T11:18:25.707" v="2129" actId="21"/>
          <ac:cxnSpMkLst>
            <pc:docMk/>
            <pc:sldMk cId="2435104620" sldId="1098"/>
            <ac:cxnSpMk id="12" creationId="{4F74F636-D3CF-4BC0-B76F-3A338F3FAE82}"/>
          </ac:cxnSpMkLst>
        </pc:cxnChg>
        <pc:cxnChg chg="del mod">
          <ac:chgData name="Arjan van der Meer" userId="008f28a2-684e-4523-b3ca-dcb37d9c3e5d" providerId="ADAL" clId="{EDCE2028-0D12-4BF9-9B5B-480A0D187AD0}" dt="2021-10-26T09:28:07.531" v="1546" actId="478"/>
          <ac:cxnSpMkLst>
            <pc:docMk/>
            <pc:sldMk cId="2435104620" sldId="1098"/>
            <ac:cxnSpMk id="13" creationId="{37604F7F-3AA9-477B-A01F-270FE215FCB9}"/>
          </ac:cxnSpMkLst>
        </pc:cxnChg>
        <pc:cxnChg chg="add mod">
          <ac:chgData name="Arjan van der Meer" userId="008f28a2-684e-4523-b3ca-dcb37d9c3e5d" providerId="ADAL" clId="{EDCE2028-0D12-4BF9-9B5B-480A0D187AD0}" dt="2021-10-26T09:28:45.495" v="1550" actId="13822"/>
          <ac:cxnSpMkLst>
            <pc:docMk/>
            <pc:sldMk cId="2435104620" sldId="1098"/>
            <ac:cxnSpMk id="14" creationId="{F6298016-B119-4281-B4F4-C4ABADA710FB}"/>
          </ac:cxnSpMkLst>
        </pc:cxnChg>
        <pc:cxnChg chg="del mod">
          <ac:chgData name="Arjan van der Meer" userId="008f28a2-684e-4523-b3ca-dcb37d9c3e5d" providerId="ADAL" clId="{EDCE2028-0D12-4BF9-9B5B-480A0D187AD0}" dt="2021-10-26T11:18:25.707" v="2129" actId="21"/>
          <ac:cxnSpMkLst>
            <pc:docMk/>
            <pc:sldMk cId="2435104620" sldId="1098"/>
            <ac:cxnSpMk id="26" creationId="{D29063AE-E3CA-438F-A868-69EFFBA4852B}"/>
          </ac:cxnSpMkLst>
        </pc:cxnChg>
        <pc:cxnChg chg="del mod">
          <ac:chgData name="Arjan van der Meer" userId="008f28a2-684e-4523-b3ca-dcb37d9c3e5d" providerId="ADAL" clId="{EDCE2028-0D12-4BF9-9B5B-480A0D187AD0}" dt="2021-10-26T11:18:25.707" v="2129" actId="21"/>
          <ac:cxnSpMkLst>
            <pc:docMk/>
            <pc:sldMk cId="2435104620" sldId="1098"/>
            <ac:cxnSpMk id="29" creationId="{07507B5B-E975-495D-9719-78194FEB477E}"/>
          </ac:cxnSpMkLst>
        </pc:cxnChg>
        <pc:cxnChg chg="add mod">
          <ac:chgData name="Arjan van der Meer" userId="008f28a2-684e-4523-b3ca-dcb37d9c3e5d" providerId="ADAL" clId="{EDCE2028-0D12-4BF9-9B5B-480A0D187AD0}" dt="2021-10-26T09:28:08.932" v="1547"/>
          <ac:cxnSpMkLst>
            <pc:docMk/>
            <pc:sldMk cId="2435104620" sldId="1098"/>
            <ac:cxnSpMk id="51" creationId="{787396A1-FDEF-4302-9632-8492FCBC0241}"/>
          </ac:cxnSpMkLst>
        </pc:cxnChg>
        <pc:cxnChg chg="add mod">
          <ac:chgData name="Arjan van der Meer" userId="008f28a2-684e-4523-b3ca-dcb37d9c3e5d" providerId="ADAL" clId="{EDCE2028-0D12-4BF9-9B5B-480A0D187AD0}" dt="2021-10-26T09:28:08.932" v="1547"/>
          <ac:cxnSpMkLst>
            <pc:docMk/>
            <pc:sldMk cId="2435104620" sldId="1098"/>
            <ac:cxnSpMk id="52" creationId="{E22D3F04-A57A-4AC3-A012-747C1F680F0F}"/>
          </ac:cxnSpMkLst>
        </pc:cxnChg>
        <pc:cxnChg chg="add mod">
          <ac:chgData name="Arjan van der Meer" userId="008f28a2-684e-4523-b3ca-dcb37d9c3e5d" providerId="ADAL" clId="{EDCE2028-0D12-4BF9-9B5B-480A0D187AD0}" dt="2021-10-26T09:28:08.932" v="1547"/>
          <ac:cxnSpMkLst>
            <pc:docMk/>
            <pc:sldMk cId="2435104620" sldId="1098"/>
            <ac:cxnSpMk id="53" creationId="{7D84282D-BEAF-450F-8438-6A99CD6E286D}"/>
          </ac:cxnSpMkLst>
        </pc:cxnChg>
        <pc:cxnChg chg="del mod">
          <ac:chgData name="Arjan van der Meer" userId="008f28a2-684e-4523-b3ca-dcb37d9c3e5d" providerId="ADAL" clId="{EDCE2028-0D12-4BF9-9B5B-480A0D187AD0}" dt="2021-10-26T09:28:07.531" v="1546" actId="478"/>
          <ac:cxnSpMkLst>
            <pc:docMk/>
            <pc:sldMk cId="2435104620" sldId="1098"/>
            <ac:cxnSpMk id="60" creationId="{2C131530-8DC5-487C-B066-0F2BE6ED2C45}"/>
          </ac:cxnSpMkLst>
        </pc:cxnChg>
        <pc:cxnChg chg="del mod">
          <ac:chgData name="Arjan van der Meer" userId="008f28a2-684e-4523-b3ca-dcb37d9c3e5d" providerId="ADAL" clId="{EDCE2028-0D12-4BF9-9B5B-480A0D187AD0}" dt="2021-10-26T09:28:07.531" v="1546" actId="478"/>
          <ac:cxnSpMkLst>
            <pc:docMk/>
            <pc:sldMk cId="2435104620" sldId="1098"/>
            <ac:cxnSpMk id="61" creationId="{EF2EE6FD-83CC-4DA9-AE62-BB17FB5A108D}"/>
          </ac:cxnSpMkLst>
        </pc:cxnChg>
        <pc:cxnChg chg="add mod">
          <ac:chgData name="Arjan van der Meer" userId="008f28a2-684e-4523-b3ca-dcb37d9c3e5d" providerId="ADAL" clId="{EDCE2028-0D12-4BF9-9B5B-480A0D187AD0}" dt="2021-10-26T10:03:32.625" v="1761"/>
          <ac:cxnSpMkLst>
            <pc:docMk/>
            <pc:sldMk cId="2435104620" sldId="1098"/>
            <ac:cxnSpMk id="62" creationId="{A30F93F9-DD9A-44CB-A718-BBECE10333B8}"/>
          </ac:cxnSpMkLst>
        </pc:cxnChg>
        <pc:cxnChg chg="del mod">
          <ac:chgData name="Arjan van der Meer" userId="008f28a2-684e-4523-b3ca-dcb37d9c3e5d" providerId="ADAL" clId="{EDCE2028-0D12-4BF9-9B5B-480A0D187AD0}" dt="2021-10-26T09:28:07.531" v="1546" actId="478"/>
          <ac:cxnSpMkLst>
            <pc:docMk/>
            <pc:sldMk cId="2435104620" sldId="1098"/>
            <ac:cxnSpMk id="63" creationId="{3E89D847-9DC9-4090-9364-DBC3D4A5410E}"/>
          </ac:cxnSpMkLst>
        </pc:cxnChg>
        <pc:cxnChg chg="add mod">
          <ac:chgData name="Arjan van der Meer" userId="008f28a2-684e-4523-b3ca-dcb37d9c3e5d" providerId="ADAL" clId="{EDCE2028-0D12-4BF9-9B5B-480A0D187AD0}" dt="2021-10-26T10:03:32.625" v="1761"/>
          <ac:cxnSpMkLst>
            <pc:docMk/>
            <pc:sldMk cId="2435104620" sldId="1098"/>
            <ac:cxnSpMk id="65" creationId="{3F0498BF-7573-466F-9D6D-603E134D246A}"/>
          </ac:cxnSpMkLst>
        </pc:cxnChg>
      </pc:sldChg>
      <pc:sldChg chg="addCm modCm">
        <pc:chgData name="Arjan van der Meer" userId="008f28a2-684e-4523-b3ca-dcb37d9c3e5d" providerId="ADAL" clId="{EDCE2028-0D12-4BF9-9B5B-480A0D187AD0}" dt="2021-10-26T08:00:09.721" v="2"/>
        <pc:sldMkLst>
          <pc:docMk/>
          <pc:sldMk cId="2481146114" sldId="1103"/>
        </pc:sldMkLst>
      </pc:sldChg>
      <pc:sldChg chg="del">
        <pc:chgData name="Arjan van der Meer" userId="008f28a2-684e-4523-b3ca-dcb37d9c3e5d" providerId="ADAL" clId="{EDCE2028-0D12-4BF9-9B5B-480A0D187AD0}" dt="2021-10-26T13:37:15.209" v="2424" actId="2696"/>
        <pc:sldMkLst>
          <pc:docMk/>
          <pc:sldMk cId="2152731525" sldId="1106"/>
        </pc:sldMkLst>
      </pc:sldChg>
      <pc:sldChg chg="del">
        <pc:chgData name="Arjan van der Meer" userId="008f28a2-684e-4523-b3ca-dcb37d9c3e5d" providerId="ADAL" clId="{EDCE2028-0D12-4BF9-9B5B-480A0D187AD0}" dt="2021-10-26T09:21:36.719" v="1469" actId="2696"/>
        <pc:sldMkLst>
          <pc:docMk/>
          <pc:sldMk cId="1607942654" sldId="1108"/>
        </pc:sldMkLst>
      </pc:sldChg>
      <pc:sldChg chg="addSp delSp modSp add mod modNotesTx">
        <pc:chgData name="Arjan van der Meer" userId="008f28a2-684e-4523-b3ca-dcb37d9c3e5d" providerId="ADAL" clId="{EDCE2028-0D12-4BF9-9B5B-480A0D187AD0}" dt="2021-10-26T13:36:17.425" v="2420" actId="20577"/>
        <pc:sldMkLst>
          <pc:docMk/>
          <pc:sldMk cId="3385077853" sldId="1108"/>
        </pc:sldMkLst>
        <pc:spChg chg="mod">
          <ac:chgData name="Arjan van der Meer" userId="008f28a2-684e-4523-b3ca-dcb37d9c3e5d" providerId="ADAL" clId="{EDCE2028-0D12-4BF9-9B5B-480A0D187AD0}" dt="2021-10-26T10:59:58.225" v="2005" actId="20577"/>
          <ac:spMkLst>
            <pc:docMk/>
            <pc:sldMk cId="3385077853" sldId="1108"/>
            <ac:spMk id="2" creationId="{53CB77FA-CF1B-4B0E-A304-10CE6620EE56}"/>
          </ac:spMkLst>
        </pc:spChg>
        <pc:spChg chg="del mod">
          <ac:chgData name="Arjan van der Meer" userId="008f28a2-684e-4523-b3ca-dcb37d9c3e5d" providerId="ADAL" clId="{EDCE2028-0D12-4BF9-9B5B-480A0D187AD0}" dt="2021-10-26T11:25:56.226" v="2156" actId="478"/>
          <ac:spMkLst>
            <pc:docMk/>
            <pc:sldMk cId="3385077853" sldId="1108"/>
            <ac:spMk id="32" creationId="{183B576E-6D3C-4673-8864-2412E2B8F42A}"/>
          </ac:spMkLst>
        </pc:spChg>
        <pc:spChg chg="del">
          <ac:chgData name="Arjan van der Meer" userId="008f28a2-684e-4523-b3ca-dcb37d9c3e5d" providerId="ADAL" clId="{EDCE2028-0D12-4BF9-9B5B-480A0D187AD0}" dt="2021-10-26T11:26:00.247" v="2158" actId="478"/>
          <ac:spMkLst>
            <pc:docMk/>
            <pc:sldMk cId="3385077853" sldId="1108"/>
            <ac:spMk id="33" creationId="{75A0DDD0-B1DF-4D7C-824B-10BB3FF1BDD1}"/>
          </ac:spMkLst>
        </pc:spChg>
        <pc:spChg chg="del">
          <ac:chgData name="Arjan van der Meer" userId="008f28a2-684e-4523-b3ca-dcb37d9c3e5d" providerId="ADAL" clId="{EDCE2028-0D12-4BF9-9B5B-480A0D187AD0}" dt="2021-10-26T11:25:58.537" v="2157" actId="478"/>
          <ac:spMkLst>
            <pc:docMk/>
            <pc:sldMk cId="3385077853" sldId="1108"/>
            <ac:spMk id="34" creationId="{AFC2E2A5-43EA-4191-B04A-A25BD219A8BD}"/>
          </ac:spMkLst>
        </pc:spChg>
        <pc:spChg chg="add mod">
          <ac:chgData name="Arjan van der Meer" userId="008f28a2-684e-4523-b3ca-dcb37d9c3e5d" providerId="ADAL" clId="{EDCE2028-0D12-4BF9-9B5B-480A0D187AD0}" dt="2021-10-26T11:06:57.116" v="2018"/>
          <ac:spMkLst>
            <pc:docMk/>
            <pc:sldMk cId="3385077853" sldId="1108"/>
            <ac:spMk id="43" creationId="{612C57C5-C3FD-4AEA-AFAC-2BEBFF75A352}"/>
          </ac:spMkLst>
        </pc:spChg>
        <pc:spChg chg="add mod">
          <ac:chgData name="Arjan van der Meer" userId="008f28a2-684e-4523-b3ca-dcb37d9c3e5d" providerId="ADAL" clId="{EDCE2028-0D12-4BF9-9B5B-480A0D187AD0}" dt="2021-10-26T11:06:57.116" v="2018"/>
          <ac:spMkLst>
            <pc:docMk/>
            <pc:sldMk cId="3385077853" sldId="1108"/>
            <ac:spMk id="48" creationId="{EC47B659-3763-453D-B857-EC9F829B5BC3}"/>
          </ac:spMkLst>
        </pc:spChg>
        <pc:spChg chg="add mod">
          <ac:chgData name="Arjan van der Meer" userId="008f28a2-684e-4523-b3ca-dcb37d9c3e5d" providerId="ADAL" clId="{EDCE2028-0D12-4BF9-9B5B-480A0D187AD0}" dt="2021-10-26T11:06:57.116" v="2018"/>
          <ac:spMkLst>
            <pc:docMk/>
            <pc:sldMk cId="3385077853" sldId="1108"/>
            <ac:spMk id="49" creationId="{6EA8BC74-6012-4D65-A66B-05786ED0F00B}"/>
          </ac:spMkLst>
        </pc:spChg>
        <pc:spChg chg="add mod">
          <ac:chgData name="Arjan van der Meer" userId="008f28a2-684e-4523-b3ca-dcb37d9c3e5d" providerId="ADAL" clId="{EDCE2028-0D12-4BF9-9B5B-480A0D187AD0}" dt="2021-10-26T11:25:43.679" v="2153"/>
          <ac:spMkLst>
            <pc:docMk/>
            <pc:sldMk cId="3385077853" sldId="1108"/>
            <ac:spMk id="50" creationId="{3B87FBEB-1F4B-46FE-BFA4-1A1B44E76407}"/>
          </ac:spMkLst>
        </pc:spChg>
        <pc:spChg chg="add mod">
          <ac:chgData name="Arjan van der Meer" userId="008f28a2-684e-4523-b3ca-dcb37d9c3e5d" providerId="ADAL" clId="{EDCE2028-0D12-4BF9-9B5B-480A0D187AD0}" dt="2021-10-26T11:25:43.679" v="2153"/>
          <ac:spMkLst>
            <pc:docMk/>
            <pc:sldMk cId="3385077853" sldId="1108"/>
            <ac:spMk id="51" creationId="{ABED5051-E556-4DEB-BD67-B61E160BB524}"/>
          </ac:spMkLst>
        </pc:spChg>
        <pc:spChg chg="add mod">
          <ac:chgData name="Arjan van der Meer" userId="008f28a2-684e-4523-b3ca-dcb37d9c3e5d" providerId="ADAL" clId="{EDCE2028-0D12-4BF9-9B5B-480A0D187AD0}" dt="2021-10-26T11:25:43.679" v="2153"/>
          <ac:spMkLst>
            <pc:docMk/>
            <pc:sldMk cId="3385077853" sldId="1108"/>
            <ac:spMk id="52" creationId="{6BF31AE1-CE56-4607-AF74-01BE3587081D}"/>
          </ac:spMkLst>
        </pc:spChg>
        <pc:spChg chg="add mod">
          <ac:chgData name="Arjan van der Meer" userId="008f28a2-684e-4523-b3ca-dcb37d9c3e5d" providerId="ADAL" clId="{EDCE2028-0D12-4BF9-9B5B-480A0D187AD0}" dt="2021-10-26T11:25:43.679" v="2153"/>
          <ac:spMkLst>
            <pc:docMk/>
            <pc:sldMk cId="3385077853" sldId="1108"/>
            <ac:spMk id="53" creationId="{8B6F1395-B070-43A9-BA99-E60CA023686C}"/>
          </ac:spMkLst>
        </pc:spChg>
        <pc:spChg chg="add mod">
          <ac:chgData name="Arjan van der Meer" userId="008f28a2-684e-4523-b3ca-dcb37d9c3e5d" providerId="ADAL" clId="{EDCE2028-0D12-4BF9-9B5B-480A0D187AD0}" dt="2021-10-26T11:25:43.679" v="2153"/>
          <ac:spMkLst>
            <pc:docMk/>
            <pc:sldMk cId="3385077853" sldId="1108"/>
            <ac:spMk id="55" creationId="{6900E034-B2C4-4FB1-A4FB-3726A37CF0F0}"/>
          </ac:spMkLst>
        </pc:spChg>
        <pc:spChg chg="add mod">
          <ac:chgData name="Arjan van der Meer" userId="008f28a2-684e-4523-b3ca-dcb37d9c3e5d" providerId="ADAL" clId="{EDCE2028-0D12-4BF9-9B5B-480A0D187AD0}" dt="2021-10-26T11:25:43.679" v="2153"/>
          <ac:spMkLst>
            <pc:docMk/>
            <pc:sldMk cId="3385077853" sldId="1108"/>
            <ac:spMk id="56" creationId="{21DA479D-3C31-4776-9981-576F6F930F62}"/>
          </ac:spMkLst>
        </pc:spChg>
        <pc:spChg chg="add mod">
          <ac:chgData name="Arjan van der Meer" userId="008f28a2-684e-4523-b3ca-dcb37d9c3e5d" providerId="ADAL" clId="{EDCE2028-0D12-4BF9-9B5B-480A0D187AD0}" dt="2021-10-26T11:26:08.739" v="2159"/>
          <ac:spMkLst>
            <pc:docMk/>
            <pc:sldMk cId="3385077853" sldId="1108"/>
            <ac:spMk id="57" creationId="{38EB5E1C-FEA8-4B93-A5EF-232FEBE6B8E1}"/>
          </ac:spMkLst>
        </pc:spChg>
        <pc:spChg chg="add mod">
          <ac:chgData name="Arjan van der Meer" userId="008f28a2-684e-4523-b3ca-dcb37d9c3e5d" providerId="ADAL" clId="{EDCE2028-0D12-4BF9-9B5B-480A0D187AD0}" dt="2021-10-26T11:26:08.739" v="2159"/>
          <ac:spMkLst>
            <pc:docMk/>
            <pc:sldMk cId="3385077853" sldId="1108"/>
            <ac:spMk id="58" creationId="{ECD1B08B-245D-46B1-AED9-616831266093}"/>
          </ac:spMkLst>
        </pc:spChg>
        <pc:spChg chg="add mod">
          <ac:chgData name="Arjan van der Meer" userId="008f28a2-684e-4523-b3ca-dcb37d9c3e5d" providerId="ADAL" clId="{EDCE2028-0D12-4BF9-9B5B-480A0D187AD0}" dt="2021-10-26T11:26:08.739" v="2159"/>
          <ac:spMkLst>
            <pc:docMk/>
            <pc:sldMk cId="3385077853" sldId="1108"/>
            <ac:spMk id="59" creationId="{9B632230-2158-4DCA-84E9-87BD563DD015}"/>
          </ac:spMkLst>
        </pc:spChg>
        <pc:spChg chg="mod">
          <ac:chgData name="Arjan van der Meer" userId="008f28a2-684e-4523-b3ca-dcb37d9c3e5d" providerId="ADAL" clId="{EDCE2028-0D12-4BF9-9B5B-480A0D187AD0}" dt="2021-10-26T11:06:05.435" v="2011" actId="692"/>
          <ac:spMkLst>
            <pc:docMk/>
            <pc:sldMk cId="3385077853" sldId="1108"/>
            <ac:spMk id="64" creationId="{213DC8BF-D902-4576-AA95-EA3BA35FC62D}"/>
          </ac:spMkLst>
        </pc:spChg>
        <pc:spChg chg="mod">
          <ac:chgData name="Arjan van der Meer" userId="008f28a2-684e-4523-b3ca-dcb37d9c3e5d" providerId="ADAL" clId="{EDCE2028-0D12-4BF9-9B5B-480A0D187AD0}" dt="2021-10-26T11:06:05.435" v="2011" actId="692"/>
          <ac:spMkLst>
            <pc:docMk/>
            <pc:sldMk cId="3385077853" sldId="1108"/>
            <ac:spMk id="66" creationId="{822E3748-69C1-4EF9-995D-D3710AD58186}"/>
          </ac:spMkLst>
        </pc:spChg>
        <pc:spChg chg="mod">
          <ac:chgData name="Arjan van der Meer" userId="008f28a2-684e-4523-b3ca-dcb37d9c3e5d" providerId="ADAL" clId="{EDCE2028-0D12-4BF9-9B5B-480A0D187AD0}" dt="2021-10-26T11:06:05.435" v="2011" actId="692"/>
          <ac:spMkLst>
            <pc:docMk/>
            <pc:sldMk cId="3385077853" sldId="1108"/>
            <ac:spMk id="67" creationId="{1EA5AF2F-C784-4F93-951D-F67CF68D92BD}"/>
          </ac:spMkLst>
        </pc:spChg>
        <pc:spChg chg="del">
          <ac:chgData name="Arjan van der Meer" userId="008f28a2-684e-4523-b3ca-dcb37d9c3e5d" providerId="ADAL" clId="{EDCE2028-0D12-4BF9-9B5B-480A0D187AD0}" dt="2021-10-26T11:25:26.850" v="2152" actId="478"/>
          <ac:spMkLst>
            <pc:docMk/>
            <pc:sldMk cId="3385077853" sldId="1108"/>
            <ac:spMk id="74" creationId="{C30FABC8-CF24-4815-81A1-B2749DC2AC9D}"/>
          </ac:spMkLst>
        </pc:spChg>
        <pc:spChg chg="del">
          <ac:chgData name="Arjan van der Meer" userId="008f28a2-684e-4523-b3ca-dcb37d9c3e5d" providerId="ADAL" clId="{EDCE2028-0D12-4BF9-9B5B-480A0D187AD0}" dt="2021-10-26T11:25:26.850" v="2152" actId="478"/>
          <ac:spMkLst>
            <pc:docMk/>
            <pc:sldMk cId="3385077853" sldId="1108"/>
            <ac:spMk id="75" creationId="{C4AF4A85-76B2-44FA-8997-75D9A97DD02E}"/>
          </ac:spMkLst>
        </pc:spChg>
        <pc:spChg chg="del">
          <ac:chgData name="Arjan van der Meer" userId="008f28a2-684e-4523-b3ca-dcb37d9c3e5d" providerId="ADAL" clId="{EDCE2028-0D12-4BF9-9B5B-480A0D187AD0}" dt="2021-10-26T11:25:26.850" v="2152" actId="478"/>
          <ac:spMkLst>
            <pc:docMk/>
            <pc:sldMk cId="3385077853" sldId="1108"/>
            <ac:spMk id="77" creationId="{7C4F74EE-997B-46BB-8246-E3D6514A9FD0}"/>
          </ac:spMkLst>
        </pc:spChg>
        <pc:spChg chg="del">
          <ac:chgData name="Arjan van der Meer" userId="008f28a2-684e-4523-b3ca-dcb37d9c3e5d" providerId="ADAL" clId="{EDCE2028-0D12-4BF9-9B5B-480A0D187AD0}" dt="2021-10-26T11:25:26.850" v="2152" actId="478"/>
          <ac:spMkLst>
            <pc:docMk/>
            <pc:sldMk cId="3385077853" sldId="1108"/>
            <ac:spMk id="78" creationId="{A71A20B9-8CEB-4960-A821-440D3D16371C}"/>
          </ac:spMkLst>
        </pc:spChg>
        <pc:spChg chg="del">
          <ac:chgData name="Arjan van der Meer" userId="008f28a2-684e-4523-b3ca-dcb37d9c3e5d" providerId="ADAL" clId="{EDCE2028-0D12-4BF9-9B5B-480A0D187AD0}" dt="2021-10-26T11:25:26.850" v="2152" actId="478"/>
          <ac:spMkLst>
            <pc:docMk/>
            <pc:sldMk cId="3385077853" sldId="1108"/>
            <ac:spMk id="79" creationId="{6654B4D5-88FE-4D08-B38D-D7880E23C5A9}"/>
          </ac:spMkLst>
        </pc:spChg>
        <pc:spChg chg="del">
          <ac:chgData name="Arjan van der Meer" userId="008f28a2-684e-4523-b3ca-dcb37d9c3e5d" providerId="ADAL" clId="{EDCE2028-0D12-4BF9-9B5B-480A0D187AD0}" dt="2021-10-26T11:25:26.850" v="2152" actId="478"/>
          <ac:spMkLst>
            <pc:docMk/>
            <pc:sldMk cId="3385077853" sldId="1108"/>
            <ac:spMk id="80" creationId="{A8F249F8-5D76-499D-B189-E48418992F61}"/>
          </ac:spMkLst>
        </pc:spChg>
      </pc:sldChg>
      <pc:sldChg chg="addSp modSp add del mod">
        <pc:chgData name="Arjan van der Meer" userId="008f28a2-684e-4523-b3ca-dcb37d9c3e5d" providerId="ADAL" clId="{EDCE2028-0D12-4BF9-9B5B-480A0D187AD0}" dt="2021-10-26T11:12:03.285" v="2088" actId="2696"/>
        <pc:sldMkLst>
          <pc:docMk/>
          <pc:sldMk cId="228136720" sldId="1110"/>
        </pc:sldMkLst>
        <pc:spChg chg="mod">
          <ac:chgData name="Arjan van der Meer" userId="008f28a2-684e-4523-b3ca-dcb37d9c3e5d" providerId="ADAL" clId="{EDCE2028-0D12-4BF9-9B5B-480A0D187AD0}" dt="2021-10-26T10:59:54.251" v="2004" actId="20577"/>
          <ac:spMkLst>
            <pc:docMk/>
            <pc:sldMk cId="228136720" sldId="1110"/>
            <ac:spMk id="2" creationId="{53CB77FA-CF1B-4B0E-A304-10CE6620EE56}"/>
          </ac:spMkLst>
        </pc:spChg>
        <pc:spChg chg="add mod">
          <ac:chgData name="Arjan van der Meer" userId="008f28a2-684e-4523-b3ca-dcb37d9c3e5d" providerId="ADAL" clId="{EDCE2028-0D12-4BF9-9B5B-480A0D187AD0}" dt="2021-10-26T11:06:55.330" v="2017"/>
          <ac:spMkLst>
            <pc:docMk/>
            <pc:sldMk cId="228136720" sldId="1110"/>
            <ac:spMk id="42" creationId="{F0D833B9-F349-40C8-93F9-876A5BCB0F02}"/>
          </ac:spMkLst>
        </pc:spChg>
        <pc:spChg chg="add mod">
          <ac:chgData name="Arjan van der Meer" userId="008f28a2-684e-4523-b3ca-dcb37d9c3e5d" providerId="ADAL" clId="{EDCE2028-0D12-4BF9-9B5B-480A0D187AD0}" dt="2021-10-26T11:06:55.330" v="2017"/>
          <ac:spMkLst>
            <pc:docMk/>
            <pc:sldMk cId="228136720" sldId="1110"/>
            <ac:spMk id="48" creationId="{9E3EC328-57CE-4ED0-BF4B-1DA60B7F43AF}"/>
          </ac:spMkLst>
        </pc:spChg>
        <pc:spChg chg="add mod">
          <ac:chgData name="Arjan van der Meer" userId="008f28a2-684e-4523-b3ca-dcb37d9c3e5d" providerId="ADAL" clId="{EDCE2028-0D12-4BF9-9B5B-480A0D187AD0}" dt="2021-10-26T11:06:55.330" v="2017"/>
          <ac:spMkLst>
            <pc:docMk/>
            <pc:sldMk cId="228136720" sldId="1110"/>
            <ac:spMk id="49" creationId="{B741169D-66F2-4AE8-B4E0-E5CE7139AF96}"/>
          </ac:spMkLst>
        </pc:spChg>
      </pc:sldChg>
      <pc:sldChg chg="del modNotesTx">
        <pc:chgData name="Arjan van der Meer" userId="008f28a2-684e-4523-b3ca-dcb37d9c3e5d" providerId="ADAL" clId="{EDCE2028-0D12-4BF9-9B5B-480A0D187AD0}" dt="2021-10-26T09:21:36.719" v="1469" actId="2696"/>
        <pc:sldMkLst>
          <pc:docMk/>
          <pc:sldMk cId="1613319492" sldId="1110"/>
        </pc:sldMkLst>
      </pc:sldChg>
      <pc:sldChg chg="del">
        <pc:chgData name="Arjan van der Meer" userId="008f28a2-684e-4523-b3ca-dcb37d9c3e5d" providerId="ADAL" clId="{EDCE2028-0D12-4BF9-9B5B-480A0D187AD0}" dt="2021-10-26T10:52:14.074" v="2000" actId="2696"/>
        <pc:sldMkLst>
          <pc:docMk/>
          <pc:sldMk cId="2418337089" sldId="1111"/>
        </pc:sldMkLst>
      </pc:sldChg>
      <pc:sldChg chg="modSp mod modNotesTx">
        <pc:chgData name="Arjan van der Meer" userId="008f28a2-684e-4523-b3ca-dcb37d9c3e5d" providerId="ADAL" clId="{EDCE2028-0D12-4BF9-9B5B-480A0D187AD0}" dt="2021-10-26T13:31:58.942" v="2412" actId="1076"/>
        <pc:sldMkLst>
          <pc:docMk/>
          <pc:sldMk cId="3959803911" sldId="1113"/>
        </pc:sldMkLst>
        <pc:picChg chg="mod">
          <ac:chgData name="Arjan van der Meer" userId="008f28a2-684e-4523-b3ca-dcb37d9c3e5d" providerId="ADAL" clId="{EDCE2028-0D12-4BF9-9B5B-480A0D187AD0}" dt="2021-10-26T13:31:58.942" v="2412" actId="1076"/>
          <ac:picMkLst>
            <pc:docMk/>
            <pc:sldMk cId="3959803911" sldId="1113"/>
            <ac:picMk id="12" creationId="{8D67FA59-26D7-48E6-987E-D832F6960A59}"/>
          </ac:picMkLst>
        </pc:picChg>
      </pc:sldChg>
      <pc:sldChg chg="addSp modSp mod ord modAnim">
        <pc:chgData name="Arjan van der Meer" userId="008f28a2-684e-4523-b3ca-dcb37d9c3e5d" providerId="ADAL" clId="{EDCE2028-0D12-4BF9-9B5B-480A0D187AD0}" dt="2021-10-26T10:52:04.806" v="1999"/>
        <pc:sldMkLst>
          <pc:docMk/>
          <pc:sldMk cId="4228508098" sldId="1115"/>
        </pc:sldMkLst>
        <pc:spChg chg="mod">
          <ac:chgData name="Arjan van der Meer" userId="008f28a2-684e-4523-b3ca-dcb37d9c3e5d" providerId="ADAL" clId="{EDCE2028-0D12-4BF9-9B5B-480A0D187AD0}" dt="2021-10-26T10:11:43.714" v="1936" actId="20577"/>
          <ac:spMkLst>
            <pc:docMk/>
            <pc:sldMk cId="4228508098" sldId="1115"/>
            <ac:spMk id="2" creationId="{A077C089-3A7E-44C2-88D4-DE7D0F1EA5A2}"/>
          </ac:spMkLst>
        </pc:spChg>
        <pc:spChg chg="add mod">
          <ac:chgData name="Arjan van der Meer" userId="008f28a2-684e-4523-b3ca-dcb37d9c3e5d" providerId="ADAL" clId="{EDCE2028-0D12-4BF9-9B5B-480A0D187AD0}" dt="2021-10-26T10:51:55.954" v="1998" actId="207"/>
          <ac:spMkLst>
            <pc:docMk/>
            <pc:sldMk cId="4228508098" sldId="1115"/>
            <ac:spMk id="6" creationId="{D525383D-F1AE-4B4C-B713-E8C4E68A48A3}"/>
          </ac:spMkLst>
        </pc:spChg>
        <pc:spChg chg="mod">
          <ac:chgData name="Arjan van der Meer" userId="008f28a2-684e-4523-b3ca-dcb37d9c3e5d" providerId="ADAL" clId="{EDCE2028-0D12-4BF9-9B5B-480A0D187AD0}" dt="2021-10-26T10:09:46.547" v="1933" actId="692"/>
          <ac:spMkLst>
            <pc:docMk/>
            <pc:sldMk cId="4228508098" sldId="1115"/>
            <ac:spMk id="7" creationId="{6D23690B-CCF6-4ED5-8578-F974EE0ED9B0}"/>
          </ac:spMkLst>
        </pc:spChg>
        <pc:spChg chg="mod">
          <ac:chgData name="Arjan van der Meer" userId="008f28a2-684e-4523-b3ca-dcb37d9c3e5d" providerId="ADAL" clId="{EDCE2028-0D12-4BF9-9B5B-480A0D187AD0}" dt="2021-10-26T10:09:59.174" v="1935" actId="692"/>
          <ac:spMkLst>
            <pc:docMk/>
            <pc:sldMk cId="4228508098" sldId="1115"/>
            <ac:spMk id="8" creationId="{749D42A6-4748-4D26-AD1F-1410F8966EFB}"/>
          </ac:spMkLst>
        </pc:spChg>
        <pc:spChg chg="mod">
          <ac:chgData name="Arjan van der Meer" userId="008f28a2-684e-4523-b3ca-dcb37d9c3e5d" providerId="ADAL" clId="{EDCE2028-0D12-4BF9-9B5B-480A0D187AD0}" dt="2021-10-26T10:08:45.168" v="1924" actId="1076"/>
          <ac:spMkLst>
            <pc:docMk/>
            <pc:sldMk cId="4228508098" sldId="1115"/>
            <ac:spMk id="11" creationId="{7B338E93-2A0B-4DBB-BFE2-50FE487719D8}"/>
          </ac:spMkLst>
        </pc:spChg>
        <pc:spChg chg="mod">
          <ac:chgData name="Arjan van der Meer" userId="008f28a2-684e-4523-b3ca-dcb37d9c3e5d" providerId="ADAL" clId="{EDCE2028-0D12-4BF9-9B5B-480A0D187AD0}" dt="2021-10-26T10:08:49.851" v="1926" actId="1076"/>
          <ac:spMkLst>
            <pc:docMk/>
            <pc:sldMk cId="4228508098" sldId="1115"/>
            <ac:spMk id="14" creationId="{05C6BFB8-ABD4-4F0B-AF70-7D4314083796}"/>
          </ac:spMkLst>
        </pc:spChg>
        <pc:spChg chg="mod">
          <ac:chgData name="Arjan van der Meer" userId="008f28a2-684e-4523-b3ca-dcb37d9c3e5d" providerId="ADAL" clId="{EDCE2028-0D12-4BF9-9B5B-480A0D187AD0}" dt="2021-10-26T08:35:39.788" v="803" actId="1036"/>
          <ac:spMkLst>
            <pc:docMk/>
            <pc:sldMk cId="4228508098" sldId="1115"/>
            <ac:spMk id="18" creationId="{4090F086-B1AA-476C-BF44-D41B324E5356}"/>
          </ac:spMkLst>
        </pc:spChg>
        <pc:spChg chg="mod">
          <ac:chgData name="Arjan van der Meer" userId="008f28a2-684e-4523-b3ca-dcb37d9c3e5d" providerId="ADAL" clId="{EDCE2028-0D12-4BF9-9B5B-480A0D187AD0}" dt="2021-10-26T10:08:42.401" v="1923" actId="1076"/>
          <ac:spMkLst>
            <pc:docMk/>
            <pc:sldMk cId="4228508098" sldId="1115"/>
            <ac:spMk id="19" creationId="{B433080E-286F-4612-A4B6-0977D1871A2C}"/>
          </ac:spMkLst>
        </pc:spChg>
        <pc:spChg chg="mod">
          <ac:chgData name="Arjan van der Meer" userId="008f28a2-684e-4523-b3ca-dcb37d9c3e5d" providerId="ADAL" clId="{EDCE2028-0D12-4BF9-9B5B-480A0D187AD0}" dt="2021-10-26T10:08:51.985" v="1927" actId="1076"/>
          <ac:spMkLst>
            <pc:docMk/>
            <pc:sldMk cId="4228508098" sldId="1115"/>
            <ac:spMk id="22" creationId="{CD404A15-56AF-47D3-98C2-22FAD78CA59C}"/>
          </ac:spMkLst>
        </pc:spChg>
        <pc:spChg chg="mod">
          <ac:chgData name="Arjan van der Meer" userId="008f28a2-684e-4523-b3ca-dcb37d9c3e5d" providerId="ADAL" clId="{EDCE2028-0D12-4BF9-9B5B-480A0D187AD0}" dt="2021-10-26T10:08:47.630" v="1925" actId="1076"/>
          <ac:spMkLst>
            <pc:docMk/>
            <pc:sldMk cId="4228508098" sldId="1115"/>
            <ac:spMk id="23" creationId="{F8C24E07-2FC9-4107-B097-7DCCE394171E}"/>
          </ac:spMkLst>
        </pc:spChg>
        <pc:spChg chg="mod">
          <ac:chgData name="Arjan van der Meer" userId="008f28a2-684e-4523-b3ca-dcb37d9c3e5d" providerId="ADAL" clId="{EDCE2028-0D12-4BF9-9B5B-480A0D187AD0}" dt="2021-10-26T10:08:37.045" v="1922" actId="692"/>
          <ac:spMkLst>
            <pc:docMk/>
            <pc:sldMk cId="4228508098" sldId="1115"/>
            <ac:spMk id="25" creationId="{9EB00A02-7F87-4562-8A39-D3D5E883FD3E}"/>
          </ac:spMkLst>
        </pc:spChg>
        <pc:spChg chg="mod">
          <ac:chgData name="Arjan van der Meer" userId="008f28a2-684e-4523-b3ca-dcb37d9c3e5d" providerId="ADAL" clId="{EDCE2028-0D12-4BF9-9B5B-480A0D187AD0}" dt="2021-10-26T10:08:59.013" v="1929" actId="1076"/>
          <ac:spMkLst>
            <pc:docMk/>
            <pc:sldMk cId="4228508098" sldId="1115"/>
            <ac:spMk id="29" creationId="{6970AF9C-6F58-47A9-B653-848D35D1835F}"/>
          </ac:spMkLst>
        </pc:spChg>
        <pc:spChg chg="mod">
          <ac:chgData name="Arjan van der Meer" userId="008f28a2-684e-4523-b3ca-dcb37d9c3e5d" providerId="ADAL" clId="{EDCE2028-0D12-4BF9-9B5B-480A0D187AD0}" dt="2021-10-26T10:12:57.248" v="1940" actId="1037"/>
          <ac:spMkLst>
            <pc:docMk/>
            <pc:sldMk cId="4228508098" sldId="1115"/>
            <ac:spMk id="31" creationId="{AE34956D-9252-4779-B7B9-B466E6D09148}"/>
          </ac:spMkLst>
        </pc:spChg>
        <pc:spChg chg="mod">
          <ac:chgData name="Arjan van der Meer" userId="008f28a2-684e-4523-b3ca-dcb37d9c3e5d" providerId="ADAL" clId="{EDCE2028-0D12-4BF9-9B5B-480A0D187AD0}" dt="2021-10-26T10:09:05.068" v="1931" actId="1076"/>
          <ac:spMkLst>
            <pc:docMk/>
            <pc:sldMk cId="4228508098" sldId="1115"/>
            <ac:spMk id="33" creationId="{7A5C231A-004B-4595-9502-D55C643AE1B7}"/>
          </ac:spMkLst>
        </pc:spChg>
        <pc:spChg chg="mod">
          <ac:chgData name="Arjan van der Meer" userId="008f28a2-684e-4523-b3ca-dcb37d9c3e5d" providerId="ADAL" clId="{EDCE2028-0D12-4BF9-9B5B-480A0D187AD0}" dt="2021-10-26T10:08:37.045" v="1922" actId="692"/>
          <ac:spMkLst>
            <pc:docMk/>
            <pc:sldMk cId="4228508098" sldId="1115"/>
            <ac:spMk id="34" creationId="{B56F3528-7EFC-4EA0-A697-611D5AF202AA}"/>
          </ac:spMkLst>
        </pc:spChg>
        <pc:spChg chg="mod">
          <ac:chgData name="Arjan van der Meer" userId="008f28a2-684e-4523-b3ca-dcb37d9c3e5d" providerId="ADAL" clId="{EDCE2028-0D12-4BF9-9B5B-480A0D187AD0}" dt="2021-10-26T10:09:02.701" v="1930" actId="1076"/>
          <ac:spMkLst>
            <pc:docMk/>
            <pc:sldMk cId="4228508098" sldId="1115"/>
            <ac:spMk id="37" creationId="{FE0198BE-DE02-4362-8929-52485F14F190}"/>
          </ac:spMkLst>
        </pc:spChg>
        <pc:spChg chg="mod">
          <ac:chgData name="Arjan van der Meer" userId="008f28a2-684e-4523-b3ca-dcb37d9c3e5d" providerId="ADAL" clId="{EDCE2028-0D12-4BF9-9B5B-480A0D187AD0}" dt="2021-10-26T08:37:31.959" v="884" actId="1035"/>
          <ac:spMkLst>
            <pc:docMk/>
            <pc:sldMk cId="4228508098" sldId="1115"/>
            <ac:spMk id="39" creationId="{60B6EA00-27AF-45D7-91B8-86CCDB2D6058}"/>
          </ac:spMkLst>
        </pc:spChg>
        <pc:spChg chg="mod">
          <ac:chgData name="Arjan van der Meer" userId="008f28a2-684e-4523-b3ca-dcb37d9c3e5d" providerId="ADAL" clId="{EDCE2028-0D12-4BF9-9B5B-480A0D187AD0}" dt="2021-10-26T08:37:35.655" v="885" actId="20577"/>
          <ac:spMkLst>
            <pc:docMk/>
            <pc:sldMk cId="4228508098" sldId="1115"/>
            <ac:spMk id="40" creationId="{C09BEA99-9DDB-49EB-80AD-A862787C9705}"/>
          </ac:spMkLst>
        </pc:spChg>
      </pc:sldChg>
      <pc:sldChg chg="modSp mod modNotesTx">
        <pc:chgData name="Arjan van der Meer" userId="008f28a2-684e-4523-b3ca-dcb37d9c3e5d" providerId="ADAL" clId="{EDCE2028-0D12-4BF9-9B5B-480A0D187AD0}" dt="2021-10-26T09:20:35.937" v="1467" actId="122"/>
        <pc:sldMkLst>
          <pc:docMk/>
          <pc:sldMk cId="2671899600" sldId="1116"/>
        </pc:sldMkLst>
        <pc:graphicFrameChg chg="mod modGraphic">
          <ac:chgData name="Arjan van der Meer" userId="008f28a2-684e-4523-b3ca-dcb37d9c3e5d" providerId="ADAL" clId="{EDCE2028-0D12-4BF9-9B5B-480A0D187AD0}" dt="2021-10-26T09:20:35.937" v="1467" actId="122"/>
          <ac:graphicFrameMkLst>
            <pc:docMk/>
            <pc:sldMk cId="2671899600" sldId="1116"/>
            <ac:graphicFrameMk id="8" creationId="{3382420A-ABE0-4BFE-A914-12212A89A270}"/>
          </ac:graphicFrameMkLst>
        </pc:graphicFrameChg>
      </pc:sldChg>
      <pc:sldChg chg="modNotesTx">
        <pc:chgData name="Arjan van der Meer" userId="008f28a2-684e-4523-b3ca-dcb37d9c3e5d" providerId="ADAL" clId="{EDCE2028-0D12-4BF9-9B5B-480A0D187AD0}" dt="2021-10-26T08:09:49.025" v="195" actId="20577"/>
        <pc:sldMkLst>
          <pc:docMk/>
          <pc:sldMk cId="2590100134" sldId="1117"/>
        </pc:sldMkLst>
      </pc:sldChg>
      <pc:sldChg chg="add del mod modShow">
        <pc:chgData name="Arjan van der Meer" userId="008f28a2-684e-4523-b3ca-dcb37d9c3e5d" providerId="ADAL" clId="{EDCE2028-0D12-4BF9-9B5B-480A0D187AD0}" dt="2021-10-26T13:34:51.992" v="2415" actId="2696"/>
        <pc:sldMkLst>
          <pc:docMk/>
          <pc:sldMk cId="4186590872" sldId="1118"/>
        </pc:sldMkLst>
      </pc:sldChg>
      <pc:sldChg chg="modSp new mod modNotesTx">
        <pc:chgData name="Arjan van der Meer" userId="008f28a2-684e-4523-b3ca-dcb37d9c3e5d" providerId="ADAL" clId="{EDCE2028-0D12-4BF9-9B5B-480A0D187AD0}" dt="2021-10-26T08:25:26.716" v="683" actId="20577"/>
        <pc:sldMkLst>
          <pc:docMk/>
          <pc:sldMk cId="847182652" sldId="1119"/>
        </pc:sldMkLst>
        <pc:spChg chg="mod">
          <ac:chgData name="Arjan van der Meer" userId="008f28a2-684e-4523-b3ca-dcb37d9c3e5d" providerId="ADAL" clId="{EDCE2028-0D12-4BF9-9B5B-480A0D187AD0}" dt="2021-10-26T08:16:16.069" v="609" actId="20577"/>
          <ac:spMkLst>
            <pc:docMk/>
            <pc:sldMk cId="847182652" sldId="1119"/>
            <ac:spMk id="2" creationId="{AC18CA00-5FBF-47E7-8F84-043A194AE890}"/>
          </ac:spMkLst>
        </pc:spChg>
        <pc:spChg chg="mod">
          <ac:chgData name="Arjan van der Meer" userId="008f28a2-684e-4523-b3ca-dcb37d9c3e5d" providerId="ADAL" clId="{EDCE2028-0D12-4BF9-9B5B-480A0D187AD0}" dt="2021-10-26T08:20:24.895" v="611" actId="20577"/>
          <ac:spMkLst>
            <pc:docMk/>
            <pc:sldMk cId="847182652" sldId="1119"/>
            <ac:spMk id="6" creationId="{1143A0EF-47C8-48D2-BA66-4ECEE22362EA}"/>
          </ac:spMkLst>
        </pc:spChg>
      </pc:sldChg>
      <pc:sldChg chg="new del modNotesTx">
        <pc:chgData name="Arjan van der Meer" userId="008f28a2-684e-4523-b3ca-dcb37d9c3e5d" providerId="ADAL" clId="{EDCE2028-0D12-4BF9-9B5B-480A0D187AD0}" dt="2021-10-26T10:59:28.722" v="2002" actId="47"/>
        <pc:sldMkLst>
          <pc:docMk/>
          <pc:sldMk cId="1574633963" sldId="1120"/>
        </pc:sldMkLst>
      </pc:sldChg>
      <pc:sldChg chg="new del modNotesTx">
        <pc:chgData name="Arjan van der Meer" userId="008f28a2-684e-4523-b3ca-dcb37d9c3e5d" providerId="ADAL" clId="{EDCE2028-0D12-4BF9-9B5B-480A0D187AD0}" dt="2021-10-26T10:59:31.685" v="2003" actId="47"/>
        <pc:sldMkLst>
          <pc:docMk/>
          <pc:sldMk cId="4165506791" sldId="1121"/>
        </pc:sldMkLst>
      </pc:sldChg>
      <pc:sldChg chg="new del">
        <pc:chgData name="Arjan van der Meer" userId="008f28a2-684e-4523-b3ca-dcb37d9c3e5d" providerId="ADAL" clId="{EDCE2028-0D12-4BF9-9B5B-480A0D187AD0}" dt="2021-10-26T08:50:22.232" v="1145" actId="2696"/>
        <pc:sldMkLst>
          <pc:docMk/>
          <pc:sldMk cId="1056190983" sldId="1122"/>
        </pc:sldMkLst>
      </pc:sldChg>
      <pc:sldChg chg="addSp delSp modSp add mod ord">
        <pc:chgData name="Arjan van der Meer" userId="008f28a2-684e-4523-b3ca-dcb37d9c3e5d" providerId="ADAL" clId="{EDCE2028-0D12-4BF9-9B5B-480A0D187AD0}" dt="2021-10-26T10:03:02.785" v="1760" actId="20577"/>
        <pc:sldMkLst>
          <pc:docMk/>
          <pc:sldMk cId="1057191630" sldId="1122"/>
        </pc:sldMkLst>
        <pc:spChg chg="add mod">
          <ac:chgData name="Arjan van der Meer" userId="008f28a2-684e-4523-b3ca-dcb37d9c3e5d" providerId="ADAL" clId="{EDCE2028-0D12-4BF9-9B5B-480A0D187AD0}" dt="2021-10-26T10:02:54.702" v="1756" actId="20577"/>
          <ac:spMkLst>
            <pc:docMk/>
            <pc:sldMk cId="1057191630" sldId="1122"/>
            <ac:spMk id="36" creationId="{43FFFAD8-4908-4803-930B-2EC5F5A1C745}"/>
          </ac:spMkLst>
        </pc:spChg>
        <pc:spChg chg="add mod">
          <ac:chgData name="Arjan van der Meer" userId="008f28a2-684e-4523-b3ca-dcb37d9c3e5d" providerId="ADAL" clId="{EDCE2028-0D12-4BF9-9B5B-480A0D187AD0}" dt="2021-10-26T10:03:02.785" v="1760" actId="20577"/>
          <ac:spMkLst>
            <pc:docMk/>
            <pc:sldMk cId="1057191630" sldId="1122"/>
            <ac:spMk id="37" creationId="{9EF89426-8367-4C61-B92E-0EA40F06A55D}"/>
          </ac:spMkLst>
        </pc:spChg>
        <pc:spChg chg="add del">
          <ac:chgData name="Arjan van der Meer" userId="008f28a2-684e-4523-b3ca-dcb37d9c3e5d" providerId="ADAL" clId="{EDCE2028-0D12-4BF9-9B5B-480A0D187AD0}" dt="2021-10-26T10:01:02.382" v="1751" actId="478"/>
          <ac:spMkLst>
            <pc:docMk/>
            <pc:sldMk cId="1057191630" sldId="1122"/>
            <ac:spMk id="58" creationId="{16F5055A-AA4F-466A-88F0-FF2A20EF94B2}"/>
          </ac:spMkLst>
        </pc:spChg>
        <pc:cxnChg chg="add mod">
          <ac:chgData name="Arjan van der Meer" userId="008f28a2-684e-4523-b3ca-dcb37d9c3e5d" providerId="ADAL" clId="{EDCE2028-0D12-4BF9-9B5B-480A0D187AD0}" dt="2021-10-26T10:02:52.409" v="1754" actId="14100"/>
          <ac:cxnSpMkLst>
            <pc:docMk/>
            <pc:sldMk cId="1057191630" sldId="1122"/>
            <ac:cxnSpMk id="34" creationId="{6106B9A8-8F0E-457F-B871-E67980A2780E}"/>
          </ac:cxnSpMkLst>
        </pc:cxnChg>
        <pc:cxnChg chg="add mod">
          <ac:chgData name="Arjan van der Meer" userId="008f28a2-684e-4523-b3ca-dcb37d9c3e5d" providerId="ADAL" clId="{EDCE2028-0D12-4BF9-9B5B-480A0D187AD0}" dt="2021-10-26T10:02:48.031" v="1753"/>
          <ac:cxnSpMkLst>
            <pc:docMk/>
            <pc:sldMk cId="1057191630" sldId="1122"/>
            <ac:cxnSpMk id="35" creationId="{16E3FA22-EB9E-493A-86CB-A1A4F494AC82}"/>
          </ac:cxnSpMkLst>
        </pc:cxnChg>
      </pc:sldChg>
      <pc:sldChg chg="add del">
        <pc:chgData name="Arjan van der Meer" userId="008f28a2-684e-4523-b3ca-dcb37d9c3e5d" providerId="ADAL" clId="{EDCE2028-0D12-4BF9-9B5B-480A0D187AD0}" dt="2021-10-26T10:06:07.215" v="1820" actId="47"/>
        <pc:sldMkLst>
          <pc:docMk/>
          <pc:sldMk cId="474391226" sldId="1123"/>
        </pc:sldMkLst>
      </pc:sldChg>
      <pc:sldChg chg="add modNotesTx">
        <pc:chgData name="Arjan van der Meer" userId="008f28a2-684e-4523-b3ca-dcb37d9c3e5d" providerId="ADAL" clId="{EDCE2028-0D12-4BF9-9B5B-480A0D187AD0}" dt="2021-10-26T13:36:09.358" v="2419" actId="20577"/>
        <pc:sldMkLst>
          <pc:docMk/>
          <pc:sldMk cId="2448761889" sldId="1123"/>
        </pc:sldMkLst>
      </pc:sldChg>
      <pc:sldChg chg="addSp delSp modSp add mod">
        <pc:chgData name="Arjan van der Meer" userId="008f28a2-684e-4523-b3ca-dcb37d9c3e5d" providerId="ADAL" clId="{EDCE2028-0D12-4BF9-9B5B-480A0D187AD0}" dt="2021-10-26T11:26:49.676" v="2164" actId="692"/>
        <pc:sldMkLst>
          <pc:docMk/>
          <pc:sldMk cId="2534952866" sldId="1124"/>
        </pc:sldMkLst>
        <pc:spChg chg="mod">
          <ac:chgData name="Arjan van der Meer" userId="008f28a2-684e-4523-b3ca-dcb37d9c3e5d" providerId="ADAL" clId="{EDCE2028-0D12-4BF9-9B5B-480A0D187AD0}" dt="2021-10-26T11:26:49.676" v="2164" actId="692"/>
          <ac:spMkLst>
            <pc:docMk/>
            <pc:sldMk cId="2534952866" sldId="1124"/>
            <ac:spMk id="7" creationId="{05BA8703-982C-4B3F-B875-AB6CC6887E4A}"/>
          </ac:spMkLst>
        </pc:spChg>
        <pc:spChg chg="add mod">
          <ac:chgData name="Arjan van der Meer" userId="008f28a2-684e-4523-b3ca-dcb37d9c3e5d" providerId="ADAL" clId="{EDCE2028-0D12-4BF9-9B5B-480A0D187AD0}" dt="2021-10-26T11:18:35.292" v="2131"/>
          <ac:spMkLst>
            <pc:docMk/>
            <pc:sldMk cId="2534952866" sldId="1124"/>
            <ac:spMk id="39" creationId="{5B2049E2-AD41-4CD1-A1EA-A47DCE75E15E}"/>
          </ac:spMkLst>
        </pc:spChg>
        <pc:spChg chg="add mod">
          <ac:chgData name="Arjan van der Meer" userId="008f28a2-684e-4523-b3ca-dcb37d9c3e5d" providerId="ADAL" clId="{EDCE2028-0D12-4BF9-9B5B-480A0D187AD0}" dt="2021-10-26T11:18:35.292" v="2131"/>
          <ac:spMkLst>
            <pc:docMk/>
            <pc:sldMk cId="2534952866" sldId="1124"/>
            <ac:spMk id="44" creationId="{7F20BA0E-4BDD-481B-9157-A9BC5BBF37A8}"/>
          </ac:spMkLst>
        </pc:spChg>
        <pc:spChg chg="add mod">
          <ac:chgData name="Arjan van der Meer" userId="008f28a2-684e-4523-b3ca-dcb37d9c3e5d" providerId="ADAL" clId="{EDCE2028-0D12-4BF9-9B5B-480A0D187AD0}" dt="2021-10-26T11:18:35.292" v="2131"/>
          <ac:spMkLst>
            <pc:docMk/>
            <pc:sldMk cId="2534952866" sldId="1124"/>
            <ac:spMk id="47" creationId="{927A6EF2-640E-4F6A-A919-96F209C2324E}"/>
          </ac:spMkLst>
        </pc:spChg>
        <pc:spChg chg="add mod">
          <ac:chgData name="Arjan van der Meer" userId="008f28a2-684e-4523-b3ca-dcb37d9c3e5d" providerId="ADAL" clId="{EDCE2028-0D12-4BF9-9B5B-480A0D187AD0}" dt="2021-10-26T11:19:16.398" v="2151" actId="1076"/>
          <ac:spMkLst>
            <pc:docMk/>
            <pc:sldMk cId="2534952866" sldId="1124"/>
            <ac:spMk id="50" creationId="{E34F9FB2-E265-4344-8F06-73E6C860CB51}"/>
          </ac:spMkLst>
        </pc:spChg>
        <pc:spChg chg="add mod">
          <ac:chgData name="Arjan van der Meer" userId="008f28a2-684e-4523-b3ca-dcb37d9c3e5d" providerId="ADAL" clId="{EDCE2028-0D12-4BF9-9B5B-480A0D187AD0}" dt="2021-10-26T11:18:35.292" v="2131"/>
          <ac:spMkLst>
            <pc:docMk/>
            <pc:sldMk cId="2534952866" sldId="1124"/>
            <ac:spMk id="51" creationId="{DC58172C-E918-40E6-B8CE-DC6912E1A1FF}"/>
          </ac:spMkLst>
        </pc:spChg>
        <pc:spChg chg="add mod">
          <ac:chgData name="Arjan van der Meer" userId="008f28a2-684e-4523-b3ca-dcb37d9c3e5d" providerId="ADAL" clId="{EDCE2028-0D12-4BF9-9B5B-480A0D187AD0}" dt="2021-10-26T11:19:02.918" v="2141" actId="1076"/>
          <ac:spMkLst>
            <pc:docMk/>
            <pc:sldMk cId="2534952866" sldId="1124"/>
            <ac:spMk id="64" creationId="{30928383-10FE-4064-A88E-B4C9E7206E31}"/>
          </ac:spMkLst>
        </pc:spChg>
        <pc:spChg chg="del">
          <ac:chgData name="Arjan van der Meer" userId="008f28a2-684e-4523-b3ca-dcb37d9c3e5d" providerId="ADAL" clId="{EDCE2028-0D12-4BF9-9B5B-480A0D187AD0}" dt="2021-10-26T11:18:34.387" v="2130" actId="478"/>
          <ac:spMkLst>
            <pc:docMk/>
            <pc:sldMk cId="2534952866" sldId="1124"/>
            <ac:spMk id="73" creationId="{11371509-A145-4083-8C77-13BCE839A5E3}"/>
          </ac:spMkLst>
        </pc:spChg>
        <pc:spChg chg="del">
          <ac:chgData name="Arjan van der Meer" userId="008f28a2-684e-4523-b3ca-dcb37d9c3e5d" providerId="ADAL" clId="{EDCE2028-0D12-4BF9-9B5B-480A0D187AD0}" dt="2021-10-26T11:18:34.387" v="2130" actId="478"/>
          <ac:spMkLst>
            <pc:docMk/>
            <pc:sldMk cId="2534952866" sldId="1124"/>
            <ac:spMk id="75" creationId="{C73EE4B1-59B8-45F6-94D3-693F21BB1689}"/>
          </ac:spMkLst>
        </pc:spChg>
        <pc:spChg chg="del">
          <ac:chgData name="Arjan van der Meer" userId="008f28a2-684e-4523-b3ca-dcb37d9c3e5d" providerId="ADAL" clId="{EDCE2028-0D12-4BF9-9B5B-480A0D187AD0}" dt="2021-10-26T11:18:34.387" v="2130" actId="478"/>
          <ac:spMkLst>
            <pc:docMk/>
            <pc:sldMk cId="2534952866" sldId="1124"/>
            <ac:spMk id="77" creationId="{62436EC8-1385-4D53-B153-341C14F149AD}"/>
          </ac:spMkLst>
        </pc:spChg>
        <pc:spChg chg="del">
          <ac:chgData name="Arjan van der Meer" userId="008f28a2-684e-4523-b3ca-dcb37d9c3e5d" providerId="ADAL" clId="{EDCE2028-0D12-4BF9-9B5B-480A0D187AD0}" dt="2021-10-26T11:18:34.387" v="2130" actId="478"/>
          <ac:spMkLst>
            <pc:docMk/>
            <pc:sldMk cId="2534952866" sldId="1124"/>
            <ac:spMk id="78" creationId="{ECB98BE5-D6E8-4326-8EFE-EE28823681BA}"/>
          </ac:spMkLst>
        </pc:spChg>
        <pc:cxnChg chg="add mod">
          <ac:chgData name="Arjan van der Meer" userId="008f28a2-684e-4523-b3ca-dcb37d9c3e5d" providerId="ADAL" clId="{EDCE2028-0D12-4BF9-9B5B-480A0D187AD0}" dt="2021-10-26T11:18:20.163" v="2128"/>
          <ac:cxnSpMkLst>
            <pc:docMk/>
            <pc:sldMk cId="2534952866" sldId="1124"/>
            <ac:cxnSpMk id="37" creationId="{FDA63B28-97EA-44F3-BFFC-53E37EF90328}"/>
          </ac:cxnSpMkLst>
        </pc:cxnChg>
        <pc:cxnChg chg="add mod">
          <ac:chgData name="Arjan van der Meer" userId="008f28a2-684e-4523-b3ca-dcb37d9c3e5d" providerId="ADAL" clId="{EDCE2028-0D12-4BF9-9B5B-480A0D187AD0}" dt="2021-10-26T11:18:20.163" v="2128"/>
          <ac:cxnSpMkLst>
            <pc:docMk/>
            <pc:sldMk cId="2534952866" sldId="1124"/>
            <ac:cxnSpMk id="38" creationId="{B9F93C34-74D9-4E70-B165-871E3FB5A98A}"/>
          </ac:cxnSpMkLst>
        </pc:cxnChg>
        <pc:cxnChg chg="add mod">
          <ac:chgData name="Arjan van der Meer" userId="008f28a2-684e-4523-b3ca-dcb37d9c3e5d" providerId="ADAL" clId="{EDCE2028-0D12-4BF9-9B5B-480A0D187AD0}" dt="2021-10-26T11:18:35.292" v="2131"/>
          <ac:cxnSpMkLst>
            <pc:docMk/>
            <pc:sldMk cId="2534952866" sldId="1124"/>
            <ac:cxnSpMk id="45" creationId="{3A58033C-82F7-49B5-B0AA-445D8F966B2B}"/>
          </ac:cxnSpMkLst>
        </pc:cxnChg>
        <pc:cxnChg chg="add mod">
          <ac:chgData name="Arjan van der Meer" userId="008f28a2-684e-4523-b3ca-dcb37d9c3e5d" providerId="ADAL" clId="{EDCE2028-0D12-4BF9-9B5B-480A0D187AD0}" dt="2021-10-26T11:18:35.292" v="2131"/>
          <ac:cxnSpMkLst>
            <pc:docMk/>
            <pc:sldMk cId="2534952866" sldId="1124"/>
            <ac:cxnSpMk id="46" creationId="{34280D23-9F61-4AAD-9295-EF39E60D08C9}"/>
          </ac:cxnSpMkLst>
        </pc:cxnChg>
        <pc:cxnChg chg="add mod">
          <ac:chgData name="Arjan van der Meer" userId="008f28a2-684e-4523-b3ca-dcb37d9c3e5d" providerId="ADAL" clId="{EDCE2028-0D12-4BF9-9B5B-480A0D187AD0}" dt="2021-10-26T11:18:35.292" v="2131"/>
          <ac:cxnSpMkLst>
            <pc:docMk/>
            <pc:sldMk cId="2534952866" sldId="1124"/>
            <ac:cxnSpMk id="60" creationId="{A4751AD5-BE76-466B-BF88-11DECC367FAF}"/>
          </ac:cxnSpMkLst>
        </pc:cxnChg>
        <pc:cxnChg chg="add mod">
          <ac:chgData name="Arjan van der Meer" userId="008f28a2-684e-4523-b3ca-dcb37d9c3e5d" providerId="ADAL" clId="{EDCE2028-0D12-4BF9-9B5B-480A0D187AD0}" dt="2021-10-26T11:18:35.292" v="2131"/>
          <ac:cxnSpMkLst>
            <pc:docMk/>
            <pc:sldMk cId="2534952866" sldId="1124"/>
            <ac:cxnSpMk id="61" creationId="{AE40117E-75F4-4493-AEA5-30BD3B190FA7}"/>
          </ac:cxnSpMkLst>
        </pc:cxnChg>
        <pc:cxnChg chg="add mod">
          <ac:chgData name="Arjan van der Meer" userId="008f28a2-684e-4523-b3ca-dcb37d9c3e5d" providerId="ADAL" clId="{EDCE2028-0D12-4BF9-9B5B-480A0D187AD0}" dt="2021-10-26T11:18:35.292" v="2131"/>
          <ac:cxnSpMkLst>
            <pc:docMk/>
            <pc:sldMk cId="2534952866" sldId="1124"/>
            <ac:cxnSpMk id="63" creationId="{CA5BF790-4DB3-489E-AEFD-98DDAED69F91}"/>
          </ac:cxnSpMkLst>
        </pc:cxnChg>
        <pc:cxnChg chg="del mod">
          <ac:chgData name="Arjan van der Meer" userId="008f28a2-684e-4523-b3ca-dcb37d9c3e5d" providerId="ADAL" clId="{EDCE2028-0D12-4BF9-9B5B-480A0D187AD0}" dt="2021-10-26T11:18:34.387" v="2130" actId="478"/>
          <ac:cxnSpMkLst>
            <pc:docMk/>
            <pc:sldMk cId="2534952866" sldId="1124"/>
            <ac:cxnSpMk id="74" creationId="{20A73534-5F7B-4BC0-A943-7AAEDD64BF3C}"/>
          </ac:cxnSpMkLst>
        </pc:cxnChg>
        <pc:cxnChg chg="del mod">
          <ac:chgData name="Arjan van der Meer" userId="008f28a2-684e-4523-b3ca-dcb37d9c3e5d" providerId="ADAL" clId="{EDCE2028-0D12-4BF9-9B5B-480A0D187AD0}" dt="2021-10-26T11:18:34.387" v="2130" actId="478"/>
          <ac:cxnSpMkLst>
            <pc:docMk/>
            <pc:sldMk cId="2534952866" sldId="1124"/>
            <ac:cxnSpMk id="79" creationId="{8EE26847-5017-4F5D-B884-78275689194A}"/>
          </ac:cxnSpMkLst>
        </pc:cxnChg>
      </pc:sldChg>
    </pc:docChg>
  </pc:docChgLst>
  <pc:docChgLst>
    <pc:chgData name="Wytse Oortwijn" userId="6365480a-dc8d-4ff6-9ac3-d587988518bc" providerId="ADAL" clId="{C4974F62-E8B2-4531-84F0-7A90DC734774}"/>
    <pc:docChg chg="undo custSel addSld modSld">
      <pc:chgData name="Wytse Oortwijn" userId="6365480a-dc8d-4ff6-9ac3-d587988518bc" providerId="ADAL" clId="{C4974F62-E8B2-4531-84F0-7A90DC734774}" dt="2021-10-27T06:46:27.649" v="1124" actId="20577"/>
      <pc:docMkLst>
        <pc:docMk/>
      </pc:docMkLst>
      <pc:sldChg chg="addSp delSp modSp mod modAnim">
        <pc:chgData name="Wytse Oortwijn" userId="6365480a-dc8d-4ff6-9ac3-d587988518bc" providerId="ADAL" clId="{C4974F62-E8B2-4531-84F0-7A90DC734774}" dt="2021-10-27T06:46:07.600" v="1104" actId="1037"/>
        <pc:sldMkLst>
          <pc:docMk/>
          <pc:sldMk cId="847182652" sldId="1119"/>
        </pc:sldMkLst>
        <pc:spChg chg="mod">
          <ac:chgData name="Wytse Oortwijn" userId="6365480a-dc8d-4ff6-9ac3-d587988518bc" providerId="ADAL" clId="{C4974F62-E8B2-4531-84F0-7A90DC734774}" dt="2021-10-26T13:24:00.880" v="289" actId="1076"/>
          <ac:spMkLst>
            <pc:docMk/>
            <pc:sldMk cId="847182652" sldId="1119"/>
            <ac:spMk id="2" creationId="{AC18CA00-5FBF-47E7-8F84-043A194AE890}"/>
          </ac:spMkLst>
        </pc:spChg>
        <pc:spChg chg="del">
          <ac:chgData name="Wytse Oortwijn" userId="6365480a-dc8d-4ff6-9ac3-d587988518bc" providerId="ADAL" clId="{C4974F62-E8B2-4531-84F0-7A90DC734774}" dt="2021-10-26T13:03:44.338" v="0" actId="478"/>
          <ac:spMkLst>
            <pc:docMk/>
            <pc:sldMk cId="847182652" sldId="1119"/>
            <ac:spMk id="6" creationId="{1143A0EF-47C8-48D2-BA66-4ECEE22362EA}"/>
          </ac:spMkLst>
        </pc:spChg>
        <pc:spChg chg="add mod">
          <ac:chgData name="Wytse Oortwijn" userId="6365480a-dc8d-4ff6-9ac3-d587988518bc" providerId="ADAL" clId="{C4974F62-E8B2-4531-84F0-7A90DC734774}" dt="2021-10-26T13:20:53.408" v="237" actId="1036"/>
          <ac:spMkLst>
            <pc:docMk/>
            <pc:sldMk cId="847182652" sldId="1119"/>
            <ac:spMk id="35" creationId="{275BDC51-84B0-4599-83F2-78DC823CB3EE}"/>
          </ac:spMkLst>
        </pc:spChg>
        <pc:spChg chg="add mod">
          <ac:chgData name="Wytse Oortwijn" userId="6365480a-dc8d-4ff6-9ac3-d587988518bc" providerId="ADAL" clId="{C4974F62-E8B2-4531-84F0-7A90DC734774}" dt="2021-10-26T13:21:20.413" v="249" actId="1038"/>
          <ac:spMkLst>
            <pc:docMk/>
            <pc:sldMk cId="847182652" sldId="1119"/>
            <ac:spMk id="36" creationId="{73472EA8-9B6A-4DBD-97A0-654A371F21CE}"/>
          </ac:spMkLst>
        </pc:spChg>
        <pc:spChg chg="add del mod">
          <ac:chgData name="Wytse Oortwijn" userId="6365480a-dc8d-4ff6-9ac3-d587988518bc" providerId="ADAL" clId="{C4974F62-E8B2-4531-84F0-7A90DC734774}" dt="2021-10-26T13:11:15.681" v="166"/>
          <ac:spMkLst>
            <pc:docMk/>
            <pc:sldMk cId="847182652" sldId="1119"/>
            <ac:spMk id="37" creationId="{7116A8EB-6D8D-4376-87B5-5254D8B787EA}"/>
          </ac:spMkLst>
        </pc:spChg>
        <pc:spChg chg="add mod">
          <ac:chgData name="Wytse Oortwijn" userId="6365480a-dc8d-4ff6-9ac3-d587988518bc" providerId="ADAL" clId="{C4974F62-E8B2-4531-84F0-7A90DC734774}" dt="2021-10-27T06:45:55.932" v="1087" actId="1038"/>
          <ac:spMkLst>
            <pc:docMk/>
            <pc:sldMk cId="847182652" sldId="1119"/>
            <ac:spMk id="38" creationId="{37D72904-908F-4EDC-9EE2-82D335CEB55B}"/>
          </ac:spMkLst>
        </pc:spChg>
        <pc:spChg chg="add mod">
          <ac:chgData name="Wytse Oortwijn" userId="6365480a-dc8d-4ff6-9ac3-d587988518bc" providerId="ADAL" clId="{C4974F62-E8B2-4531-84F0-7A90DC734774}" dt="2021-10-27T06:45:59.709" v="1098" actId="1037"/>
          <ac:spMkLst>
            <pc:docMk/>
            <pc:sldMk cId="847182652" sldId="1119"/>
            <ac:spMk id="39" creationId="{58704511-0FC6-4905-9145-7E898852C44C}"/>
          </ac:spMkLst>
        </pc:spChg>
        <pc:spChg chg="add mod">
          <ac:chgData name="Wytse Oortwijn" userId="6365480a-dc8d-4ff6-9ac3-d587988518bc" providerId="ADAL" clId="{C4974F62-E8B2-4531-84F0-7A90DC734774}" dt="2021-10-27T06:45:45.961" v="1065" actId="1037"/>
          <ac:spMkLst>
            <pc:docMk/>
            <pc:sldMk cId="847182652" sldId="1119"/>
            <ac:spMk id="40" creationId="{40FF2F10-E806-4DDC-821B-86A3EAA60358}"/>
          </ac:spMkLst>
        </pc:spChg>
        <pc:spChg chg="add mod">
          <ac:chgData name="Wytse Oortwijn" userId="6365480a-dc8d-4ff6-9ac3-d587988518bc" providerId="ADAL" clId="{C4974F62-E8B2-4531-84F0-7A90DC734774}" dt="2021-10-27T06:45:49.345" v="1073" actId="1037"/>
          <ac:spMkLst>
            <pc:docMk/>
            <pc:sldMk cId="847182652" sldId="1119"/>
            <ac:spMk id="41" creationId="{18C47C71-3AAD-4F59-9C25-C8B0386489FB}"/>
          </ac:spMkLst>
        </pc:spChg>
        <pc:spChg chg="add del mod">
          <ac:chgData name="Wytse Oortwijn" userId="6365480a-dc8d-4ff6-9ac3-d587988518bc" providerId="ADAL" clId="{C4974F62-E8B2-4531-84F0-7A90DC734774}" dt="2021-10-26T13:22:58.689" v="269"/>
          <ac:spMkLst>
            <pc:docMk/>
            <pc:sldMk cId="847182652" sldId="1119"/>
            <ac:spMk id="42" creationId="{15AB86CB-2BD9-465C-84FF-F31D18214218}"/>
          </ac:spMkLst>
        </pc:spChg>
        <pc:spChg chg="add mod">
          <ac:chgData name="Wytse Oortwijn" userId="6365480a-dc8d-4ff6-9ac3-d587988518bc" providerId="ADAL" clId="{C4974F62-E8B2-4531-84F0-7A90DC734774}" dt="2021-10-26T13:24:19.716" v="292" actId="164"/>
          <ac:spMkLst>
            <pc:docMk/>
            <pc:sldMk cId="847182652" sldId="1119"/>
            <ac:spMk id="43" creationId="{7750C79B-9DD1-466F-9A0C-411E29E9C8B4}"/>
          </ac:spMkLst>
        </pc:spChg>
        <pc:spChg chg="add mod">
          <ac:chgData name="Wytse Oortwijn" userId="6365480a-dc8d-4ff6-9ac3-d587988518bc" providerId="ADAL" clId="{C4974F62-E8B2-4531-84F0-7A90DC734774}" dt="2021-10-26T13:24:19.716" v="292" actId="164"/>
          <ac:spMkLst>
            <pc:docMk/>
            <pc:sldMk cId="847182652" sldId="1119"/>
            <ac:spMk id="44" creationId="{EF773EBC-5854-4A63-976D-57A7ADECD635}"/>
          </ac:spMkLst>
        </pc:spChg>
        <pc:spChg chg="mod">
          <ac:chgData name="Wytse Oortwijn" userId="6365480a-dc8d-4ff6-9ac3-d587988518bc" providerId="ADAL" clId="{C4974F62-E8B2-4531-84F0-7A90DC734774}" dt="2021-10-26T13:24:27.974" v="294"/>
          <ac:spMkLst>
            <pc:docMk/>
            <pc:sldMk cId="847182652" sldId="1119"/>
            <ac:spMk id="47" creationId="{60B980AC-4E98-4B5A-AE5F-6212A2ACD84F}"/>
          </ac:spMkLst>
        </pc:spChg>
        <pc:spChg chg="mod">
          <ac:chgData name="Wytse Oortwijn" userId="6365480a-dc8d-4ff6-9ac3-d587988518bc" providerId="ADAL" clId="{C4974F62-E8B2-4531-84F0-7A90DC734774}" dt="2021-10-26T13:24:27.974" v="294"/>
          <ac:spMkLst>
            <pc:docMk/>
            <pc:sldMk cId="847182652" sldId="1119"/>
            <ac:spMk id="48" creationId="{D7C7B53A-FD52-4129-9275-28BE2ABCE5F6}"/>
          </ac:spMkLst>
        </pc:spChg>
        <pc:spChg chg="mod">
          <ac:chgData name="Wytse Oortwijn" userId="6365480a-dc8d-4ff6-9ac3-d587988518bc" providerId="ADAL" clId="{C4974F62-E8B2-4531-84F0-7A90DC734774}" dt="2021-10-26T13:24:35.627" v="296"/>
          <ac:spMkLst>
            <pc:docMk/>
            <pc:sldMk cId="847182652" sldId="1119"/>
            <ac:spMk id="50" creationId="{220F7BD6-E910-49C0-B3CB-9A9E44141A32}"/>
          </ac:spMkLst>
        </pc:spChg>
        <pc:spChg chg="mod">
          <ac:chgData name="Wytse Oortwijn" userId="6365480a-dc8d-4ff6-9ac3-d587988518bc" providerId="ADAL" clId="{C4974F62-E8B2-4531-84F0-7A90DC734774}" dt="2021-10-26T13:24:35.627" v="296"/>
          <ac:spMkLst>
            <pc:docMk/>
            <pc:sldMk cId="847182652" sldId="1119"/>
            <ac:spMk id="51" creationId="{9BD8AB88-5C28-4B3A-8FE8-4F8F33EFDB7B}"/>
          </ac:spMkLst>
        </pc:spChg>
        <pc:spChg chg="mod">
          <ac:chgData name="Wytse Oortwijn" userId="6365480a-dc8d-4ff6-9ac3-d587988518bc" providerId="ADAL" clId="{C4974F62-E8B2-4531-84F0-7A90DC734774}" dt="2021-10-26T13:24:40.919" v="298"/>
          <ac:spMkLst>
            <pc:docMk/>
            <pc:sldMk cId="847182652" sldId="1119"/>
            <ac:spMk id="53" creationId="{B863FECB-BCF2-4582-B631-57E21038E2AB}"/>
          </ac:spMkLst>
        </pc:spChg>
        <pc:spChg chg="mod">
          <ac:chgData name="Wytse Oortwijn" userId="6365480a-dc8d-4ff6-9ac3-d587988518bc" providerId="ADAL" clId="{C4974F62-E8B2-4531-84F0-7A90DC734774}" dt="2021-10-26T13:24:40.919" v="298"/>
          <ac:spMkLst>
            <pc:docMk/>
            <pc:sldMk cId="847182652" sldId="1119"/>
            <ac:spMk id="54" creationId="{B0ABDF77-E9D2-45EF-9FF0-2BB197D71E8C}"/>
          </ac:spMkLst>
        </pc:spChg>
        <pc:spChg chg="mod">
          <ac:chgData name="Wytse Oortwijn" userId="6365480a-dc8d-4ff6-9ac3-d587988518bc" providerId="ADAL" clId="{C4974F62-E8B2-4531-84F0-7A90DC734774}" dt="2021-10-26T13:24:47.182" v="300"/>
          <ac:spMkLst>
            <pc:docMk/>
            <pc:sldMk cId="847182652" sldId="1119"/>
            <ac:spMk id="56" creationId="{07EB52F9-F0CB-4759-AB19-E0D94E8744C0}"/>
          </ac:spMkLst>
        </pc:spChg>
        <pc:spChg chg="mod">
          <ac:chgData name="Wytse Oortwijn" userId="6365480a-dc8d-4ff6-9ac3-d587988518bc" providerId="ADAL" clId="{C4974F62-E8B2-4531-84F0-7A90DC734774}" dt="2021-10-26T13:24:47.182" v="300"/>
          <ac:spMkLst>
            <pc:docMk/>
            <pc:sldMk cId="847182652" sldId="1119"/>
            <ac:spMk id="57" creationId="{64E9E4DD-D5ED-4F39-AEAB-A46E7F76521C}"/>
          </ac:spMkLst>
        </pc:spChg>
        <pc:grpChg chg="add mod">
          <ac:chgData name="Wytse Oortwijn" userId="6365480a-dc8d-4ff6-9ac3-d587988518bc" providerId="ADAL" clId="{C4974F62-E8B2-4531-84F0-7A90DC734774}" dt="2021-10-26T13:25:12.876" v="311" actId="1037"/>
          <ac:grpSpMkLst>
            <pc:docMk/>
            <pc:sldMk cId="847182652" sldId="1119"/>
            <ac:grpSpMk id="45" creationId="{C4DDBF8E-D0F2-4B3D-BFBA-A95587217A7C}"/>
          </ac:grpSpMkLst>
        </pc:grpChg>
        <pc:grpChg chg="add mod">
          <ac:chgData name="Wytse Oortwijn" userId="6365480a-dc8d-4ff6-9ac3-d587988518bc" providerId="ADAL" clId="{C4974F62-E8B2-4531-84F0-7A90DC734774}" dt="2021-10-26T13:25:02.793" v="303" actId="555"/>
          <ac:grpSpMkLst>
            <pc:docMk/>
            <pc:sldMk cId="847182652" sldId="1119"/>
            <ac:grpSpMk id="46" creationId="{E824BB42-CC0F-40B9-9C81-5A4909367AC1}"/>
          </ac:grpSpMkLst>
        </pc:grpChg>
        <pc:grpChg chg="add mod">
          <ac:chgData name="Wytse Oortwijn" userId="6365480a-dc8d-4ff6-9ac3-d587988518bc" providerId="ADAL" clId="{C4974F62-E8B2-4531-84F0-7A90DC734774}" dt="2021-10-27T06:46:05.016" v="1101" actId="1037"/>
          <ac:grpSpMkLst>
            <pc:docMk/>
            <pc:sldMk cId="847182652" sldId="1119"/>
            <ac:grpSpMk id="49" creationId="{8630ED7C-4E64-4EB1-B9F7-537BEC6DB308}"/>
          </ac:grpSpMkLst>
        </pc:grpChg>
        <pc:grpChg chg="add mod">
          <ac:chgData name="Wytse Oortwijn" userId="6365480a-dc8d-4ff6-9ac3-d587988518bc" providerId="ADAL" clId="{C4974F62-E8B2-4531-84F0-7A90DC734774}" dt="2021-10-26T13:25:08.568" v="310" actId="1037"/>
          <ac:grpSpMkLst>
            <pc:docMk/>
            <pc:sldMk cId="847182652" sldId="1119"/>
            <ac:grpSpMk id="52" creationId="{4E2381B2-88F0-471A-9899-F7AC3ED7E63A}"/>
          </ac:grpSpMkLst>
        </pc:grpChg>
        <pc:grpChg chg="add mod">
          <ac:chgData name="Wytse Oortwijn" userId="6365480a-dc8d-4ff6-9ac3-d587988518bc" providerId="ADAL" clId="{C4974F62-E8B2-4531-84F0-7A90DC734774}" dt="2021-10-27T06:46:07.600" v="1104" actId="1037"/>
          <ac:grpSpMkLst>
            <pc:docMk/>
            <pc:sldMk cId="847182652" sldId="1119"/>
            <ac:grpSpMk id="55" creationId="{861E1E4B-3AFA-45B4-BA0F-7538C78D20E9}"/>
          </ac:grpSpMkLst>
        </pc:grpChg>
        <pc:picChg chg="add del mod ord">
          <ac:chgData name="Wytse Oortwijn" userId="6365480a-dc8d-4ff6-9ac3-d587988518bc" providerId="ADAL" clId="{C4974F62-E8B2-4531-84F0-7A90DC734774}" dt="2021-10-26T13:05:41.660" v="27" actId="478"/>
          <ac:picMkLst>
            <pc:docMk/>
            <pc:sldMk cId="847182652" sldId="1119"/>
            <ac:picMk id="8" creationId="{25980034-9AE8-4409-AA91-5894590CD935}"/>
          </ac:picMkLst>
        </pc:picChg>
        <pc:picChg chg="add del mod">
          <ac:chgData name="Wytse Oortwijn" userId="6365480a-dc8d-4ff6-9ac3-d587988518bc" providerId="ADAL" clId="{C4974F62-E8B2-4531-84F0-7A90DC734774}" dt="2021-10-26T13:05:41.406" v="25" actId="478"/>
          <ac:picMkLst>
            <pc:docMk/>
            <pc:sldMk cId="847182652" sldId="1119"/>
            <ac:picMk id="10" creationId="{80581C28-CF59-417C-8A4E-347E7E4321DD}"/>
          </ac:picMkLst>
        </pc:picChg>
        <pc:picChg chg="add del mod">
          <ac:chgData name="Wytse Oortwijn" userId="6365480a-dc8d-4ff6-9ac3-d587988518bc" providerId="ADAL" clId="{C4974F62-E8B2-4531-84F0-7A90DC734774}" dt="2021-10-26T13:05:55.435" v="29" actId="931"/>
          <ac:picMkLst>
            <pc:docMk/>
            <pc:sldMk cId="847182652" sldId="1119"/>
            <ac:picMk id="12" creationId="{231E3F87-E209-476E-86E3-BD9168B8F230}"/>
          </ac:picMkLst>
        </pc:picChg>
        <pc:picChg chg="add del mod">
          <ac:chgData name="Wytse Oortwijn" userId="6365480a-dc8d-4ff6-9ac3-d587988518bc" providerId="ADAL" clId="{C4974F62-E8B2-4531-84F0-7A90DC734774}" dt="2021-10-26T13:05:55.435" v="29" actId="931"/>
          <ac:picMkLst>
            <pc:docMk/>
            <pc:sldMk cId="847182652" sldId="1119"/>
            <ac:picMk id="14" creationId="{0A9B1D0C-E590-4016-BE21-EC0BBE55B596}"/>
          </ac:picMkLst>
        </pc:picChg>
        <pc:picChg chg="add del mod">
          <ac:chgData name="Wytse Oortwijn" userId="6365480a-dc8d-4ff6-9ac3-d587988518bc" providerId="ADAL" clId="{C4974F62-E8B2-4531-84F0-7A90DC734774}" dt="2021-10-26T13:05:55.435" v="29" actId="931"/>
          <ac:picMkLst>
            <pc:docMk/>
            <pc:sldMk cId="847182652" sldId="1119"/>
            <ac:picMk id="16" creationId="{1423E187-6E32-4D66-B091-F6C5F162CE15}"/>
          </ac:picMkLst>
        </pc:picChg>
        <pc:picChg chg="add del mod">
          <ac:chgData name="Wytse Oortwijn" userId="6365480a-dc8d-4ff6-9ac3-d587988518bc" providerId="ADAL" clId="{C4974F62-E8B2-4531-84F0-7A90DC734774}" dt="2021-10-26T13:05:55.435" v="29" actId="931"/>
          <ac:picMkLst>
            <pc:docMk/>
            <pc:sldMk cId="847182652" sldId="1119"/>
            <ac:picMk id="18" creationId="{3B67E60D-9208-41AF-AE3C-9CDDEEC290EE}"/>
          </ac:picMkLst>
        </pc:picChg>
        <pc:picChg chg="add del mod">
          <ac:chgData name="Wytse Oortwijn" userId="6365480a-dc8d-4ff6-9ac3-d587988518bc" providerId="ADAL" clId="{C4974F62-E8B2-4531-84F0-7A90DC734774}" dt="2021-10-26T13:05:55.435" v="29" actId="931"/>
          <ac:picMkLst>
            <pc:docMk/>
            <pc:sldMk cId="847182652" sldId="1119"/>
            <ac:picMk id="20" creationId="{F1D9BAA8-A490-4EAC-8D5A-8CEF0B087458}"/>
          </ac:picMkLst>
        </pc:picChg>
        <pc:picChg chg="add del mod">
          <ac:chgData name="Wytse Oortwijn" userId="6365480a-dc8d-4ff6-9ac3-d587988518bc" providerId="ADAL" clId="{C4974F62-E8B2-4531-84F0-7A90DC734774}" dt="2021-10-26T13:05:55.435" v="29" actId="931"/>
          <ac:picMkLst>
            <pc:docMk/>
            <pc:sldMk cId="847182652" sldId="1119"/>
            <ac:picMk id="22" creationId="{B13AEFB0-60D3-4CF5-906E-F33834612F32}"/>
          </ac:picMkLst>
        </pc:picChg>
        <pc:picChg chg="add mod">
          <ac:chgData name="Wytse Oortwijn" userId="6365480a-dc8d-4ff6-9ac3-d587988518bc" providerId="ADAL" clId="{C4974F62-E8B2-4531-84F0-7A90DC734774}" dt="2021-10-26T13:21:26.998" v="266" actId="1035"/>
          <ac:picMkLst>
            <pc:docMk/>
            <pc:sldMk cId="847182652" sldId="1119"/>
            <ac:picMk id="24" creationId="{255BB9E7-2C04-40F8-9FE5-D64C881DAE20}"/>
          </ac:picMkLst>
        </pc:picChg>
        <pc:picChg chg="add mod">
          <ac:chgData name="Wytse Oortwijn" userId="6365480a-dc8d-4ff6-9ac3-d587988518bc" providerId="ADAL" clId="{C4974F62-E8B2-4531-84F0-7A90DC734774}" dt="2021-10-26T13:25:27.217" v="314" actId="14100"/>
          <ac:picMkLst>
            <pc:docMk/>
            <pc:sldMk cId="847182652" sldId="1119"/>
            <ac:picMk id="26" creationId="{F85CDBC9-170B-46B4-8C44-B2C613D07801}"/>
          </ac:picMkLst>
        </pc:picChg>
        <pc:picChg chg="add mod">
          <ac:chgData name="Wytse Oortwijn" userId="6365480a-dc8d-4ff6-9ac3-d587988518bc" providerId="ADAL" clId="{C4974F62-E8B2-4531-84F0-7A90DC734774}" dt="2021-10-26T13:20:53.408" v="237" actId="1036"/>
          <ac:picMkLst>
            <pc:docMk/>
            <pc:sldMk cId="847182652" sldId="1119"/>
            <ac:picMk id="28" creationId="{0A9FD52A-B3AF-4439-93B6-2C60BF7BCEC9}"/>
          </ac:picMkLst>
        </pc:picChg>
        <pc:picChg chg="add mod">
          <ac:chgData name="Wytse Oortwijn" userId="6365480a-dc8d-4ff6-9ac3-d587988518bc" providerId="ADAL" clId="{C4974F62-E8B2-4531-84F0-7A90DC734774}" dt="2021-10-26T13:20:53.408" v="237" actId="1036"/>
          <ac:picMkLst>
            <pc:docMk/>
            <pc:sldMk cId="847182652" sldId="1119"/>
            <ac:picMk id="30" creationId="{53AF082D-AB7F-4861-B596-DF4864CA02C5}"/>
          </ac:picMkLst>
        </pc:picChg>
        <pc:picChg chg="add mod">
          <ac:chgData name="Wytse Oortwijn" userId="6365480a-dc8d-4ff6-9ac3-d587988518bc" providerId="ADAL" clId="{C4974F62-E8B2-4531-84F0-7A90DC734774}" dt="2021-10-26T13:26:27.792" v="321" actId="14100"/>
          <ac:picMkLst>
            <pc:docMk/>
            <pc:sldMk cId="847182652" sldId="1119"/>
            <ac:picMk id="32" creationId="{667CAE6A-E5F1-4F26-AECD-0094A63DC6E8}"/>
          </ac:picMkLst>
        </pc:picChg>
        <pc:picChg chg="add mod">
          <ac:chgData name="Wytse Oortwijn" userId="6365480a-dc8d-4ff6-9ac3-d587988518bc" providerId="ADAL" clId="{C4974F62-E8B2-4531-84F0-7A90DC734774}" dt="2021-10-26T13:26:22.421" v="320" actId="14100"/>
          <ac:picMkLst>
            <pc:docMk/>
            <pc:sldMk cId="847182652" sldId="1119"/>
            <ac:picMk id="34" creationId="{6C5DDFE1-56D1-450F-8F90-40AD0D508DAB}"/>
          </ac:picMkLst>
        </pc:picChg>
      </pc:sldChg>
      <pc:sldChg chg="addSp delSp modSp new mod modAnim">
        <pc:chgData name="Wytse Oortwijn" userId="6365480a-dc8d-4ff6-9ac3-d587988518bc" providerId="ADAL" clId="{C4974F62-E8B2-4531-84F0-7A90DC734774}" dt="2021-10-27T06:46:27.649" v="1124" actId="20577"/>
        <pc:sldMkLst>
          <pc:docMk/>
          <pc:sldMk cId="331565878" sldId="1125"/>
        </pc:sldMkLst>
        <pc:spChg chg="mod">
          <ac:chgData name="Wytse Oortwijn" userId="6365480a-dc8d-4ff6-9ac3-d587988518bc" providerId="ADAL" clId="{C4974F62-E8B2-4531-84F0-7A90DC734774}" dt="2021-10-26T13:50:19.793" v="524" actId="113"/>
          <ac:spMkLst>
            <pc:docMk/>
            <pc:sldMk cId="331565878" sldId="1125"/>
            <ac:spMk id="2" creationId="{33F48EA7-DFB4-4DE2-88EC-CF6714147E44}"/>
          </ac:spMkLst>
        </pc:spChg>
        <pc:spChg chg="mod">
          <ac:chgData name="Wytse Oortwijn" userId="6365480a-dc8d-4ff6-9ac3-d587988518bc" providerId="ADAL" clId="{C4974F62-E8B2-4531-84F0-7A90DC734774}" dt="2021-10-26T13:50:19.276" v="523" actId="113"/>
          <ac:spMkLst>
            <pc:docMk/>
            <pc:sldMk cId="331565878" sldId="1125"/>
            <ac:spMk id="3" creationId="{7932090E-9695-4D51-A7E9-A856A51850CA}"/>
          </ac:spMkLst>
        </pc:spChg>
        <pc:spChg chg="mod">
          <ac:chgData name="Wytse Oortwijn" userId="6365480a-dc8d-4ff6-9ac3-d587988518bc" providerId="ADAL" clId="{C4974F62-E8B2-4531-84F0-7A90DC734774}" dt="2021-10-26T13:50:19.276" v="523" actId="113"/>
          <ac:spMkLst>
            <pc:docMk/>
            <pc:sldMk cId="331565878" sldId="1125"/>
            <ac:spMk id="4" creationId="{D0173841-02F4-4870-BAFD-029316A29E37}"/>
          </ac:spMkLst>
        </pc:spChg>
        <pc:spChg chg="mod">
          <ac:chgData name="Wytse Oortwijn" userId="6365480a-dc8d-4ff6-9ac3-d587988518bc" providerId="ADAL" clId="{C4974F62-E8B2-4531-84F0-7A90DC734774}" dt="2021-10-26T13:50:19.276" v="523" actId="113"/>
          <ac:spMkLst>
            <pc:docMk/>
            <pc:sldMk cId="331565878" sldId="1125"/>
            <ac:spMk id="5" creationId="{12BB2AC3-32E5-4482-89E1-801F84DE7999}"/>
          </ac:spMkLst>
        </pc:spChg>
        <pc:spChg chg="del">
          <ac:chgData name="Wytse Oortwijn" userId="6365480a-dc8d-4ff6-9ac3-d587988518bc" providerId="ADAL" clId="{C4974F62-E8B2-4531-84F0-7A90DC734774}" dt="2021-10-26T13:41:37.606" v="333" actId="478"/>
          <ac:spMkLst>
            <pc:docMk/>
            <pc:sldMk cId="331565878" sldId="1125"/>
            <ac:spMk id="6" creationId="{E51BB304-005D-4F0F-AB9B-58D749CCD609}"/>
          </ac:spMkLst>
        </pc:spChg>
        <pc:spChg chg="add del mod">
          <ac:chgData name="Wytse Oortwijn" userId="6365480a-dc8d-4ff6-9ac3-d587988518bc" providerId="ADAL" clId="{C4974F62-E8B2-4531-84F0-7A90DC734774}" dt="2021-10-26T13:41:06.878" v="327" actId="478"/>
          <ac:spMkLst>
            <pc:docMk/>
            <pc:sldMk cId="331565878" sldId="1125"/>
            <ac:spMk id="7" creationId="{B6D1E443-D884-479C-A3E9-F3566893561A}"/>
          </ac:spMkLst>
        </pc:spChg>
        <pc:spChg chg="add del mod">
          <ac:chgData name="Wytse Oortwijn" userId="6365480a-dc8d-4ff6-9ac3-d587988518bc" providerId="ADAL" clId="{C4974F62-E8B2-4531-84F0-7A90DC734774}" dt="2021-10-26T13:44:29.455" v="346" actId="478"/>
          <ac:spMkLst>
            <pc:docMk/>
            <pc:sldMk cId="331565878" sldId="1125"/>
            <ac:spMk id="8" creationId="{347F6800-B2E6-4421-8314-6337B68A3771}"/>
          </ac:spMkLst>
        </pc:spChg>
        <pc:spChg chg="add mod topLvl">
          <ac:chgData name="Wytse Oortwijn" userId="6365480a-dc8d-4ff6-9ac3-d587988518bc" providerId="ADAL" clId="{C4974F62-E8B2-4531-84F0-7A90DC734774}" dt="2021-10-26T13:54:13.563" v="570" actId="164"/>
          <ac:spMkLst>
            <pc:docMk/>
            <pc:sldMk cId="331565878" sldId="1125"/>
            <ac:spMk id="9" creationId="{3ADC3D70-36E1-4892-A5EB-20B6CB75BAF8}"/>
          </ac:spMkLst>
        </pc:spChg>
        <pc:spChg chg="add mod topLvl">
          <ac:chgData name="Wytse Oortwijn" userId="6365480a-dc8d-4ff6-9ac3-d587988518bc" providerId="ADAL" clId="{C4974F62-E8B2-4531-84F0-7A90DC734774}" dt="2021-10-26T13:56:24.361" v="584" actId="113"/>
          <ac:spMkLst>
            <pc:docMk/>
            <pc:sldMk cId="331565878" sldId="1125"/>
            <ac:spMk id="17" creationId="{35FD9724-DB0C-47CC-A66B-6857918E32D6}"/>
          </ac:spMkLst>
        </pc:spChg>
        <pc:spChg chg="add mod topLvl">
          <ac:chgData name="Wytse Oortwijn" userId="6365480a-dc8d-4ff6-9ac3-d587988518bc" providerId="ADAL" clId="{C4974F62-E8B2-4531-84F0-7A90DC734774}" dt="2021-10-26T13:56:22.294" v="583" actId="113"/>
          <ac:spMkLst>
            <pc:docMk/>
            <pc:sldMk cId="331565878" sldId="1125"/>
            <ac:spMk id="19" creationId="{29355D7B-C240-4699-9E9C-03CBB54BF70A}"/>
          </ac:spMkLst>
        </pc:spChg>
        <pc:spChg chg="add mod topLvl">
          <ac:chgData name="Wytse Oortwijn" userId="6365480a-dc8d-4ff6-9ac3-d587988518bc" providerId="ADAL" clId="{C4974F62-E8B2-4531-84F0-7A90DC734774}" dt="2021-10-26T14:15:48.344" v="1042" actId="165"/>
          <ac:spMkLst>
            <pc:docMk/>
            <pc:sldMk cId="331565878" sldId="1125"/>
            <ac:spMk id="24" creationId="{93C30CE5-1F5D-43FF-92BE-EA1F70D85713}"/>
          </ac:spMkLst>
        </pc:spChg>
        <pc:spChg chg="add mod topLvl">
          <ac:chgData name="Wytse Oortwijn" userId="6365480a-dc8d-4ff6-9ac3-d587988518bc" providerId="ADAL" clId="{C4974F62-E8B2-4531-84F0-7A90DC734774}" dt="2021-10-26T14:15:48.344" v="1042" actId="165"/>
          <ac:spMkLst>
            <pc:docMk/>
            <pc:sldMk cId="331565878" sldId="1125"/>
            <ac:spMk id="25" creationId="{75E34581-23FC-4685-B697-DECB22098343}"/>
          </ac:spMkLst>
        </pc:spChg>
        <pc:spChg chg="add mod topLvl">
          <ac:chgData name="Wytse Oortwijn" userId="6365480a-dc8d-4ff6-9ac3-d587988518bc" providerId="ADAL" clId="{C4974F62-E8B2-4531-84F0-7A90DC734774}" dt="2021-10-26T14:15:48.344" v="1042" actId="165"/>
          <ac:spMkLst>
            <pc:docMk/>
            <pc:sldMk cId="331565878" sldId="1125"/>
            <ac:spMk id="27" creationId="{F232EB9F-93D4-4E7C-A860-E115F788445D}"/>
          </ac:spMkLst>
        </pc:spChg>
        <pc:spChg chg="add mod topLvl">
          <ac:chgData name="Wytse Oortwijn" userId="6365480a-dc8d-4ff6-9ac3-d587988518bc" providerId="ADAL" clId="{C4974F62-E8B2-4531-84F0-7A90DC734774}" dt="2021-10-27T06:46:23.508" v="1111" actId="20577"/>
          <ac:spMkLst>
            <pc:docMk/>
            <pc:sldMk cId="331565878" sldId="1125"/>
            <ac:spMk id="28" creationId="{B4B009D6-9043-4762-BE74-F7275F1BBCCF}"/>
          </ac:spMkLst>
        </pc:spChg>
        <pc:spChg chg="add mod ord">
          <ac:chgData name="Wytse Oortwijn" userId="6365480a-dc8d-4ff6-9ac3-d587988518bc" providerId="ADAL" clId="{C4974F62-E8B2-4531-84F0-7A90DC734774}" dt="2021-10-26T13:54:13.563" v="570" actId="164"/>
          <ac:spMkLst>
            <pc:docMk/>
            <pc:sldMk cId="331565878" sldId="1125"/>
            <ac:spMk id="30" creationId="{BFD7FDCD-38B0-4823-A470-EAA0AC714992}"/>
          </ac:spMkLst>
        </pc:spChg>
        <pc:spChg chg="add mod topLvl">
          <ac:chgData name="Wytse Oortwijn" userId="6365480a-dc8d-4ff6-9ac3-d587988518bc" providerId="ADAL" clId="{C4974F62-E8B2-4531-84F0-7A90DC734774}" dt="2021-10-26T14:15:48.344" v="1042" actId="165"/>
          <ac:spMkLst>
            <pc:docMk/>
            <pc:sldMk cId="331565878" sldId="1125"/>
            <ac:spMk id="37" creationId="{5016BDC1-A85A-49EE-8D45-A96B3326FBCC}"/>
          </ac:spMkLst>
        </pc:spChg>
        <pc:spChg chg="add mod topLvl">
          <ac:chgData name="Wytse Oortwijn" userId="6365480a-dc8d-4ff6-9ac3-d587988518bc" providerId="ADAL" clId="{C4974F62-E8B2-4531-84F0-7A90DC734774}" dt="2021-10-26T14:15:48.344" v="1042" actId="165"/>
          <ac:spMkLst>
            <pc:docMk/>
            <pc:sldMk cId="331565878" sldId="1125"/>
            <ac:spMk id="38" creationId="{3B85B0A8-5A08-491D-86F0-F2DB221BF939}"/>
          </ac:spMkLst>
        </pc:spChg>
        <pc:spChg chg="add mod topLvl">
          <ac:chgData name="Wytse Oortwijn" userId="6365480a-dc8d-4ff6-9ac3-d587988518bc" providerId="ADAL" clId="{C4974F62-E8B2-4531-84F0-7A90DC734774}" dt="2021-10-26T14:15:48.344" v="1042" actId="165"/>
          <ac:spMkLst>
            <pc:docMk/>
            <pc:sldMk cId="331565878" sldId="1125"/>
            <ac:spMk id="39" creationId="{E63278BA-9AC1-4ED1-89F7-78DE8F1E07B1}"/>
          </ac:spMkLst>
        </pc:spChg>
        <pc:spChg chg="add mod topLvl">
          <ac:chgData name="Wytse Oortwijn" userId="6365480a-dc8d-4ff6-9ac3-d587988518bc" providerId="ADAL" clId="{C4974F62-E8B2-4531-84F0-7A90DC734774}" dt="2021-10-26T14:15:48.344" v="1042" actId="165"/>
          <ac:spMkLst>
            <pc:docMk/>
            <pc:sldMk cId="331565878" sldId="1125"/>
            <ac:spMk id="40" creationId="{5F95BF76-9AF5-4E66-8366-D363F330EE17}"/>
          </ac:spMkLst>
        </pc:spChg>
        <pc:spChg chg="add del mod">
          <ac:chgData name="Wytse Oortwijn" userId="6365480a-dc8d-4ff6-9ac3-d587988518bc" providerId="ADAL" clId="{C4974F62-E8B2-4531-84F0-7A90DC734774}" dt="2021-10-26T14:02:45.213" v="771"/>
          <ac:spMkLst>
            <pc:docMk/>
            <pc:sldMk cId="331565878" sldId="1125"/>
            <ac:spMk id="41" creationId="{A71F57F3-C05B-4AA0-BAB0-511D4E5C6481}"/>
          </ac:spMkLst>
        </pc:spChg>
        <pc:spChg chg="add del mod">
          <ac:chgData name="Wytse Oortwijn" userId="6365480a-dc8d-4ff6-9ac3-d587988518bc" providerId="ADAL" clId="{C4974F62-E8B2-4531-84F0-7A90DC734774}" dt="2021-10-26T14:02:43.163" v="768"/>
          <ac:spMkLst>
            <pc:docMk/>
            <pc:sldMk cId="331565878" sldId="1125"/>
            <ac:spMk id="42" creationId="{385B0261-C813-462C-AF1E-13F4B33D47AD}"/>
          </ac:spMkLst>
        </pc:spChg>
        <pc:spChg chg="add mod">
          <ac:chgData name="Wytse Oortwijn" userId="6365480a-dc8d-4ff6-9ac3-d587988518bc" providerId="ADAL" clId="{C4974F62-E8B2-4531-84F0-7A90DC734774}" dt="2021-10-26T14:13:19.778" v="1037" actId="1076"/>
          <ac:spMkLst>
            <pc:docMk/>
            <pc:sldMk cId="331565878" sldId="1125"/>
            <ac:spMk id="43" creationId="{8DA7B8E8-12BD-42FB-9C76-03A409803CCA}"/>
          </ac:spMkLst>
        </pc:spChg>
        <pc:spChg chg="add mod">
          <ac:chgData name="Wytse Oortwijn" userId="6365480a-dc8d-4ff6-9ac3-d587988518bc" providerId="ADAL" clId="{C4974F62-E8B2-4531-84F0-7A90DC734774}" dt="2021-10-27T06:46:27.649" v="1124" actId="20577"/>
          <ac:spMkLst>
            <pc:docMk/>
            <pc:sldMk cId="331565878" sldId="1125"/>
            <ac:spMk id="45" creationId="{3F5778DC-B579-4A79-8E5B-074B66C7EB32}"/>
          </ac:spMkLst>
        </pc:spChg>
        <pc:grpChg chg="add del mod">
          <ac:chgData name="Wytse Oortwijn" userId="6365480a-dc8d-4ff6-9ac3-d587988518bc" providerId="ADAL" clId="{C4974F62-E8B2-4531-84F0-7A90DC734774}" dt="2021-10-26T13:51:46.335" v="548" actId="165"/>
          <ac:grpSpMkLst>
            <pc:docMk/>
            <pc:sldMk cId="331565878" sldId="1125"/>
            <ac:grpSpMk id="21" creationId="{9EC3EABB-5975-4E2C-8B03-A6F50080E879}"/>
          </ac:grpSpMkLst>
        </pc:grpChg>
        <pc:grpChg chg="add mod">
          <ac:chgData name="Wytse Oortwijn" userId="6365480a-dc8d-4ff6-9ac3-d587988518bc" providerId="ADAL" clId="{C4974F62-E8B2-4531-84F0-7A90DC734774}" dt="2021-10-26T14:05:34.107" v="827" actId="1076"/>
          <ac:grpSpMkLst>
            <pc:docMk/>
            <pc:sldMk cId="331565878" sldId="1125"/>
            <ac:grpSpMk id="36" creationId="{9B3E1C9A-2FFF-4063-941F-4C9D9F35EBAF}"/>
          </ac:grpSpMkLst>
        </pc:grpChg>
        <pc:grpChg chg="add del mod">
          <ac:chgData name="Wytse Oortwijn" userId="6365480a-dc8d-4ff6-9ac3-d587988518bc" providerId="ADAL" clId="{C4974F62-E8B2-4531-84F0-7A90DC734774}" dt="2021-10-26T14:09:07.609" v="957" actId="165"/>
          <ac:grpSpMkLst>
            <pc:docMk/>
            <pc:sldMk cId="331565878" sldId="1125"/>
            <ac:grpSpMk id="44" creationId="{1C3DC498-0995-4FC0-92A4-36695170E755}"/>
          </ac:grpSpMkLst>
        </pc:grpChg>
        <pc:grpChg chg="add del mod">
          <ac:chgData name="Wytse Oortwijn" userId="6365480a-dc8d-4ff6-9ac3-d587988518bc" providerId="ADAL" clId="{C4974F62-E8B2-4531-84F0-7A90DC734774}" dt="2021-10-26T14:15:48.344" v="1042" actId="165"/>
          <ac:grpSpMkLst>
            <pc:docMk/>
            <pc:sldMk cId="331565878" sldId="1125"/>
            <ac:grpSpMk id="62" creationId="{A83FD8A7-E237-4815-88CB-010D7BC49B33}"/>
          </ac:grpSpMkLst>
        </pc:grpChg>
        <pc:cxnChg chg="add del mod topLvl">
          <ac:chgData name="Wytse Oortwijn" userId="6365480a-dc8d-4ff6-9ac3-d587988518bc" providerId="ADAL" clId="{C4974F62-E8B2-4531-84F0-7A90DC734774}" dt="2021-10-26T13:51:56.893" v="551" actId="478"/>
          <ac:cxnSpMkLst>
            <pc:docMk/>
            <pc:sldMk cId="331565878" sldId="1125"/>
            <ac:cxnSpMk id="11" creationId="{C88AC23D-653C-4311-B9B4-20720EE26204}"/>
          </ac:cxnSpMkLst>
        </pc:cxnChg>
        <pc:cxnChg chg="add del mod topLvl">
          <ac:chgData name="Wytse Oortwijn" userId="6365480a-dc8d-4ff6-9ac3-d587988518bc" providerId="ADAL" clId="{C4974F62-E8B2-4531-84F0-7A90DC734774}" dt="2021-10-26T13:51:49.559" v="549" actId="478"/>
          <ac:cxnSpMkLst>
            <pc:docMk/>
            <pc:sldMk cId="331565878" sldId="1125"/>
            <ac:cxnSpMk id="12" creationId="{85EC239B-A434-408C-BC29-246BF347F3A0}"/>
          </ac:cxnSpMkLst>
        </pc:cxnChg>
        <pc:cxnChg chg="add del mod">
          <ac:chgData name="Wytse Oortwijn" userId="6365480a-dc8d-4ff6-9ac3-d587988518bc" providerId="ADAL" clId="{C4974F62-E8B2-4531-84F0-7A90DC734774}" dt="2021-10-26T13:46:04.125" v="395"/>
          <ac:cxnSpMkLst>
            <pc:docMk/>
            <pc:sldMk cId="331565878" sldId="1125"/>
            <ac:cxnSpMk id="18" creationId="{A21427B7-92A8-4824-B060-C0840BCE4634}"/>
          </ac:cxnSpMkLst>
        </pc:cxnChg>
        <pc:cxnChg chg="add mod topLvl">
          <ac:chgData name="Wytse Oortwijn" userId="6365480a-dc8d-4ff6-9ac3-d587988518bc" providerId="ADAL" clId="{C4974F62-E8B2-4531-84F0-7A90DC734774}" dt="2021-10-26T14:15:48.344" v="1042" actId="165"/>
          <ac:cxnSpMkLst>
            <pc:docMk/>
            <pc:sldMk cId="331565878" sldId="1125"/>
            <ac:cxnSpMk id="23" creationId="{F0CC8BCF-A360-4D87-90BF-A0ABB127ED04}"/>
          </ac:cxnSpMkLst>
        </pc:cxnChg>
        <pc:cxnChg chg="add mod">
          <ac:chgData name="Wytse Oortwijn" userId="6365480a-dc8d-4ff6-9ac3-d587988518bc" providerId="ADAL" clId="{C4974F62-E8B2-4531-84F0-7A90DC734774}" dt="2021-10-26T13:54:13.563" v="570" actId="164"/>
          <ac:cxnSpMkLst>
            <pc:docMk/>
            <pc:sldMk cId="331565878" sldId="1125"/>
            <ac:cxnSpMk id="32" creationId="{18327B5E-68D0-4907-B3CC-26339DDE7FE9}"/>
          </ac:cxnSpMkLst>
        </pc:cxnChg>
        <pc:cxnChg chg="add mod">
          <ac:chgData name="Wytse Oortwijn" userId="6365480a-dc8d-4ff6-9ac3-d587988518bc" providerId="ADAL" clId="{C4974F62-E8B2-4531-84F0-7A90DC734774}" dt="2021-10-26T13:54:13.563" v="570" actId="164"/>
          <ac:cxnSpMkLst>
            <pc:docMk/>
            <pc:sldMk cId="331565878" sldId="1125"/>
            <ac:cxnSpMk id="33" creationId="{7133BBE1-F75C-42B3-9C4F-100C1EFD7E71}"/>
          </ac:cxnSpMkLst>
        </pc:cxnChg>
        <pc:cxnChg chg="add mod topLvl">
          <ac:chgData name="Wytse Oortwijn" userId="6365480a-dc8d-4ff6-9ac3-d587988518bc" providerId="ADAL" clId="{C4974F62-E8B2-4531-84F0-7A90DC734774}" dt="2021-10-26T14:15:48.344" v="1042" actId="165"/>
          <ac:cxnSpMkLst>
            <pc:docMk/>
            <pc:sldMk cId="331565878" sldId="1125"/>
            <ac:cxnSpMk id="47" creationId="{27195F04-0F68-4DC2-BCA6-F264C8882AE3}"/>
          </ac:cxnSpMkLst>
        </pc:cxnChg>
        <pc:cxnChg chg="add mod topLvl">
          <ac:chgData name="Wytse Oortwijn" userId="6365480a-dc8d-4ff6-9ac3-d587988518bc" providerId="ADAL" clId="{C4974F62-E8B2-4531-84F0-7A90DC734774}" dt="2021-10-26T14:15:48.344" v="1042" actId="165"/>
          <ac:cxnSpMkLst>
            <pc:docMk/>
            <pc:sldMk cId="331565878" sldId="1125"/>
            <ac:cxnSpMk id="50" creationId="{D289FFAB-9FEC-430B-835C-BF8690C87CF3}"/>
          </ac:cxnSpMkLst>
        </pc:cxnChg>
        <pc:cxnChg chg="add mod topLvl">
          <ac:chgData name="Wytse Oortwijn" userId="6365480a-dc8d-4ff6-9ac3-d587988518bc" providerId="ADAL" clId="{C4974F62-E8B2-4531-84F0-7A90DC734774}" dt="2021-10-26T14:15:48.344" v="1042" actId="165"/>
          <ac:cxnSpMkLst>
            <pc:docMk/>
            <pc:sldMk cId="331565878" sldId="1125"/>
            <ac:cxnSpMk id="54" creationId="{4CEC1D4A-50B0-4D6B-9B75-75D096AFA2D2}"/>
          </ac:cxnSpMkLst>
        </pc:cxnChg>
        <pc:cxnChg chg="add mod topLvl">
          <ac:chgData name="Wytse Oortwijn" userId="6365480a-dc8d-4ff6-9ac3-d587988518bc" providerId="ADAL" clId="{C4974F62-E8B2-4531-84F0-7A90DC734774}" dt="2021-10-26T14:15:48.344" v="1042" actId="165"/>
          <ac:cxnSpMkLst>
            <pc:docMk/>
            <pc:sldMk cId="331565878" sldId="1125"/>
            <ac:cxnSpMk id="57" creationId="{FFEC722B-C5D8-4232-A001-B9623BC762B5}"/>
          </ac:cxnSpMkLst>
        </pc:cxnChg>
      </pc:sldChg>
    </pc:docChg>
  </pc:docChgLst>
  <pc:docChgLst>
    <pc:chgData name="Wytse Oortwijn" userId="6365480a-dc8d-4ff6-9ac3-d587988518bc" providerId="ADAL" clId="{8A96A13D-349B-4E35-860C-C028CD85914F}"/>
    <pc:docChg chg="undo custSel addSld delSld modSld sldOrd addSection modSection">
      <pc:chgData name="Wytse Oortwijn" userId="6365480a-dc8d-4ff6-9ac3-d587988518bc" providerId="ADAL" clId="{8A96A13D-349B-4E35-860C-C028CD85914F}" dt="2021-11-22T13:09:20.802" v="3368" actId="17846"/>
      <pc:docMkLst>
        <pc:docMk/>
      </pc:docMkLst>
      <pc:sldChg chg="addSp delSp modSp mod addCm delCm modCm">
        <pc:chgData name="Wytse Oortwijn" userId="6365480a-dc8d-4ff6-9ac3-d587988518bc" providerId="ADAL" clId="{8A96A13D-349B-4E35-860C-C028CD85914F}" dt="2021-11-22T12:44:04.691" v="3082" actId="207"/>
        <pc:sldMkLst>
          <pc:docMk/>
          <pc:sldMk cId="3412387887" sldId="1049"/>
        </pc:sldMkLst>
        <pc:spChg chg="mod">
          <ac:chgData name="Wytse Oortwijn" userId="6365480a-dc8d-4ff6-9ac3-d587988518bc" providerId="ADAL" clId="{8A96A13D-349B-4E35-860C-C028CD85914F}" dt="2021-11-22T10:27:31.312" v="1258" actId="20577"/>
          <ac:spMkLst>
            <pc:docMk/>
            <pc:sldMk cId="3412387887" sldId="1049"/>
            <ac:spMk id="2" creationId="{F706867F-125F-4AA9-ACB2-4461251EDB4D}"/>
          </ac:spMkLst>
        </pc:spChg>
        <pc:spChg chg="add del mod">
          <ac:chgData name="Wytse Oortwijn" userId="6365480a-dc8d-4ff6-9ac3-d587988518bc" providerId="ADAL" clId="{8A96A13D-349B-4E35-860C-C028CD85914F}" dt="2021-11-22T08:04:46.567" v="932" actId="478"/>
          <ac:spMkLst>
            <pc:docMk/>
            <pc:sldMk cId="3412387887" sldId="1049"/>
            <ac:spMk id="7" creationId="{43AC0B6B-0B26-4371-9B41-422BE1A3267F}"/>
          </ac:spMkLst>
        </pc:spChg>
        <pc:graphicFrameChg chg="mod modGraphic">
          <ac:chgData name="Wytse Oortwijn" userId="6365480a-dc8d-4ff6-9ac3-d587988518bc" providerId="ADAL" clId="{8A96A13D-349B-4E35-860C-C028CD85914F}" dt="2021-11-22T12:44:04.691" v="3082" actId="207"/>
          <ac:graphicFrameMkLst>
            <pc:docMk/>
            <pc:sldMk cId="3412387887" sldId="1049"/>
            <ac:graphicFrameMk id="6" creationId="{31FFF2B5-C7AA-48B3-AD89-DE3D50093E75}"/>
          </ac:graphicFrameMkLst>
        </pc:graphicFrameChg>
      </pc:sldChg>
      <pc:sldChg chg="modSp mod addCm delCm modCm">
        <pc:chgData name="Wytse Oortwijn" userId="6365480a-dc8d-4ff6-9ac3-d587988518bc" providerId="ADAL" clId="{8A96A13D-349B-4E35-860C-C028CD85914F}" dt="2021-11-22T12:37:59.573" v="2948" actId="1592"/>
        <pc:sldMkLst>
          <pc:docMk/>
          <pc:sldMk cId="4138300204" sldId="1065"/>
        </pc:sldMkLst>
        <pc:spChg chg="mod">
          <ac:chgData name="Wytse Oortwijn" userId="6365480a-dc8d-4ff6-9ac3-d587988518bc" providerId="ADAL" clId="{8A96A13D-349B-4E35-860C-C028CD85914F}" dt="2021-11-22T10:24:12.809" v="1246" actId="20577"/>
          <ac:spMkLst>
            <pc:docMk/>
            <pc:sldMk cId="4138300204" sldId="1065"/>
            <ac:spMk id="5" creationId="{BDE3B0FF-B947-4B45-82C9-28ED80494271}"/>
          </ac:spMkLst>
        </pc:spChg>
      </pc:sldChg>
      <pc:sldChg chg="delSp modSp mod modAnim addCm delCm modCm">
        <pc:chgData name="Wytse Oortwijn" userId="6365480a-dc8d-4ff6-9ac3-d587988518bc" providerId="ADAL" clId="{8A96A13D-349B-4E35-860C-C028CD85914F}" dt="2021-11-22T10:26:39.986" v="1251" actId="1592"/>
        <pc:sldMkLst>
          <pc:docMk/>
          <pc:sldMk cId="110981679" sldId="1073"/>
        </pc:sldMkLst>
        <pc:spChg chg="mod">
          <ac:chgData name="Wytse Oortwijn" userId="6365480a-dc8d-4ff6-9ac3-d587988518bc" providerId="ADAL" clId="{8A96A13D-349B-4E35-860C-C028CD85914F}" dt="2021-11-19T15:04:50.719" v="95" actId="20577"/>
          <ac:spMkLst>
            <pc:docMk/>
            <pc:sldMk cId="110981679" sldId="1073"/>
            <ac:spMk id="2" creationId="{C8204E95-F47A-4FB7-ADA8-776B3EC3598D}"/>
          </ac:spMkLst>
        </pc:spChg>
        <pc:spChg chg="del mod">
          <ac:chgData name="Wytse Oortwijn" userId="6365480a-dc8d-4ff6-9ac3-d587988518bc" providerId="ADAL" clId="{8A96A13D-349B-4E35-860C-C028CD85914F}" dt="2021-11-22T10:26:03.057" v="1249" actId="478"/>
          <ac:spMkLst>
            <pc:docMk/>
            <pc:sldMk cId="110981679" sldId="1073"/>
            <ac:spMk id="17" creationId="{E196ED96-E916-4CA8-A6E6-5FE87A5129E6}"/>
          </ac:spMkLst>
        </pc:spChg>
      </pc:sldChg>
      <pc:sldChg chg="modSp add mod">
        <pc:chgData name="Wytse Oortwijn" userId="6365480a-dc8d-4ff6-9ac3-d587988518bc" providerId="ADAL" clId="{8A96A13D-349B-4E35-860C-C028CD85914F}" dt="2021-11-19T14:23:30.280" v="64" actId="1076"/>
        <pc:sldMkLst>
          <pc:docMk/>
          <pc:sldMk cId="1055155453" sldId="1120"/>
        </pc:sldMkLst>
        <pc:picChg chg="mod">
          <ac:chgData name="Wytse Oortwijn" userId="6365480a-dc8d-4ff6-9ac3-d587988518bc" providerId="ADAL" clId="{8A96A13D-349B-4E35-860C-C028CD85914F}" dt="2021-11-19T14:23:30.280" v="64" actId="1076"/>
          <ac:picMkLst>
            <pc:docMk/>
            <pc:sldMk cId="1055155453" sldId="1120"/>
            <ac:picMk id="9" creationId="{E851B571-D2A2-4515-824D-6EDB794734DE}"/>
          </ac:picMkLst>
        </pc:picChg>
      </pc:sldChg>
      <pc:sldChg chg="add">
        <pc:chgData name="Wytse Oortwijn" userId="6365480a-dc8d-4ff6-9ac3-d587988518bc" providerId="ADAL" clId="{8A96A13D-349B-4E35-860C-C028CD85914F}" dt="2021-11-19T14:02:55.340" v="8"/>
        <pc:sldMkLst>
          <pc:docMk/>
          <pc:sldMk cId="2347803364" sldId="1121"/>
        </pc:sldMkLst>
      </pc:sldChg>
      <pc:sldChg chg="delSp modSp del mod modShow addCm delCm modCm modNotesTx">
        <pc:chgData name="Wytse Oortwijn" userId="6365480a-dc8d-4ff6-9ac3-d587988518bc" providerId="ADAL" clId="{8A96A13D-349B-4E35-860C-C028CD85914F}" dt="2021-11-22T10:44:04.619" v="1329" actId="2696"/>
        <pc:sldMkLst>
          <pc:docMk/>
          <pc:sldMk cId="1901335668" sldId="1123"/>
        </pc:sldMkLst>
        <pc:spChg chg="del mod">
          <ac:chgData name="Wytse Oortwijn" userId="6365480a-dc8d-4ff6-9ac3-d587988518bc" providerId="ADAL" clId="{8A96A13D-349B-4E35-860C-C028CD85914F}" dt="2021-11-22T10:39:54.216" v="1280" actId="478"/>
          <ac:spMkLst>
            <pc:docMk/>
            <pc:sldMk cId="1901335668" sldId="1123"/>
            <ac:spMk id="5" creationId="{BBA5E12E-123A-4A1F-9F90-A2A4FD3D141C}"/>
          </ac:spMkLst>
        </pc:spChg>
      </pc:sldChg>
      <pc:sldChg chg="modSp mod addCm delCm modCm">
        <pc:chgData name="Wytse Oortwijn" userId="6365480a-dc8d-4ff6-9ac3-d587988518bc" providerId="ADAL" clId="{8A96A13D-349B-4E35-860C-C028CD85914F}" dt="2021-11-22T13:06:15.530" v="3362"/>
        <pc:sldMkLst>
          <pc:docMk/>
          <pc:sldMk cId="2430569674" sldId="1126"/>
        </pc:sldMkLst>
        <pc:spChg chg="mod">
          <ac:chgData name="Wytse Oortwijn" userId="6365480a-dc8d-4ff6-9ac3-d587988518bc" providerId="ADAL" clId="{8A96A13D-349B-4E35-860C-C028CD85914F}" dt="2021-11-19T15:11:32.999" v="131" actId="20577"/>
          <ac:spMkLst>
            <pc:docMk/>
            <pc:sldMk cId="2430569674" sldId="1126"/>
            <ac:spMk id="2" creationId="{D89976F5-7F5A-4B40-B9F1-77268CE5B3D8}"/>
          </ac:spMkLst>
        </pc:spChg>
        <pc:spChg chg="mod">
          <ac:chgData name="Wytse Oortwijn" userId="6365480a-dc8d-4ff6-9ac3-d587988518bc" providerId="ADAL" clId="{8A96A13D-349B-4E35-860C-C028CD85914F}" dt="2021-11-22T12:48:28.632" v="3098" actId="207"/>
          <ac:spMkLst>
            <pc:docMk/>
            <pc:sldMk cId="2430569674" sldId="1126"/>
            <ac:spMk id="10" creationId="{7A7B5374-6F9B-4FD9-A3F3-51F5E2AEDFDE}"/>
          </ac:spMkLst>
        </pc:spChg>
        <pc:spChg chg="mod">
          <ac:chgData name="Wytse Oortwijn" userId="6365480a-dc8d-4ff6-9ac3-d587988518bc" providerId="ADAL" clId="{8A96A13D-349B-4E35-860C-C028CD85914F}" dt="2021-11-22T13:01:56.505" v="3145" actId="20577"/>
          <ac:spMkLst>
            <pc:docMk/>
            <pc:sldMk cId="2430569674" sldId="1126"/>
            <ac:spMk id="12" creationId="{39408B2C-6955-407D-930C-78AC056BA1C9}"/>
          </ac:spMkLst>
        </pc:spChg>
        <pc:spChg chg="mod">
          <ac:chgData name="Wytse Oortwijn" userId="6365480a-dc8d-4ff6-9ac3-d587988518bc" providerId="ADAL" clId="{8A96A13D-349B-4E35-860C-C028CD85914F}" dt="2021-11-22T13:04:19.285" v="3358" actId="20577"/>
          <ac:spMkLst>
            <pc:docMk/>
            <pc:sldMk cId="2430569674" sldId="1126"/>
            <ac:spMk id="15" creationId="{9A8919B3-EF75-4B40-A736-965F4D33B3B9}"/>
          </ac:spMkLst>
        </pc:spChg>
        <pc:spChg chg="mod">
          <ac:chgData name="Wytse Oortwijn" userId="6365480a-dc8d-4ff6-9ac3-d587988518bc" providerId="ADAL" clId="{8A96A13D-349B-4E35-860C-C028CD85914F}" dt="2021-11-22T12:55:43.918" v="3106" actId="20577"/>
          <ac:spMkLst>
            <pc:docMk/>
            <pc:sldMk cId="2430569674" sldId="1126"/>
            <ac:spMk id="16" creationId="{963B4784-A855-45D9-82C4-C9DDA1A7BE44}"/>
          </ac:spMkLst>
        </pc:spChg>
      </pc:sldChg>
      <pc:sldChg chg="add">
        <pc:chgData name="Wytse Oortwijn" userId="6365480a-dc8d-4ff6-9ac3-d587988518bc" providerId="ADAL" clId="{8A96A13D-349B-4E35-860C-C028CD85914F}" dt="2021-11-22T08:28:52.937" v="1148"/>
        <pc:sldMkLst>
          <pc:docMk/>
          <pc:sldMk cId="3866365487" sldId="2090650015"/>
        </pc:sldMkLst>
      </pc:sldChg>
      <pc:sldChg chg="add">
        <pc:chgData name="Wytse Oortwijn" userId="6365480a-dc8d-4ff6-9ac3-d587988518bc" providerId="ADAL" clId="{8A96A13D-349B-4E35-860C-C028CD85914F}" dt="2021-11-22T08:28:52.937" v="1148"/>
        <pc:sldMkLst>
          <pc:docMk/>
          <pc:sldMk cId="3205448163" sldId="2090650016"/>
        </pc:sldMkLst>
      </pc:sldChg>
      <pc:sldChg chg="add ord">
        <pc:chgData name="Wytse Oortwijn" userId="6365480a-dc8d-4ff6-9ac3-d587988518bc" providerId="ADAL" clId="{8A96A13D-349B-4E35-860C-C028CD85914F}" dt="2021-11-22T10:38:47.683" v="1276"/>
        <pc:sldMkLst>
          <pc:docMk/>
          <pc:sldMk cId="2164021417" sldId="2090650017"/>
        </pc:sldMkLst>
      </pc:sldChg>
      <pc:sldChg chg="add">
        <pc:chgData name="Wytse Oortwijn" userId="6365480a-dc8d-4ff6-9ac3-d587988518bc" providerId="ADAL" clId="{8A96A13D-349B-4E35-860C-C028CD85914F}" dt="2021-11-22T08:28:52.937" v="1148"/>
        <pc:sldMkLst>
          <pc:docMk/>
          <pc:sldMk cId="24391884" sldId="2090650018"/>
        </pc:sldMkLst>
      </pc:sldChg>
      <pc:sldChg chg="add">
        <pc:chgData name="Wytse Oortwijn" userId="6365480a-dc8d-4ff6-9ac3-d587988518bc" providerId="ADAL" clId="{8A96A13D-349B-4E35-860C-C028CD85914F}" dt="2021-11-22T08:28:52.937" v="1148"/>
        <pc:sldMkLst>
          <pc:docMk/>
          <pc:sldMk cId="65886369" sldId="2090650019"/>
        </pc:sldMkLst>
      </pc:sldChg>
      <pc:sldChg chg="delSp modSp mod addCm delCm modCm">
        <pc:chgData name="Wytse Oortwijn" userId="6365480a-dc8d-4ff6-9ac3-d587988518bc" providerId="ADAL" clId="{8A96A13D-349B-4E35-860C-C028CD85914F}" dt="2021-11-22T11:04:55.773" v="2150" actId="1592"/>
        <pc:sldMkLst>
          <pc:docMk/>
          <pc:sldMk cId="2948278867" sldId="2090650020"/>
        </pc:sldMkLst>
        <pc:spChg chg="del mod">
          <ac:chgData name="Wytse Oortwijn" userId="6365480a-dc8d-4ff6-9ac3-d587988518bc" providerId="ADAL" clId="{8A96A13D-349B-4E35-860C-C028CD85914F}" dt="2021-11-19T15:15:19.397" v="336" actId="478"/>
          <ac:spMkLst>
            <pc:docMk/>
            <pc:sldMk cId="2948278867" sldId="2090650020"/>
            <ac:spMk id="10" creationId="{87455C26-A993-408F-92D9-34B953360526}"/>
          </ac:spMkLst>
        </pc:spChg>
        <pc:spChg chg="mod">
          <ac:chgData name="Wytse Oortwijn" userId="6365480a-dc8d-4ff6-9ac3-d587988518bc" providerId="ADAL" clId="{8A96A13D-349B-4E35-860C-C028CD85914F}" dt="2021-11-19T15:16:01.996" v="339" actId="14100"/>
          <ac:spMkLst>
            <pc:docMk/>
            <pc:sldMk cId="2948278867" sldId="2090650020"/>
            <ac:spMk id="29" creationId="{354CCF25-99B0-4523-BA66-9D7E016DC10E}"/>
          </ac:spMkLst>
        </pc:spChg>
        <pc:spChg chg="mod">
          <ac:chgData name="Wytse Oortwijn" userId="6365480a-dc8d-4ff6-9ac3-d587988518bc" providerId="ADAL" clId="{8A96A13D-349B-4E35-860C-C028CD85914F}" dt="2021-11-19T15:19:32.022" v="466" actId="1037"/>
          <ac:spMkLst>
            <pc:docMk/>
            <pc:sldMk cId="2948278867" sldId="2090650020"/>
            <ac:spMk id="30" creationId="{1B349425-E197-4CB5-A417-B8D5036E221E}"/>
          </ac:spMkLst>
        </pc:spChg>
        <pc:spChg chg="mod">
          <ac:chgData name="Wytse Oortwijn" userId="6365480a-dc8d-4ff6-9ac3-d587988518bc" providerId="ADAL" clId="{8A96A13D-349B-4E35-860C-C028CD85914F}" dt="2021-11-19T15:19:25.277" v="465" actId="1037"/>
          <ac:spMkLst>
            <pc:docMk/>
            <pc:sldMk cId="2948278867" sldId="2090650020"/>
            <ac:spMk id="38" creationId="{376BAF34-25EC-4C48-9470-8FA8D4708AB0}"/>
          </ac:spMkLst>
        </pc:spChg>
        <pc:spChg chg="mod">
          <ac:chgData name="Wytse Oortwijn" userId="6365480a-dc8d-4ff6-9ac3-d587988518bc" providerId="ADAL" clId="{8A96A13D-349B-4E35-860C-C028CD85914F}" dt="2021-11-19T15:19:25.277" v="465" actId="1037"/>
          <ac:spMkLst>
            <pc:docMk/>
            <pc:sldMk cId="2948278867" sldId="2090650020"/>
            <ac:spMk id="39" creationId="{15B3508F-6146-4591-BA78-BC6CEEA56F07}"/>
          </ac:spMkLst>
        </pc:spChg>
        <pc:spChg chg="mod">
          <ac:chgData name="Wytse Oortwijn" userId="6365480a-dc8d-4ff6-9ac3-d587988518bc" providerId="ADAL" clId="{8A96A13D-349B-4E35-860C-C028CD85914F}" dt="2021-11-19T15:16:19.070" v="343" actId="1076"/>
          <ac:spMkLst>
            <pc:docMk/>
            <pc:sldMk cId="2948278867" sldId="2090650020"/>
            <ac:spMk id="56" creationId="{F440D7E9-5AC1-4555-A840-7F36F5FB7F0E}"/>
          </ac:spMkLst>
        </pc:spChg>
        <pc:spChg chg="mod">
          <ac:chgData name="Wytse Oortwijn" userId="6365480a-dc8d-4ff6-9ac3-d587988518bc" providerId="ADAL" clId="{8A96A13D-349B-4E35-860C-C028CD85914F}" dt="2021-11-19T15:17:17.262" v="348" actId="1076"/>
          <ac:spMkLst>
            <pc:docMk/>
            <pc:sldMk cId="2948278867" sldId="2090650020"/>
            <ac:spMk id="57" creationId="{332FAD9D-3C1F-4D3B-952A-D32A8E568B63}"/>
          </ac:spMkLst>
        </pc:spChg>
        <pc:spChg chg="mod">
          <ac:chgData name="Wytse Oortwijn" userId="6365480a-dc8d-4ff6-9ac3-d587988518bc" providerId="ADAL" clId="{8A96A13D-349B-4E35-860C-C028CD85914F}" dt="2021-11-19T15:19:03.164" v="431" actId="1037"/>
          <ac:spMkLst>
            <pc:docMk/>
            <pc:sldMk cId="2948278867" sldId="2090650020"/>
            <ac:spMk id="58" creationId="{0C0BC668-62B7-4BDE-9056-172AFC53A479}"/>
          </ac:spMkLst>
        </pc:spChg>
        <pc:spChg chg="del">
          <ac:chgData name="Wytse Oortwijn" userId="6365480a-dc8d-4ff6-9ac3-d587988518bc" providerId="ADAL" clId="{8A96A13D-349B-4E35-860C-C028CD85914F}" dt="2021-11-19T15:15:18.636" v="335" actId="478"/>
          <ac:spMkLst>
            <pc:docMk/>
            <pc:sldMk cId="2948278867" sldId="2090650020"/>
            <ac:spMk id="60" creationId="{96C6CC28-97C2-4F1D-92E2-037A48B3BE4A}"/>
          </ac:spMkLst>
        </pc:spChg>
      </pc:sldChg>
      <pc:sldChg chg="addSp delSp modSp new mod delAnim modAnim addCm delCm modCm">
        <pc:chgData name="Wytse Oortwijn" userId="6365480a-dc8d-4ff6-9ac3-d587988518bc" providerId="ADAL" clId="{8A96A13D-349B-4E35-860C-C028CD85914F}" dt="2021-11-22T13:08:15.333" v="3365" actId="1589"/>
        <pc:sldMkLst>
          <pc:docMk/>
          <pc:sldMk cId="75605958" sldId="2090650021"/>
        </pc:sldMkLst>
        <pc:spChg chg="del">
          <ac:chgData name="Wytse Oortwijn" userId="6365480a-dc8d-4ff6-9ac3-d587988518bc" providerId="ADAL" clId="{8A96A13D-349B-4E35-860C-C028CD85914F}" dt="2021-11-19T14:10:38.420" v="38" actId="478"/>
          <ac:spMkLst>
            <pc:docMk/>
            <pc:sldMk cId="75605958" sldId="2090650021"/>
            <ac:spMk id="5" creationId="{680BC279-1F3B-47F0-84AD-5562A13D341D}"/>
          </ac:spMkLst>
        </pc:spChg>
        <pc:spChg chg="mod">
          <ac:chgData name="Wytse Oortwijn" userId="6365480a-dc8d-4ff6-9ac3-d587988518bc" providerId="ADAL" clId="{8A96A13D-349B-4E35-860C-C028CD85914F}" dt="2021-11-19T14:10:35.890" v="37" actId="20577"/>
          <ac:spMkLst>
            <pc:docMk/>
            <pc:sldMk cId="75605958" sldId="2090650021"/>
            <ac:spMk id="6" creationId="{DD7127CA-6FE2-49AD-83EF-7A20BF197352}"/>
          </ac:spMkLst>
        </pc:spChg>
        <pc:spChg chg="add del mod">
          <ac:chgData name="Wytse Oortwijn" userId="6365480a-dc8d-4ff6-9ac3-d587988518bc" providerId="ADAL" clId="{8A96A13D-349B-4E35-860C-C028CD85914F}" dt="2021-11-22T12:22:57.300" v="2445" actId="478"/>
          <ac:spMkLst>
            <pc:docMk/>
            <pc:sldMk cId="75605958" sldId="2090650021"/>
            <ac:spMk id="7" creationId="{722036DC-2851-4390-A2E8-B7B20CB2113E}"/>
          </ac:spMkLst>
        </pc:spChg>
        <pc:spChg chg="add del mod ord">
          <ac:chgData name="Wytse Oortwijn" userId="6365480a-dc8d-4ff6-9ac3-d587988518bc" providerId="ADAL" clId="{8A96A13D-349B-4E35-860C-C028CD85914F}" dt="2021-11-19T15:08:30.414" v="103" actId="478"/>
          <ac:spMkLst>
            <pc:docMk/>
            <pc:sldMk cId="75605958" sldId="2090650021"/>
            <ac:spMk id="9" creationId="{6587E297-B289-4859-9E57-2001BFBFAA51}"/>
          </ac:spMkLst>
        </pc:spChg>
        <pc:spChg chg="add del mod">
          <ac:chgData name="Wytse Oortwijn" userId="6365480a-dc8d-4ff6-9ac3-d587988518bc" providerId="ADAL" clId="{8A96A13D-349B-4E35-860C-C028CD85914F}" dt="2021-11-22T12:23:10.757" v="2450" actId="478"/>
          <ac:spMkLst>
            <pc:docMk/>
            <pc:sldMk cId="75605958" sldId="2090650021"/>
            <ac:spMk id="11" creationId="{32E3FFAB-E7ED-491F-B1F4-3251129D0F5C}"/>
          </ac:spMkLst>
        </pc:spChg>
        <pc:spChg chg="add mod">
          <ac:chgData name="Wytse Oortwijn" userId="6365480a-dc8d-4ff6-9ac3-d587988518bc" providerId="ADAL" clId="{8A96A13D-349B-4E35-860C-C028CD85914F}" dt="2021-11-22T12:24:20.216" v="2458" actId="14100"/>
          <ac:spMkLst>
            <pc:docMk/>
            <pc:sldMk cId="75605958" sldId="2090650021"/>
            <ac:spMk id="17" creationId="{9EE60CE6-6D1C-433A-9A60-DCD2F41B931F}"/>
          </ac:spMkLst>
        </pc:spChg>
        <pc:spChg chg="add mod">
          <ac:chgData name="Wytse Oortwijn" userId="6365480a-dc8d-4ff6-9ac3-d587988518bc" providerId="ADAL" clId="{8A96A13D-349B-4E35-860C-C028CD85914F}" dt="2021-11-22T12:24:26.540" v="2461" actId="14100"/>
          <ac:spMkLst>
            <pc:docMk/>
            <pc:sldMk cId="75605958" sldId="2090650021"/>
            <ac:spMk id="18" creationId="{87D8C4C3-E6CF-4027-A519-03F27293C3DE}"/>
          </ac:spMkLst>
        </pc:spChg>
        <pc:spChg chg="add del">
          <ac:chgData name="Wytse Oortwijn" userId="6365480a-dc8d-4ff6-9ac3-d587988518bc" providerId="ADAL" clId="{8A96A13D-349B-4E35-860C-C028CD85914F}" dt="2021-11-22T10:18:13.690" v="1206" actId="22"/>
          <ac:spMkLst>
            <pc:docMk/>
            <pc:sldMk cId="75605958" sldId="2090650021"/>
            <ac:spMk id="19" creationId="{52FFA42E-24F1-48B2-9CA4-440190E54D15}"/>
          </ac:spMkLst>
        </pc:spChg>
        <pc:spChg chg="add del mod">
          <ac:chgData name="Wytse Oortwijn" userId="6365480a-dc8d-4ff6-9ac3-d587988518bc" providerId="ADAL" clId="{8A96A13D-349B-4E35-860C-C028CD85914F}" dt="2021-11-19T15:10:36.337" v="110" actId="478"/>
          <ac:spMkLst>
            <pc:docMk/>
            <pc:sldMk cId="75605958" sldId="2090650021"/>
            <ac:spMk id="19" creationId="{752483BF-DBED-4E8E-B20A-D53EEA9381A4}"/>
          </ac:spMkLst>
        </pc:spChg>
        <pc:spChg chg="add mod">
          <ac:chgData name="Wytse Oortwijn" userId="6365480a-dc8d-4ff6-9ac3-d587988518bc" providerId="ADAL" clId="{8A96A13D-349B-4E35-860C-C028CD85914F}" dt="2021-11-22T12:17:46.995" v="2347" actId="164"/>
          <ac:spMkLst>
            <pc:docMk/>
            <pc:sldMk cId="75605958" sldId="2090650021"/>
            <ac:spMk id="20" creationId="{914012F4-45B0-4C37-BC98-0C0FFA662353}"/>
          </ac:spMkLst>
        </pc:spChg>
        <pc:spChg chg="add del mod">
          <ac:chgData name="Wytse Oortwijn" userId="6365480a-dc8d-4ff6-9ac3-d587988518bc" providerId="ADAL" clId="{8A96A13D-349B-4E35-860C-C028CD85914F}" dt="2021-11-19T15:10:23.956" v="109" actId="478"/>
          <ac:spMkLst>
            <pc:docMk/>
            <pc:sldMk cId="75605958" sldId="2090650021"/>
            <ac:spMk id="21" creationId="{DD1E00BE-63D8-4454-B139-0568BCE407FD}"/>
          </ac:spMkLst>
        </pc:spChg>
        <pc:spChg chg="add mod ord">
          <ac:chgData name="Wytse Oortwijn" userId="6365480a-dc8d-4ff6-9ac3-d587988518bc" providerId="ADAL" clId="{8A96A13D-349B-4E35-860C-C028CD85914F}" dt="2021-11-22T12:21:05.143" v="2400" actId="1076"/>
          <ac:spMkLst>
            <pc:docMk/>
            <pc:sldMk cId="75605958" sldId="2090650021"/>
            <ac:spMk id="22" creationId="{A23B4324-B6FB-4FEC-928C-C834AE05F813}"/>
          </ac:spMkLst>
        </pc:spChg>
        <pc:spChg chg="add mod">
          <ac:chgData name="Wytse Oortwijn" userId="6365480a-dc8d-4ff6-9ac3-d587988518bc" providerId="ADAL" clId="{8A96A13D-349B-4E35-860C-C028CD85914F}" dt="2021-11-22T12:24:54.091" v="2491" actId="1038"/>
          <ac:spMkLst>
            <pc:docMk/>
            <pc:sldMk cId="75605958" sldId="2090650021"/>
            <ac:spMk id="25" creationId="{E5E565C5-8708-4B33-9279-D80AC3562D74}"/>
          </ac:spMkLst>
        </pc:spChg>
        <pc:spChg chg="add mod">
          <ac:chgData name="Wytse Oortwijn" userId="6365480a-dc8d-4ff6-9ac3-d587988518bc" providerId="ADAL" clId="{8A96A13D-349B-4E35-860C-C028CD85914F}" dt="2021-11-22T12:22:55.146" v="2444"/>
          <ac:spMkLst>
            <pc:docMk/>
            <pc:sldMk cId="75605958" sldId="2090650021"/>
            <ac:spMk id="31" creationId="{96E253E5-0F41-4C10-BF23-49599698B871}"/>
          </ac:spMkLst>
        </pc:spChg>
        <pc:spChg chg="add mod">
          <ac:chgData name="Wytse Oortwijn" userId="6365480a-dc8d-4ff6-9ac3-d587988518bc" providerId="ADAL" clId="{8A96A13D-349B-4E35-860C-C028CD85914F}" dt="2021-11-22T12:23:08.982" v="2449"/>
          <ac:spMkLst>
            <pc:docMk/>
            <pc:sldMk cId="75605958" sldId="2090650021"/>
            <ac:spMk id="32" creationId="{C904A690-9F17-4B4A-B019-B59CFED5D0DF}"/>
          </ac:spMkLst>
        </pc:spChg>
        <pc:grpChg chg="add mod ord">
          <ac:chgData name="Wytse Oortwijn" userId="6365480a-dc8d-4ff6-9ac3-d587988518bc" providerId="ADAL" clId="{8A96A13D-349B-4E35-860C-C028CD85914F}" dt="2021-11-22T12:19:33.876" v="2373" actId="1076"/>
          <ac:grpSpMkLst>
            <pc:docMk/>
            <pc:sldMk cId="75605958" sldId="2090650021"/>
            <ac:grpSpMk id="23" creationId="{429059D7-DD0E-41F8-88B0-9DD5004B411A}"/>
          </ac:grpSpMkLst>
        </pc:grpChg>
        <pc:picChg chg="add del mod">
          <ac:chgData name="Wytse Oortwijn" userId="6365480a-dc8d-4ff6-9ac3-d587988518bc" providerId="ADAL" clId="{8A96A13D-349B-4E35-860C-C028CD85914F}" dt="2021-11-19T14:25:44.007" v="67" actId="478"/>
          <ac:picMkLst>
            <pc:docMk/>
            <pc:sldMk cId="75605958" sldId="2090650021"/>
            <ac:picMk id="8" creationId="{779E3D25-A90F-4096-B3A8-73BF73A54873}"/>
          </ac:picMkLst>
        </pc:picChg>
        <pc:picChg chg="add del">
          <ac:chgData name="Wytse Oortwijn" userId="6365480a-dc8d-4ff6-9ac3-d587988518bc" providerId="ADAL" clId="{8A96A13D-349B-4E35-860C-C028CD85914F}" dt="2021-11-22T10:14:04.741" v="1161" actId="22"/>
          <ac:picMkLst>
            <pc:docMk/>
            <pc:sldMk cId="75605958" sldId="2090650021"/>
            <ac:picMk id="8" creationId="{BEC96741-A29A-4766-B1A4-F6346CFB6B04}"/>
          </ac:picMkLst>
        </pc:picChg>
        <pc:picChg chg="add del">
          <ac:chgData name="Wytse Oortwijn" userId="6365480a-dc8d-4ff6-9ac3-d587988518bc" providerId="ADAL" clId="{8A96A13D-349B-4E35-860C-C028CD85914F}" dt="2021-11-22T10:14:13.818" v="1163" actId="22"/>
          <ac:picMkLst>
            <pc:docMk/>
            <pc:sldMk cId="75605958" sldId="2090650021"/>
            <ac:picMk id="10" creationId="{97716F26-A189-42E6-8B1A-716BEECAADE4}"/>
          </ac:picMkLst>
        </pc:picChg>
        <pc:picChg chg="add del">
          <ac:chgData name="Wytse Oortwijn" userId="6365480a-dc8d-4ff6-9ac3-d587988518bc" providerId="ADAL" clId="{8A96A13D-349B-4E35-860C-C028CD85914F}" dt="2021-11-19T14:23:07.849" v="60" actId="22"/>
          <ac:picMkLst>
            <pc:docMk/>
            <pc:sldMk cId="75605958" sldId="2090650021"/>
            <ac:picMk id="11" creationId="{94DF8D5C-5AEC-46A9-8C9A-F8D06E36F051}"/>
          </ac:picMkLst>
        </pc:picChg>
        <pc:picChg chg="add mod ord modCrop">
          <ac:chgData name="Wytse Oortwijn" userId="6365480a-dc8d-4ff6-9ac3-d587988518bc" providerId="ADAL" clId="{8A96A13D-349B-4E35-860C-C028CD85914F}" dt="2021-11-22T12:17:46.995" v="2347" actId="164"/>
          <ac:picMkLst>
            <pc:docMk/>
            <pc:sldMk cId="75605958" sldId="2090650021"/>
            <ac:picMk id="13" creationId="{24711714-81AC-4FFF-AFEC-7FD7AD90D37F}"/>
          </ac:picMkLst>
        </pc:picChg>
        <pc:picChg chg="add del">
          <ac:chgData name="Wytse Oortwijn" userId="6365480a-dc8d-4ff6-9ac3-d587988518bc" providerId="ADAL" clId="{8A96A13D-349B-4E35-860C-C028CD85914F}" dt="2021-11-19T14:23:15.782" v="62" actId="22"/>
          <ac:picMkLst>
            <pc:docMk/>
            <pc:sldMk cId="75605958" sldId="2090650021"/>
            <ac:picMk id="13" creationId="{395985BE-575D-4D15-A797-BDFE47F3CE04}"/>
          </ac:picMkLst>
        </pc:picChg>
        <pc:picChg chg="add del mod modCrop">
          <ac:chgData name="Wytse Oortwijn" userId="6365480a-dc8d-4ff6-9ac3-d587988518bc" providerId="ADAL" clId="{8A96A13D-349B-4E35-860C-C028CD85914F}" dt="2021-11-19T15:08:29.296" v="102" actId="478"/>
          <ac:picMkLst>
            <pc:docMk/>
            <pc:sldMk cId="75605958" sldId="2090650021"/>
            <ac:picMk id="15" creationId="{EA0270C5-034B-4287-B728-E9E47DEE7461}"/>
          </ac:picMkLst>
        </pc:picChg>
        <pc:picChg chg="add del mod">
          <ac:chgData name="Wytse Oortwijn" userId="6365480a-dc8d-4ff6-9ac3-d587988518bc" providerId="ADAL" clId="{8A96A13D-349B-4E35-860C-C028CD85914F}" dt="2021-11-22T10:16:38.927" v="1169" actId="478"/>
          <ac:picMkLst>
            <pc:docMk/>
            <pc:sldMk cId="75605958" sldId="2090650021"/>
            <ac:picMk id="16" creationId="{5C6A8604-9CEA-4FF9-93F2-C679B02BE5AD}"/>
          </ac:picMkLst>
        </pc:picChg>
        <pc:picChg chg="add mod ord modCrop">
          <ac:chgData name="Wytse Oortwijn" userId="6365480a-dc8d-4ff6-9ac3-d587988518bc" providerId="ADAL" clId="{8A96A13D-349B-4E35-860C-C028CD85914F}" dt="2021-11-22T12:19:55.974" v="2376" actId="1076"/>
          <ac:picMkLst>
            <pc:docMk/>
            <pc:sldMk cId="75605958" sldId="2090650021"/>
            <ac:picMk id="21" creationId="{2E47F5D5-D1AC-4368-B9E1-AB77BE27A872}"/>
          </ac:picMkLst>
        </pc:picChg>
        <pc:picChg chg="add del mod">
          <ac:chgData name="Wytse Oortwijn" userId="6365480a-dc8d-4ff6-9ac3-d587988518bc" providerId="ADAL" clId="{8A96A13D-349B-4E35-860C-C028CD85914F}" dt="2021-11-22T12:20:01.776" v="2378"/>
          <ac:picMkLst>
            <pc:docMk/>
            <pc:sldMk cId="75605958" sldId="2090650021"/>
            <ac:picMk id="24" creationId="{E8A510CA-51BE-44F9-AA34-DFF56B3249F5}"/>
          </ac:picMkLst>
        </pc:picChg>
        <pc:cxnChg chg="add mod">
          <ac:chgData name="Wytse Oortwijn" userId="6365480a-dc8d-4ff6-9ac3-d587988518bc" providerId="ADAL" clId="{8A96A13D-349B-4E35-860C-C028CD85914F}" dt="2021-11-22T12:24:40.668" v="2489" actId="1038"/>
          <ac:cxnSpMkLst>
            <pc:docMk/>
            <pc:sldMk cId="75605958" sldId="2090650021"/>
            <ac:cxnSpMk id="26" creationId="{73661B18-451F-4DF6-8FCF-F8C8073AFA1E}"/>
          </ac:cxnSpMkLst>
        </pc:cxnChg>
      </pc:sldChg>
      <pc:sldChg chg="modSp new mod addCm delCm modCm">
        <pc:chgData name="Wytse Oortwijn" userId="6365480a-dc8d-4ff6-9ac3-d587988518bc" providerId="ADAL" clId="{8A96A13D-349B-4E35-860C-C028CD85914F}" dt="2021-11-22T13:07:45.122" v="3364" actId="1592"/>
        <pc:sldMkLst>
          <pc:docMk/>
          <pc:sldMk cId="1760794402" sldId="2090650022"/>
        </pc:sldMkLst>
        <pc:spChg chg="mod">
          <ac:chgData name="Wytse Oortwijn" userId="6365480a-dc8d-4ff6-9ac3-d587988518bc" providerId="ADAL" clId="{8A96A13D-349B-4E35-860C-C028CD85914F}" dt="2021-11-22T11:04:17.210" v="2146" actId="20577"/>
          <ac:spMkLst>
            <pc:docMk/>
            <pc:sldMk cId="1760794402" sldId="2090650022"/>
            <ac:spMk id="5" creationId="{C9AF712F-855E-4770-A252-21A85C43F212}"/>
          </ac:spMkLst>
        </pc:spChg>
        <pc:spChg chg="mod">
          <ac:chgData name="Wytse Oortwijn" userId="6365480a-dc8d-4ff6-9ac3-d587988518bc" providerId="ADAL" clId="{8A96A13D-349B-4E35-860C-C028CD85914F}" dt="2021-11-19T15:45:03.137" v="601" actId="20577"/>
          <ac:spMkLst>
            <pc:docMk/>
            <pc:sldMk cId="1760794402" sldId="2090650022"/>
            <ac:spMk id="6" creationId="{D48C6C73-60FC-4E5A-9AEA-2168161A3C7A}"/>
          </ac:spMkLst>
        </pc:spChg>
      </pc:sldChg>
      <pc:sldChg chg="modSp new del mod">
        <pc:chgData name="Wytse Oortwijn" userId="6365480a-dc8d-4ff6-9ac3-d587988518bc" providerId="ADAL" clId="{8A96A13D-349B-4E35-860C-C028CD85914F}" dt="2021-11-19T15:15:36.275" v="338" actId="2696"/>
        <pc:sldMkLst>
          <pc:docMk/>
          <pc:sldMk cId="268283880" sldId="2090650023"/>
        </pc:sldMkLst>
        <pc:spChg chg="mod">
          <ac:chgData name="Wytse Oortwijn" userId="6365480a-dc8d-4ff6-9ac3-d587988518bc" providerId="ADAL" clId="{8A96A13D-349B-4E35-860C-C028CD85914F}" dt="2021-11-19T15:14:45.638" v="331" actId="20577"/>
          <ac:spMkLst>
            <pc:docMk/>
            <pc:sldMk cId="268283880" sldId="2090650023"/>
            <ac:spMk id="6" creationId="{43B6A958-31B5-41FA-A222-C6C89E7CE27F}"/>
          </ac:spMkLst>
        </pc:spChg>
      </pc:sldChg>
      <pc:sldChg chg="addSp delSp modSp new mod delAnim modAnim addCm delCm modCm">
        <pc:chgData name="Wytse Oortwijn" userId="6365480a-dc8d-4ff6-9ac3-d587988518bc" providerId="ADAL" clId="{8A96A13D-349B-4E35-860C-C028CD85914F}" dt="2021-11-22T12:37:47.670" v="2947" actId="1592"/>
        <pc:sldMkLst>
          <pc:docMk/>
          <pc:sldMk cId="3408490054" sldId="2090650023"/>
        </pc:sldMkLst>
        <pc:spChg chg="mod">
          <ac:chgData name="Wytse Oortwijn" userId="6365480a-dc8d-4ff6-9ac3-d587988518bc" providerId="ADAL" clId="{8A96A13D-349B-4E35-860C-C028CD85914F}" dt="2021-11-22T12:37:32.091" v="2945" actId="20577"/>
          <ac:spMkLst>
            <pc:docMk/>
            <pc:sldMk cId="3408490054" sldId="2090650023"/>
            <ac:spMk id="5" creationId="{02F08419-5EE9-4CEF-A20D-F1D1305C6005}"/>
          </ac:spMkLst>
        </pc:spChg>
        <pc:spChg chg="mod">
          <ac:chgData name="Wytse Oortwijn" userId="6365480a-dc8d-4ff6-9ac3-d587988518bc" providerId="ADAL" clId="{8A96A13D-349B-4E35-860C-C028CD85914F}" dt="2021-11-22T10:41:39.807" v="1284"/>
          <ac:spMkLst>
            <pc:docMk/>
            <pc:sldMk cId="3408490054" sldId="2090650023"/>
            <ac:spMk id="6" creationId="{8863707A-6030-4E5A-B748-0ED80C97BC1B}"/>
          </ac:spMkLst>
        </pc:spChg>
        <pc:spChg chg="add del mod">
          <ac:chgData name="Wytse Oortwijn" userId="6365480a-dc8d-4ff6-9ac3-d587988518bc" providerId="ADAL" clId="{8A96A13D-349B-4E35-860C-C028CD85914F}" dt="2021-11-22T12:31:57.019" v="2781" actId="478"/>
          <ac:spMkLst>
            <pc:docMk/>
            <pc:sldMk cId="3408490054" sldId="2090650023"/>
            <ac:spMk id="8" creationId="{77DC12AA-230F-4C21-ABCD-4D643A5170AF}"/>
          </ac:spMkLst>
        </pc:spChg>
        <pc:spChg chg="add del mod">
          <ac:chgData name="Wytse Oortwijn" userId="6365480a-dc8d-4ff6-9ac3-d587988518bc" providerId="ADAL" clId="{8A96A13D-349B-4E35-860C-C028CD85914F}" dt="2021-11-22T12:34:17.498" v="2850" actId="478"/>
          <ac:spMkLst>
            <pc:docMk/>
            <pc:sldMk cId="3408490054" sldId="2090650023"/>
            <ac:spMk id="9" creationId="{98033648-077C-4D9E-A6F6-DFE8C2F27CB3}"/>
          </ac:spMkLst>
        </pc:spChg>
      </pc:sldChg>
      <pc:sldChg chg="add">
        <pc:chgData name="Wytse Oortwijn" userId="6365480a-dc8d-4ff6-9ac3-d587988518bc" providerId="ADAL" clId="{8A96A13D-349B-4E35-860C-C028CD85914F}" dt="2021-11-22T13:07:36.249" v="3363"/>
        <pc:sldMkLst>
          <pc:docMk/>
          <pc:sldMk cId="3614430153" sldId="2090650030"/>
        </pc:sldMkLst>
      </pc:sldChg>
    </pc:docChg>
  </pc:docChgLst>
  <pc:docChgLst>
    <pc:chgData name="Dennis Hendriks - DHFS" userId="S::dennis.hendriks-dhfs@asml.com::ceacf04f-0b47-4d6f-9d04-eca8f76fbd3c" providerId="AD" clId="Web-{4CB501FF-2DD1-4CF2-0143-9115791BCB74}"/>
    <pc:docChg chg="">
      <pc:chgData name="Dennis Hendriks - DHFS" userId="S::dennis.hendriks-dhfs@asml.com::ceacf04f-0b47-4d6f-9d04-eca8f76fbd3c" providerId="AD" clId="Web-{4CB501FF-2DD1-4CF2-0143-9115791BCB74}" dt="2021-10-29T06:58:35.440" v="0"/>
      <pc:docMkLst>
        <pc:docMk/>
      </pc:docMkLst>
      <pc:sldChg chg="delCm">
        <pc:chgData name="Dennis Hendriks - DHFS" userId="S::dennis.hendriks-dhfs@asml.com::ceacf04f-0b47-4d6f-9d04-eca8f76fbd3c" providerId="AD" clId="Web-{4CB501FF-2DD1-4CF2-0143-9115791BCB74}" dt="2021-10-29T06:58:35.440" v="0"/>
        <pc:sldMkLst>
          <pc:docMk/>
          <pc:sldMk cId="2659228924" sldId="1071"/>
        </pc:sldMkLst>
      </pc:sldChg>
    </pc:docChg>
  </pc:docChgLst>
  <pc:docChgLst>
    <pc:chgData name="Arjan van der Meer" userId="008f28a2-684e-4523-b3ca-dcb37d9c3e5d" providerId="ADAL" clId="{9A33F25F-47CB-45D5-9D90-7B1E114F65B0}"/>
    <pc:docChg chg="modSld">
      <pc:chgData name="Arjan van der Meer" userId="008f28a2-684e-4523-b3ca-dcb37d9c3e5d" providerId="ADAL" clId="{9A33F25F-47CB-45D5-9D90-7B1E114F65B0}" dt="2021-11-10T11:28:47.779" v="53" actId="20577"/>
      <pc:docMkLst>
        <pc:docMk/>
      </pc:docMkLst>
      <pc:sldChg chg="modNotesTx">
        <pc:chgData name="Arjan van der Meer" userId="008f28a2-684e-4523-b3ca-dcb37d9c3e5d" providerId="ADAL" clId="{9A33F25F-47CB-45D5-9D90-7B1E114F65B0}" dt="2021-11-10T11:28:47.779" v="53" actId="20577"/>
        <pc:sldMkLst>
          <pc:docMk/>
          <pc:sldMk cId="2590100134" sldId="1117"/>
        </pc:sldMkLst>
      </pc:sldChg>
      <pc:sldChg chg="addSp modSp mod">
        <pc:chgData name="Arjan van der Meer" userId="008f28a2-684e-4523-b3ca-dcb37d9c3e5d" providerId="ADAL" clId="{9A33F25F-47CB-45D5-9D90-7B1E114F65B0}" dt="2021-11-10T10:27:47.641" v="4" actId="20577"/>
        <pc:sldMkLst>
          <pc:docMk/>
          <pc:sldMk cId="3738793062" sldId="1135"/>
        </pc:sldMkLst>
        <pc:spChg chg="mod">
          <ac:chgData name="Arjan van der Meer" userId="008f28a2-684e-4523-b3ca-dcb37d9c3e5d" providerId="ADAL" clId="{9A33F25F-47CB-45D5-9D90-7B1E114F65B0}" dt="2021-11-10T10:27:47.641" v="4" actId="20577"/>
          <ac:spMkLst>
            <pc:docMk/>
            <pc:sldMk cId="3738793062" sldId="1135"/>
            <ac:spMk id="6" creationId="{4B2CB6F9-DD5F-4630-A2A1-671C48215996}"/>
          </ac:spMkLst>
        </pc:spChg>
        <pc:picChg chg="add mod">
          <ac:chgData name="Arjan van der Meer" userId="008f28a2-684e-4523-b3ca-dcb37d9c3e5d" providerId="ADAL" clId="{9A33F25F-47CB-45D5-9D90-7B1E114F65B0}" dt="2021-11-10T10:27:39.151" v="3" actId="1076"/>
          <ac:picMkLst>
            <pc:docMk/>
            <pc:sldMk cId="3738793062" sldId="1135"/>
            <ac:picMk id="7" creationId="{85C1468E-7AD1-431A-B8BC-8C55A99CF4A0}"/>
          </ac:picMkLst>
        </pc:picChg>
      </pc:sldChg>
    </pc:docChg>
  </pc:docChgLst>
  <pc:docChgLst>
    <pc:chgData name="Dennis Hendriks - DHFS" userId="ceacf04f-0b47-4d6f-9d04-eca8f76fbd3c" providerId="ADAL" clId="{954E1B2E-3FC5-41EC-90DE-542CDF424809}"/>
    <pc:docChg chg="custSel delSld modSld modSection">
      <pc:chgData name="Dennis Hendriks - DHFS" userId="ceacf04f-0b47-4d6f-9d04-eca8f76fbd3c" providerId="ADAL" clId="{954E1B2E-3FC5-41EC-90DE-542CDF424809}" dt="2021-11-18T13:53:23.120" v="8" actId="6549"/>
      <pc:docMkLst>
        <pc:docMk/>
      </pc:docMkLst>
      <pc:sldChg chg="del">
        <pc:chgData name="Dennis Hendriks - DHFS" userId="ceacf04f-0b47-4d6f-9d04-eca8f76fbd3c" providerId="ADAL" clId="{954E1B2E-3FC5-41EC-90DE-542CDF424809}" dt="2021-11-18T13:52:39.701" v="2" actId="47"/>
        <pc:sldMkLst>
          <pc:docMk/>
          <pc:sldMk cId="1049956562" sldId="1041"/>
        </pc:sldMkLst>
      </pc:sldChg>
      <pc:sldChg chg="modNotesTx">
        <pc:chgData name="Dennis Hendriks - DHFS" userId="ceacf04f-0b47-4d6f-9d04-eca8f76fbd3c" providerId="ADAL" clId="{954E1B2E-3FC5-41EC-90DE-542CDF424809}" dt="2021-11-18T13:53:23.120" v="8" actId="6549"/>
        <pc:sldMkLst>
          <pc:docMk/>
          <pc:sldMk cId="4138300204" sldId="1065"/>
        </pc:sldMkLst>
      </pc:sldChg>
      <pc:sldChg chg="delSp mod delAnim">
        <pc:chgData name="Dennis Hendriks - DHFS" userId="ceacf04f-0b47-4d6f-9d04-eca8f76fbd3c" providerId="ADAL" clId="{954E1B2E-3FC5-41EC-90DE-542CDF424809}" dt="2021-11-18T13:52:08.771" v="0" actId="478"/>
        <pc:sldMkLst>
          <pc:docMk/>
          <pc:sldMk cId="110981679" sldId="1073"/>
        </pc:sldMkLst>
        <pc:spChg chg="del">
          <ac:chgData name="Dennis Hendriks - DHFS" userId="ceacf04f-0b47-4d6f-9d04-eca8f76fbd3c" providerId="ADAL" clId="{954E1B2E-3FC5-41EC-90DE-542CDF424809}" dt="2021-11-18T13:52:08.771" v="0" actId="478"/>
          <ac:spMkLst>
            <pc:docMk/>
            <pc:sldMk cId="110981679" sldId="1073"/>
            <ac:spMk id="9" creationId="{5EF1D910-1C71-412D-996B-29CBF84D9FA7}"/>
          </ac:spMkLst>
        </pc:spChg>
      </pc:sldChg>
      <pc:sldChg chg="modNotesTx">
        <pc:chgData name="Dennis Hendriks - DHFS" userId="ceacf04f-0b47-4d6f-9d04-eca8f76fbd3c" providerId="ADAL" clId="{954E1B2E-3FC5-41EC-90DE-542CDF424809}" dt="2021-11-18T13:52:56.469" v="5" actId="6549"/>
        <pc:sldMkLst>
          <pc:docMk/>
          <pc:sldMk cId="2712997306" sldId="1094"/>
        </pc:sldMkLst>
      </pc:sldChg>
      <pc:sldChg chg="modNotesTx">
        <pc:chgData name="Dennis Hendriks - DHFS" userId="ceacf04f-0b47-4d6f-9d04-eca8f76fbd3c" providerId="ADAL" clId="{954E1B2E-3FC5-41EC-90DE-542CDF424809}" dt="2021-11-18T13:52:51.174" v="4" actId="6549"/>
        <pc:sldMkLst>
          <pc:docMk/>
          <pc:sldMk cId="2671899600" sldId="1116"/>
        </pc:sldMkLst>
      </pc:sldChg>
      <pc:sldChg chg="modNotesTx">
        <pc:chgData name="Dennis Hendriks - DHFS" userId="ceacf04f-0b47-4d6f-9d04-eca8f76fbd3c" providerId="ADAL" clId="{954E1B2E-3FC5-41EC-90DE-542CDF424809}" dt="2021-11-18T13:53:01.227" v="6" actId="6549"/>
        <pc:sldMkLst>
          <pc:docMk/>
          <pc:sldMk cId="2590100134" sldId="1117"/>
        </pc:sldMkLst>
      </pc:sldChg>
      <pc:sldChg chg="modNotesTx">
        <pc:chgData name="Dennis Hendriks - DHFS" userId="ceacf04f-0b47-4d6f-9d04-eca8f76fbd3c" providerId="ADAL" clId="{954E1B2E-3FC5-41EC-90DE-542CDF424809}" dt="2021-11-18T13:53:19.313" v="7" actId="6549"/>
        <pc:sldMkLst>
          <pc:docMk/>
          <pc:sldMk cId="3687647465" sldId="1126"/>
        </pc:sldMkLst>
      </pc:sldChg>
      <pc:sldChg chg="del">
        <pc:chgData name="Dennis Hendriks - DHFS" userId="ceacf04f-0b47-4d6f-9d04-eca8f76fbd3c" providerId="ADAL" clId="{954E1B2E-3FC5-41EC-90DE-542CDF424809}" dt="2021-11-18T13:52:38.745" v="1" actId="47"/>
        <pc:sldMkLst>
          <pc:docMk/>
          <pc:sldMk cId="147180483" sldId="1138"/>
        </pc:sldMkLst>
      </pc:sldChg>
      <pc:sldChg chg="del">
        <pc:chgData name="Dennis Hendriks - DHFS" userId="ceacf04f-0b47-4d6f-9d04-eca8f76fbd3c" providerId="ADAL" clId="{954E1B2E-3FC5-41EC-90DE-542CDF424809}" dt="2021-11-18T13:52:40.401" v="3" actId="47"/>
        <pc:sldMkLst>
          <pc:docMk/>
          <pc:sldMk cId="2131368487" sldId="113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82CB5F-0F31-4707-B2BC-629973CFB4B4}" type="doc">
      <dgm:prSet loTypeId="urn:microsoft.com/office/officeart/2005/8/layout/chevron1" loCatId="process" qsTypeId="urn:microsoft.com/office/officeart/2005/8/quickstyle/simple1" qsCatId="simple" csTypeId="urn:microsoft.com/office/officeart/2005/8/colors/accent1_2" csCatId="accent1" phldr="1"/>
      <dgm:spPr/>
    </dgm:pt>
    <dgm:pt modelId="{BC9E7E4F-055B-433E-A0F5-2314200C22AA}">
      <dgm:prSet phldrT="[Text]" custT="1"/>
      <dgm:spPr>
        <a:xfrm>
          <a:off x="0" y="0"/>
          <a:ext cx="2556292" cy="640080"/>
        </a:xfrm>
        <a:prstGeom prst="chevron">
          <a:avLst/>
        </a:prstGeom>
        <a:solidFill>
          <a:srgbClr val="00819B">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1400" dirty="0">
              <a:solidFill>
                <a:srgbClr val="FFFFFF"/>
              </a:solidFill>
              <a:latin typeface="Calibri" panose="020F0502020204030204"/>
              <a:ea typeface="+mn-ea"/>
              <a:cs typeface="+mn-cs"/>
            </a:rPr>
            <a:t>Traditional</a:t>
          </a:r>
          <a:br>
            <a:rPr lang="en-US" sz="1400" dirty="0">
              <a:solidFill>
                <a:srgbClr val="FFFFFF"/>
              </a:solidFill>
              <a:latin typeface="Calibri" panose="020F0502020204030204"/>
              <a:ea typeface="+mn-ea"/>
              <a:cs typeface="+mn-cs"/>
            </a:rPr>
          </a:br>
          <a:r>
            <a:rPr lang="en-US" sz="1400" dirty="0">
              <a:solidFill>
                <a:srgbClr val="FFFFFF"/>
              </a:solidFill>
              <a:latin typeface="Calibri" panose="020F0502020204030204"/>
              <a:ea typeface="+mn-ea"/>
              <a:cs typeface="+mn-cs"/>
            </a:rPr>
            <a:t>Engineering</a:t>
          </a:r>
        </a:p>
      </dgm:t>
    </dgm:pt>
    <dgm:pt modelId="{0DB8B896-8EFA-44EB-B37A-DBC06C789C5D}" type="parTrans" cxnId="{9AA1B987-4E80-44DA-AA69-CB1C96F3EB86}">
      <dgm:prSet/>
      <dgm:spPr/>
      <dgm:t>
        <a:bodyPr/>
        <a:lstStyle/>
        <a:p>
          <a:endParaRPr lang="en-US" sz="1400"/>
        </a:p>
      </dgm:t>
    </dgm:pt>
    <dgm:pt modelId="{3B588624-0AD4-4745-B14E-1A30270C6B0F}" type="sibTrans" cxnId="{9AA1B987-4E80-44DA-AA69-CB1C96F3EB86}">
      <dgm:prSet/>
      <dgm:spPr/>
      <dgm:t>
        <a:bodyPr/>
        <a:lstStyle/>
        <a:p>
          <a:endParaRPr lang="en-US" sz="1400"/>
        </a:p>
      </dgm:t>
    </dgm:pt>
    <dgm:pt modelId="{F75B5AD7-FEF3-40E6-982D-CDE111F743F8}">
      <dgm:prSet phldrT="[Text]" custT="1"/>
      <dgm:spPr>
        <a:xfrm>
          <a:off x="2305054" y="0"/>
          <a:ext cx="2556292" cy="640080"/>
        </a:xfrm>
        <a:prstGeom prst="chevron">
          <a:avLst/>
        </a:prstGeom>
        <a:solidFill>
          <a:srgbClr val="00819B">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1400" dirty="0">
              <a:solidFill>
                <a:srgbClr val="FFFFFF"/>
              </a:solidFill>
              <a:latin typeface="Calibri" panose="020F0502020204030204"/>
              <a:ea typeface="+mn-ea"/>
              <a:cs typeface="+mn-cs"/>
            </a:rPr>
            <a:t>Model-Based Engineering</a:t>
          </a:r>
        </a:p>
      </dgm:t>
    </dgm:pt>
    <dgm:pt modelId="{DE1BF46E-A9AF-4C4D-85FF-D4057835E9D2}" type="parTrans" cxnId="{45825931-3BCB-45A7-96A0-7A606C00D68D}">
      <dgm:prSet/>
      <dgm:spPr/>
      <dgm:t>
        <a:bodyPr/>
        <a:lstStyle/>
        <a:p>
          <a:endParaRPr lang="en-US" sz="1400"/>
        </a:p>
      </dgm:t>
    </dgm:pt>
    <dgm:pt modelId="{730B8FD4-76A8-409D-A3B3-786FE6B95430}" type="sibTrans" cxnId="{45825931-3BCB-45A7-96A0-7A606C00D68D}">
      <dgm:prSet/>
      <dgm:spPr/>
      <dgm:t>
        <a:bodyPr/>
        <a:lstStyle/>
        <a:p>
          <a:endParaRPr lang="en-US" sz="1400"/>
        </a:p>
      </dgm:t>
    </dgm:pt>
    <dgm:pt modelId="{12D72B99-6B12-409A-826A-F4F0E673BE2F}">
      <dgm:prSet phldrT="[Text]" custT="1"/>
      <dgm:spPr>
        <a:xfrm>
          <a:off x="4605717" y="0"/>
          <a:ext cx="2556292" cy="640080"/>
        </a:xfrm>
        <a:prstGeom prst="chevron">
          <a:avLst/>
        </a:prstGeom>
        <a:solidFill>
          <a:srgbClr val="00819B">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1400" dirty="0">
              <a:solidFill>
                <a:srgbClr val="FFFFFF"/>
              </a:solidFill>
              <a:latin typeface="Calibri" panose="020F0502020204030204"/>
              <a:ea typeface="+mn-ea"/>
              <a:cs typeface="+mn-cs"/>
            </a:rPr>
            <a:t>Verification-Based Engineering</a:t>
          </a:r>
        </a:p>
      </dgm:t>
    </dgm:pt>
    <dgm:pt modelId="{FD771D06-3D38-4F1B-ACBB-E88C56AED09B}" type="parTrans" cxnId="{7A29A9B2-333A-42BD-98F0-B5006E014DB7}">
      <dgm:prSet/>
      <dgm:spPr/>
      <dgm:t>
        <a:bodyPr/>
        <a:lstStyle/>
        <a:p>
          <a:endParaRPr lang="en-US" sz="1400"/>
        </a:p>
      </dgm:t>
    </dgm:pt>
    <dgm:pt modelId="{81F85E9D-B78A-433F-8261-1B9119FAF9EB}" type="sibTrans" cxnId="{7A29A9B2-333A-42BD-98F0-B5006E014DB7}">
      <dgm:prSet/>
      <dgm:spPr/>
      <dgm:t>
        <a:bodyPr/>
        <a:lstStyle/>
        <a:p>
          <a:endParaRPr lang="en-US" sz="1400"/>
        </a:p>
      </dgm:t>
    </dgm:pt>
    <dgm:pt modelId="{A7C281AE-2C52-4ED9-AD67-7B8A70E02631}">
      <dgm:prSet phldrT="[Text]" custT="1"/>
      <dgm:spPr>
        <a:xfrm>
          <a:off x="6906381" y="0"/>
          <a:ext cx="2556292" cy="640080"/>
        </a:xfrm>
        <a:prstGeom prst="chevron">
          <a:avLst/>
        </a:prstGeom>
        <a:solidFill>
          <a:srgbClr val="00819B">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1400" dirty="0">
              <a:solidFill>
                <a:srgbClr val="FFFFFF"/>
              </a:solidFill>
              <a:latin typeface="Calibri" panose="020F0502020204030204"/>
              <a:ea typeface="+mn-ea"/>
              <a:cs typeface="+mn-cs"/>
            </a:rPr>
            <a:t>Synthesis-Based Engineering</a:t>
          </a:r>
        </a:p>
      </dgm:t>
    </dgm:pt>
    <dgm:pt modelId="{C11260BF-E214-47D9-B40D-C339C2EF99C3}" type="parTrans" cxnId="{5DF4A39A-4375-4722-B567-1B740233083D}">
      <dgm:prSet/>
      <dgm:spPr/>
      <dgm:t>
        <a:bodyPr/>
        <a:lstStyle/>
        <a:p>
          <a:endParaRPr lang="en-US" sz="1400"/>
        </a:p>
      </dgm:t>
    </dgm:pt>
    <dgm:pt modelId="{2A5B73B2-9770-4286-8E62-AE3F22763BD8}" type="sibTrans" cxnId="{5DF4A39A-4375-4722-B567-1B740233083D}">
      <dgm:prSet/>
      <dgm:spPr/>
      <dgm:t>
        <a:bodyPr/>
        <a:lstStyle/>
        <a:p>
          <a:endParaRPr lang="en-US" sz="1400"/>
        </a:p>
      </dgm:t>
    </dgm:pt>
    <dgm:pt modelId="{2808B75B-CDCA-429D-983E-B4760B8CCFAE}" type="pres">
      <dgm:prSet presAssocID="{B482CB5F-0F31-4707-B2BC-629973CFB4B4}" presName="Name0" presStyleCnt="0">
        <dgm:presLayoutVars>
          <dgm:dir/>
          <dgm:animLvl val="lvl"/>
          <dgm:resizeHandles val="exact"/>
        </dgm:presLayoutVars>
      </dgm:prSet>
      <dgm:spPr/>
    </dgm:pt>
    <dgm:pt modelId="{459827DC-FF18-40A3-8B5A-741CDB3C043D}" type="pres">
      <dgm:prSet presAssocID="{BC9E7E4F-055B-433E-A0F5-2314200C22AA}" presName="parTxOnly" presStyleLbl="node1" presStyleIdx="0" presStyleCnt="4" custLinFactNeighborX="-5564">
        <dgm:presLayoutVars>
          <dgm:chMax val="0"/>
          <dgm:chPref val="0"/>
          <dgm:bulletEnabled val="1"/>
        </dgm:presLayoutVars>
      </dgm:prSet>
      <dgm:spPr/>
    </dgm:pt>
    <dgm:pt modelId="{8BC558A6-0C2F-4B07-83B8-DE85E50A8469}" type="pres">
      <dgm:prSet presAssocID="{3B588624-0AD4-4745-B14E-1A30270C6B0F}" presName="parTxOnlySpace" presStyleCnt="0"/>
      <dgm:spPr/>
    </dgm:pt>
    <dgm:pt modelId="{EB832203-95F6-4E01-93DA-684BD5A905EC}" type="pres">
      <dgm:prSet presAssocID="{F75B5AD7-FEF3-40E6-982D-CDE111F743F8}" presName="parTxOnly" presStyleLbl="node1" presStyleIdx="1" presStyleCnt="4">
        <dgm:presLayoutVars>
          <dgm:chMax val="0"/>
          <dgm:chPref val="0"/>
          <dgm:bulletEnabled val="1"/>
        </dgm:presLayoutVars>
      </dgm:prSet>
      <dgm:spPr/>
    </dgm:pt>
    <dgm:pt modelId="{7371826E-A205-4FBE-A1B7-DD918663CEF4}" type="pres">
      <dgm:prSet presAssocID="{730B8FD4-76A8-409D-A3B3-786FE6B95430}" presName="parTxOnlySpace" presStyleCnt="0"/>
      <dgm:spPr/>
    </dgm:pt>
    <dgm:pt modelId="{F7CEB790-ADF0-43F2-8A4A-8061E818EE36}" type="pres">
      <dgm:prSet presAssocID="{12D72B99-6B12-409A-826A-F4F0E673BE2F}" presName="parTxOnly" presStyleLbl="node1" presStyleIdx="2" presStyleCnt="4">
        <dgm:presLayoutVars>
          <dgm:chMax val="0"/>
          <dgm:chPref val="0"/>
          <dgm:bulletEnabled val="1"/>
        </dgm:presLayoutVars>
      </dgm:prSet>
      <dgm:spPr/>
    </dgm:pt>
    <dgm:pt modelId="{2A56E214-21F0-4DCA-B39A-95785B97D66C}" type="pres">
      <dgm:prSet presAssocID="{81F85E9D-B78A-433F-8261-1B9119FAF9EB}" presName="parTxOnlySpace" presStyleCnt="0"/>
      <dgm:spPr/>
    </dgm:pt>
    <dgm:pt modelId="{D7AF01AD-72F4-497D-8D6A-719727532B12}" type="pres">
      <dgm:prSet presAssocID="{A7C281AE-2C52-4ED9-AD67-7B8A70E02631}" presName="parTxOnly" presStyleLbl="node1" presStyleIdx="3" presStyleCnt="4">
        <dgm:presLayoutVars>
          <dgm:chMax val="0"/>
          <dgm:chPref val="0"/>
          <dgm:bulletEnabled val="1"/>
        </dgm:presLayoutVars>
      </dgm:prSet>
      <dgm:spPr/>
    </dgm:pt>
  </dgm:ptLst>
  <dgm:cxnLst>
    <dgm:cxn modelId="{45825931-3BCB-45A7-96A0-7A606C00D68D}" srcId="{B482CB5F-0F31-4707-B2BC-629973CFB4B4}" destId="{F75B5AD7-FEF3-40E6-982D-CDE111F743F8}" srcOrd="1" destOrd="0" parTransId="{DE1BF46E-A9AF-4C4D-85FF-D4057835E9D2}" sibTransId="{730B8FD4-76A8-409D-A3B3-786FE6B95430}"/>
    <dgm:cxn modelId="{F878403F-FE8E-4D09-80D1-F6A0CE5ECFEE}" type="presOf" srcId="{B482CB5F-0F31-4707-B2BC-629973CFB4B4}" destId="{2808B75B-CDCA-429D-983E-B4760B8CCFAE}" srcOrd="0" destOrd="0" presId="urn:microsoft.com/office/officeart/2005/8/layout/chevron1"/>
    <dgm:cxn modelId="{E4CE7D5E-50B6-4677-B4C2-CA94DB257ED2}" type="presOf" srcId="{A7C281AE-2C52-4ED9-AD67-7B8A70E02631}" destId="{D7AF01AD-72F4-497D-8D6A-719727532B12}" srcOrd="0" destOrd="0" presId="urn:microsoft.com/office/officeart/2005/8/layout/chevron1"/>
    <dgm:cxn modelId="{BD9F965E-BB7C-456C-ADAD-1F592A08850F}" type="presOf" srcId="{12D72B99-6B12-409A-826A-F4F0E673BE2F}" destId="{F7CEB790-ADF0-43F2-8A4A-8061E818EE36}" srcOrd="0" destOrd="0" presId="urn:microsoft.com/office/officeart/2005/8/layout/chevron1"/>
    <dgm:cxn modelId="{9AA1B987-4E80-44DA-AA69-CB1C96F3EB86}" srcId="{B482CB5F-0F31-4707-B2BC-629973CFB4B4}" destId="{BC9E7E4F-055B-433E-A0F5-2314200C22AA}" srcOrd="0" destOrd="0" parTransId="{0DB8B896-8EFA-44EB-B37A-DBC06C789C5D}" sibTransId="{3B588624-0AD4-4745-B14E-1A30270C6B0F}"/>
    <dgm:cxn modelId="{5DF4A39A-4375-4722-B567-1B740233083D}" srcId="{B482CB5F-0F31-4707-B2BC-629973CFB4B4}" destId="{A7C281AE-2C52-4ED9-AD67-7B8A70E02631}" srcOrd="3" destOrd="0" parTransId="{C11260BF-E214-47D9-B40D-C339C2EF99C3}" sibTransId="{2A5B73B2-9770-4286-8E62-AE3F22763BD8}"/>
    <dgm:cxn modelId="{2500B4A4-7B85-48F4-BB60-BDF55EEE28D8}" type="presOf" srcId="{F75B5AD7-FEF3-40E6-982D-CDE111F743F8}" destId="{EB832203-95F6-4E01-93DA-684BD5A905EC}" srcOrd="0" destOrd="0" presId="urn:microsoft.com/office/officeart/2005/8/layout/chevron1"/>
    <dgm:cxn modelId="{7A29A9B2-333A-42BD-98F0-B5006E014DB7}" srcId="{B482CB5F-0F31-4707-B2BC-629973CFB4B4}" destId="{12D72B99-6B12-409A-826A-F4F0E673BE2F}" srcOrd="2" destOrd="0" parTransId="{FD771D06-3D38-4F1B-ACBB-E88C56AED09B}" sibTransId="{81F85E9D-B78A-433F-8261-1B9119FAF9EB}"/>
    <dgm:cxn modelId="{589EB6ED-B31D-4D2F-9A1C-A9ECAA211FE7}" type="presOf" srcId="{BC9E7E4F-055B-433E-A0F5-2314200C22AA}" destId="{459827DC-FF18-40A3-8B5A-741CDB3C043D}" srcOrd="0" destOrd="0" presId="urn:microsoft.com/office/officeart/2005/8/layout/chevron1"/>
    <dgm:cxn modelId="{E9CBB06C-42B8-4773-A3D8-09F4D5C12CF1}" type="presParOf" srcId="{2808B75B-CDCA-429D-983E-B4760B8CCFAE}" destId="{459827DC-FF18-40A3-8B5A-741CDB3C043D}" srcOrd="0" destOrd="0" presId="urn:microsoft.com/office/officeart/2005/8/layout/chevron1"/>
    <dgm:cxn modelId="{03F2753B-5404-4FA9-B5DF-C4E12E5CFDFF}" type="presParOf" srcId="{2808B75B-CDCA-429D-983E-B4760B8CCFAE}" destId="{8BC558A6-0C2F-4B07-83B8-DE85E50A8469}" srcOrd="1" destOrd="0" presId="urn:microsoft.com/office/officeart/2005/8/layout/chevron1"/>
    <dgm:cxn modelId="{E06AE091-F2BF-4D4C-9785-8A18B22D3189}" type="presParOf" srcId="{2808B75B-CDCA-429D-983E-B4760B8CCFAE}" destId="{EB832203-95F6-4E01-93DA-684BD5A905EC}" srcOrd="2" destOrd="0" presId="urn:microsoft.com/office/officeart/2005/8/layout/chevron1"/>
    <dgm:cxn modelId="{2CBC385F-E002-4207-A756-B08AAFF45A9D}" type="presParOf" srcId="{2808B75B-CDCA-429D-983E-B4760B8CCFAE}" destId="{7371826E-A205-4FBE-A1B7-DD918663CEF4}" srcOrd="3" destOrd="0" presId="urn:microsoft.com/office/officeart/2005/8/layout/chevron1"/>
    <dgm:cxn modelId="{D457A8F3-AFBE-4D7F-A6F6-7009E762CF13}" type="presParOf" srcId="{2808B75B-CDCA-429D-983E-B4760B8CCFAE}" destId="{F7CEB790-ADF0-43F2-8A4A-8061E818EE36}" srcOrd="4" destOrd="0" presId="urn:microsoft.com/office/officeart/2005/8/layout/chevron1"/>
    <dgm:cxn modelId="{ACD93E08-6694-4C64-91AC-BF4C37692107}" type="presParOf" srcId="{2808B75B-CDCA-429D-983E-B4760B8CCFAE}" destId="{2A56E214-21F0-4DCA-B39A-95785B97D66C}" srcOrd="5" destOrd="0" presId="urn:microsoft.com/office/officeart/2005/8/layout/chevron1"/>
    <dgm:cxn modelId="{449E88C0-B2F5-47D5-A8EA-A6519011F833}" type="presParOf" srcId="{2808B75B-CDCA-429D-983E-B4760B8CCFAE}" destId="{D7AF01AD-72F4-497D-8D6A-719727532B12}"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9827DC-FF18-40A3-8B5A-741CDB3C043D}">
      <dsp:nvSpPr>
        <dsp:cNvPr id="0" name=""/>
        <dsp:cNvSpPr/>
      </dsp:nvSpPr>
      <dsp:spPr>
        <a:xfrm>
          <a:off x="0" y="0"/>
          <a:ext cx="2556292" cy="640080"/>
        </a:xfrm>
        <a:prstGeom prst="chevron">
          <a:avLst/>
        </a:prstGeom>
        <a:solidFill>
          <a:srgbClr val="00819B">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FFFFFF"/>
              </a:solidFill>
              <a:latin typeface="Calibri" panose="020F0502020204030204"/>
              <a:ea typeface="+mn-ea"/>
              <a:cs typeface="+mn-cs"/>
            </a:rPr>
            <a:t>Traditional</a:t>
          </a:r>
          <a:br>
            <a:rPr lang="en-US" sz="1400" kern="1200" dirty="0">
              <a:solidFill>
                <a:srgbClr val="FFFFFF"/>
              </a:solidFill>
              <a:latin typeface="Calibri" panose="020F0502020204030204"/>
              <a:ea typeface="+mn-ea"/>
              <a:cs typeface="+mn-cs"/>
            </a:rPr>
          </a:br>
          <a:r>
            <a:rPr lang="en-US" sz="1400" kern="1200" dirty="0">
              <a:solidFill>
                <a:srgbClr val="FFFFFF"/>
              </a:solidFill>
              <a:latin typeface="Calibri" panose="020F0502020204030204"/>
              <a:ea typeface="+mn-ea"/>
              <a:cs typeface="+mn-cs"/>
            </a:rPr>
            <a:t>Engineering</a:t>
          </a:r>
        </a:p>
      </dsp:txBody>
      <dsp:txXfrm>
        <a:off x="320040" y="0"/>
        <a:ext cx="1916212" cy="640080"/>
      </dsp:txXfrm>
    </dsp:sp>
    <dsp:sp modelId="{EB832203-95F6-4E01-93DA-684BD5A905EC}">
      <dsp:nvSpPr>
        <dsp:cNvPr id="0" name=""/>
        <dsp:cNvSpPr/>
      </dsp:nvSpPr>
      <dsp:spPr>
        <a:xfrm>
          <a:off x="2305054" y="0"/>
          <a:ext cx="2556292" cy="640080"/>
        </a:xfrm>
        <a:prstGeom prst="chevron">
          <a:avLst/>
        </a:prstGeom>
        <a:solidFill>
          <a:srgbClr val="00819B">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FFFFFF"/>
              </a:solidFill>
              <a:latin typeface="Calibri" panose="020F0502020204030204"/>
              <a:ea typeface="+mn-ea"/>
              <a:cs typeface="+mn-cs"/>
            </a:rPr>
            <a:t>Model-Based Engineering</a:t>
          </a:r>
        </a:p>
      </dsp:txBody>
      <dsp:txXfrm>
        <a:off x="2625094" y="0"/>
        <a:ext cx="1916212" cy="640080"/>
      </dsp:txXfrm>
    </dsp:sp>
    <dsp:sp modelId="{F7CEB790-ADF0-43F2-8A4A-8061E818EE36}">
      <dsp:nvSpPr>
        <dsp:cNvPr id="0" name=""/>
        <dsp:cNvSpPr/>
      </dsp:nvSpPr>
      <dsp:spPr>
        <a:xfrm>
          <a:off x="4605717" y="0"/>
          <a:ext cx="2556292" cy="640080"/>
        </a:xfrm>
        <a:prstGeom prst="chevron">
          <a:avLst/>
        </a:prstGeom>
        <a:solidFill>
          <a:srgbClr val="00819B">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FFFFFF"/>
              </a:solidFill>
              <a:latin typeface="Calibri" panose="020F0502020204030204"/>
              <a:ea typeface="+mn-ea"/>
              <a:cs typeface="+mn-cs"/>
            </a:rPr>
            <a:t>Verification-Based Engineering</a:t>
          </a:r>
        </a:p>
      </dsp:txBody>
      <dsp:txXfrm>
        <a:off x="4925757" y="0"/>
        <a:ext cx="1916212" cy="640080"/>
      </dsp:txXfrm>
    </dsp:sp>
    <dsp:sp modelId="{D7AF01AD-72F4-497D-8D6A-719727532B12}">
      <dsp:nvSpPr>
        <dsp:cNvPr id="0" name=""/>
        <dsp:cNvSpPr/>
      </dsp:nvSpPr>
      <dsp:spPr>
        <a:xfrm>
          <a:off x="6906381" y="0"/>
          <a:ext cx="2556292" cy="640080"/>
        </a:xfrm>
        <a:prstGeom prst="chevron">
          <a:avLst/>
        </a:prstGeom>
        <a:solidFill>
          <a:srgbClr val="00819B">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FFFFFF"/>
              </a:solidFill>
              <a:latin typeface="Calibri" panose="020F0502020204030204"/>
              <a:ea typeface="+mn-ea"/>
              <a:cs typeface="+mn-cs"/>
            </a:rPr>
            <a:t>Synthesis-Based Engineering</a:t>
          </a:r>
        </a:p>
      </dsp:txBody>
      <dsp:txXfrm>
        <a:off x="7226421" y="0"/>
        <a:ext cx="1916212" cy="64008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8B395D8-2125-4320-8A16-3926F466DCE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5E16FBA-C610-4348-9BED-20628E7404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F8C555-024B-4844-9AD6-C38A85EF9FFE}" type="datetimeFigureOut">
              <a:rPr lang="en-US" smtClean="0"/>
              <a:t>30-Mar-22</a:t>
            </a:fld>
            <a:endParaRPr lang="en-US"/>
          </a:p>
        </p:txBody>
      </p:sp>
      <p:sp>
        <p:nvSpPr>
          <p:cNvPr id="4" name="Footer Placeholder 3">
            <a:extLst>
              <a:ext uri="{FF2B5EF4-FFF2-40B4-BE49-F238E27FC236}">
                <a16:creationId xmlns:a16="http://schemas.microsoft.com/office/drawing/2014/main" id="{36D0D6AA-5C6E-4B05-AAEB-FD469AA7074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98CB5A8-04D1-4DCD-8201-68C20C4706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8D4979E-9995-44A5-8E33-632727F2AA84}" type="slidenum">
              <a:rPr lang="en-US" smtClean="0"/>
              <a:t>‹#›</a:t>
            </a:fld>
            <a:endParaRPr lang="en-US"/>
          </a:p>
        </p:txBody>
      </p:sp>
    </p:spTree>
    <p:extLst>
      <p:ext uri="{BB962C8B-B14F-4D97-AF65-F5344CB8AC3E}">
        <p14:creationId xmlns:p14="http://schemas.microsoft.com/office/powerpoint/2010/main" val="34274217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E5E298-98E8-534D-944D-C22776CEA07A}" type="datetimeFigureOut">
              <a:rPr lang="nl-NL" smtClean="0"/>
              <a:t>30-3-2022</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B77113-5F45-A94C-9255-5C576B33AFAF}" type="slidenum">
              <a:rPr lang="nl-NL" smtClean="0"/>
              <a:t>‹#›</a:t>
            </a:fld>
            <a:endParaRPr lang="nl-NL"/>
          </a:p>
        </p:txBody>
      </p:sp>
    </p:spTree>
    <p:extLst>
      <p:ext uri="{BB962C8B-B14F-4D97-AF65-F5344CB8AC3E}">
        <p14:creationId xmlns:p14="http://schemas.microsoft.com/office/powerpoint/2010/main" val="15571611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B77113-5F45-A94C-9255-5C576B33AFAF}" type="slidenum">
              <a:rPr lang="nl-NL" smtClean="0"/>
              <a:t>1</a:t>
            </a:fld>
            <a:endParaRPr lang="nl-NL"/>
          </a:p>
        </p:txBody>
      </p:sp>
    </p:spTree>
    <p:extLst>
      <p:ext uri="{BB962C8B-B14F-4D97-AF65-F5344CB8AC3E}">
        <p14:creationId xmlns:p14="http://schemas.microsoft.com/office/powerpoint/2010/main" val="1923147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7B77113-5F45-A94C-9255-5C576B33AFAF}" type="slidenum">
              <a:rPr lang="nl-NL" smtClean="0"/>
              <a:t>5</a:t>
            </a:fld>
            <a:endParaRPr lang="nl-NL"/>
          </a:p>
        </p:txBody>
      </p:sp>
    </p:spTree>
    <p:extLst>
      <p:ext uri="{BB962C8B-B14F-4D97-AF65-F5344CB8AC3E}">
        <p14:creationId xmlns:p14="http://schemas.microsoft.com/office/powerpoint/2010/main" val="2413879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7B77113-5F45-A94C-9255-5C576B33AFAF}" type="slidenum">
              <a:rPr lang="nl-NL" smtClean="0"/>
              <a:t>10</a:t>
            </a:fld>
            <a:endParaRPr lang="nl-NL"/>
          </a:p>
        </p:txBody>
      </p:sp>
    </p:spTree>
    <p:extLst>
      <p:ext uri="{BB962C8B-B14F-4D97-AF65-F5344CB8AC3E}">
        <p14:creationId xmlns:p14="http://schemas.microsoft.com/office/powerpoint/2010/main" val="1752703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B77113-5F45-A94C-9255-5C576B33AFAF}" type="slidenum">
              <a:rPr lang="nl-NL" smtClean="0"/>
              <a:t>18</a:t>
            </a:fld>
            <a:endParaRPr lang="nl-NL"/>
          </a:p>
        </p:txBody>
      </p:sp>
    </p:spTree>
    <p:extLst>
      <p:ext uri="{BB962C8B-B14F-4D97-AF65-F5344CB8AC3E}">
        <p14:creationId xmlns:p14="http://schemas.microsoft.com/office/powerpoint/2010/main" val="16952369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527050" y="2196269"/>
            <a:ext cx="10515600" cy="1486731"/>
          </a:xfrm>
          <a:effectLst>
            <a:outerShdw blurRad="50800" dist="38100" dir="2700000" algn="tl" rotWithShape="0">
              <a:prstClr val="black">
                <a:alpha val="40000"/>
              </a:prstClr>
            </a:outerShdw>
          </a:effectLst>
        </p:spPr>
        <p:txBody>
          <a:bodyPr anchor="ctr">
            <a:normAutofit/>
          </a:bodyPr>
          <a:lstStyle>
            <a:lvl1pPr>
              <a:defRPr sz="4500">
                <a:solidFill>
                  <a:schemeClr val="bg1"/>
                </a:solidFill>
              </a:defRPr>
            </a:lvl1pPr>
          </a:lstStyle>
          <a:p>
            <a:pPr lvl="0"/>
            <a:r>
              <a:rPr lang="en-US" dirty="0"/>
              <a:t>CLICK TO EDIT MASTER TEXT STYLES</a:t>
            </a:r>
          </a:p>
        </p:txBody>
      </p:sp>
      <p:sp>
        <p:nvSpPr>
          <p:cNvPr id="7" name="Text Placeholder 6"/>
          <p:cNvSpPr>
            <a:spLocks noGrp="1"/>
          </p:cNvSpPr>
          <p:nvPr>
            <p:ph type="body" sz="quarter" idx="10"/>
          </p:nvPr>
        </p:nvSpPr>
        <p:spPr>
          <a:xfrm>
            <a:off x="527050" y="3683000"/>
            <a:ext cx="7626350" cy="1581209"/>
          </a:xfrm>
          <a:effectLst>
            <a:outerShdw blurRad="50800" dist="38100" dir="2700000" algn="tl" rotWithShape="0">
              <a:prstClr val="black">
                <a:alpha val="40000"/>
              </a:prstClr>
            </a:outerShdw>
          </a:effectLst>
        </p:spPr>
        <p:txBody>
          <a:bodyPr>
            <a:normAutofit/>
          </a:bodyPr>
          <a:lstStyle>
            <a:lvl1pPr>
              <a:defRPr sz="2400">
                <a:solidFill>
                  <a:schemeClr val="bg1"/>
                </a:solidFill>
              </a:defRPr>
            </a:lvl1pPr>
          </a:lstStyle>
          <a:p>
            <a:pPr lvl="0"/>
            <a:r>
              <a:rPr lang="en-US"/>
              <a:t>Click to edit Master text styles</a:t>
            </a:r>
          </a:p>
        </p:txBody>
      </p:sp>
      <p:sp>
        <p:nvSpPr>
          <p:cNvPr id="8" name="Rectangle 7">
            <a:extLst>
              <a:ext uri="{FF2B5EF4-FFF2-40B4-BE49-F238E27FC236}">
                <a16:creationId xmlns:a16="http://schemas.microsoft.com/office/drawing/2014/main" id="{4F78F6BF-787B-434C-95A0-5AD4D8C7E4AA}"/>
              </a:ext>
            </a:extLst>
          </p:cNvPr>
          <p:cNvSpPr/>
          <p:nvPr userDrawn="1"/>
        </p:nvSpPr>
        <p:spPr>
          <a:xfrm>
            <a:off x="9951720" y="5470328"/>
            <a:ext cx="1950720" cy="10523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D1D52D61-E49C-4A27-AAEA-34C8F47F98F5}"/>
              </a:ext>
            </a:extLst>
          </p:cNvPr>
          <p:cNvPicPr>
            <a:picLocks noChangeAspect="1"/>
          </p:cNvPicPr>
          <p:nvPr userDrawn="1"/>
        </p:nvPicPr>
        <p:blipFill>
          <a:blip r:embed="rId3"/>
          <a:stretch>
            <a:fillRect/>
          </a:stretch>
        </p:blipFill>
        <p:spPr>
          <a:xfrm>
            <a:off x="10324981" y="5827760"/>
            <a:ext cx="1867019" cy="870220"/>
          </a:xfrm>
          <a:prstGeom prst="rect">
            <a:avLst/>
          </a:prstGeom>
        </p:spPr>
      </p:pic>
      <p:pic>
        <p:nvPicPr>
          <p:cNvPr id="9" name="Graphic 8">
            <a:extLst>
              <a:ext uri="{FF2B5EF4-FFF2-40B4-BE49-F238E27FC236}">
                <a16:creationId xmlns:a16="http://schemas.microsoft.com/office/drawing/2014/main" id="{0FC03107-29DC-4915-8CA0-01D8866234BA}"/>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3148" t="22562" r="10196" b="27521"/>
          <a:stretch/>
        </p:blipFill>
        <p:spPr>
          <a:xfrm>
            <a:off x="7170420" y="5797523"/>
            <a:ext cx="2689861" cy="915697"/>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texframe fu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4" y="944563"/>
            <a:ext cx="9939339" cy="858874"/>
          </a:xfrm>
          <a:prstGeom prst="rect">
            <a:avLst/>
          </a:prstGeom>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1569946" y="6329364"/>
            <a:ext cx="622554" cy="160337"/>
          </a:xfrm>
          <a:prstGeom prst="rect">
            <a:avLst/>
          </a:prstGeom>
        </p:spPr>
        <p:txBody>
          <a:bodyPr/>
          <a:lstStyle>
            <a:lvl1pPr>
              <a:defRPr/>
            </a:lvl1pPr>
          </a:lstStyle>
          <a:p>
            <a:fld id="{7FFD7E0A-30BB-47D5-B196-A4F49DC097A0}" type="datetime1">
              <a:rPr lang="nl-NL" smtClean="0"/>
              <a:t>30-3-2022</a:t>
            </a:fld>
            <a:endParaRPr lang="nl-NL"/>
          </a:p>
        </p:txBody>
      </p:sp>
      <p:sp>
        <p:nvSpPr>
          <p:cNvPr id="5" name="Tijdelijke aanduiding voor voettekst 4"/>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6" name="Tijdelijke aanduiding voor dianummer 5"/>
          <p:cNvSpPr>
            <a:spLocks noGrp="1"/>
          </p:cNvSpPr>
          <p:nvPr>
            <p:ph type="sldNum" sz="quarter" idx="12"/>
          </p:nvPr>
        </p:nvSpPr>
        <p:spPr/>
        <p:txBody>
          <a:bodyPr/>
          <a:lstStyle>
            <a:lvl1pPr>
              <a:defRPr/>
            </a:lvl1pPr>
          </a:lstStyle>
          <a:p>
            <a:fld id="{9C59798B-84E5-F441-8110-84C3B6182022}" type="slidenum">
              <a:rPr lang="nl-NL" smtClean="0"/>
              <a:pPr/>
              <a:t>‹#›</a:t>
            </a:fld>
            <a:endParaRPr lang="nl-NL"/>
          </a:p>
        </p:txBody>
      </p:sp>
      <p:sp>
        <p:nvSpPr>
          <p:cNvPr id="10" name="Content Placeholder 9"/>
          <p:cNvSpPr>
            <a:spLocks noGrp="1"/>
          </p:cNvSpPr>
          <p:nvPr>
            <p:ph sz="quarter" idx="13" hasCustomPrompt="1"/>
          </p:nvPr>
        </p:nvSpPr>
        <p:spPr>
          <a:xfrm>
            <a:off x="1127124" y="1916114"/>
            <a:ext cx="10520363" cy="4344984"/>
          </a:xfrm>
        </p:spPr>
        <p:txBody>
          <a:bodyPr/>
          <a:lstStyle>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ub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4" y="2168525"/>
            <a:ext cx="10514013" cy="2393950"/>
          </a:xfrm>
          <a:prstGeom prst="rect">
            <a:avLst/>
          </a:prstGeom>
        </p:spPr>
        <p:txBody>
          <a:bodyPr anchor="ctr">
            <a:normAutofit/>
          </a:bodyPr>
          <a:lstStyle>
            <a:lvl1pPr>
              <a:defRPr sz="4500">
                <a:solidFill>
                  <a:schemeClr val="accent2"/>
                </a:solidFill>
              </a:defRPr>
            </a:lvl1pPr>
          </a:lstStyle>
          <a:p>
            <a:r>
              <a:rPr lang="en-US"/>
              <a:t>CLICK TO EDIT MASTER TEXT STYLES</a:t>
            </a:r>
            <a:endParaRPr lang="nl-NL"/>
          </a:p>
        </p:txBody>
      </p:sp>
      <p:sp>
        <p:nvSpPr>
          <p:cNvPr id="3" name="Tijdelijke aanduiding voor tekst 2"/>
          <p:cNvSpPr>
            <a:spLocks noGrp="1"/>
          </p:cNvSpPr>
          <p:nvPr>
            <p:ph type="body" idx="1"/>
          </p:nvPr>
        </p:nvSpPr>
        <p:spPr>
          <a:xfrm>
            <a:off x="1127124" y="4589463"/>
            <a:ext cx="10514013"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ijdelijke aanduiding voor datum 3"/>
          <p:cNvSpPr>
            <a:spLocks noGrp="1"/>
          </p:cNvSpPr>
          <p:nvPr>
            <p:ph type="dt" sz="half" idx="10"/>
          </p:nvPr>
        </p:nvSpPr>
        <p:spPr>
          <a:xfrm>
            <a:off x="1569946" y="6329364"/>
            <a:ext cx="622554" cy="160337"/>
          </a:xfrm>
          <a:prstGeom prst="rect">
            <a:avLst/>
          </a:prstGeom>
        </p:spPr>
        <p:txBody>
          <a:bodyPr/>
          <a:lstStyle/>
          <a:p>
            <a:fld id="{E777A1C5-A8C6-4156-AC38-281B7AF247EA}" type="datetime1">
              <a:rPr lang="nl-NL" smtClean="0"/>
              <a:t>30-3-2022</a:t>
            </a:fld>
            <a:endParaRPr lang="nl-NL"/>
          </a:p>
        </p:txBody>
      </p:sp>
      <p:sp>
        <p:nvSpPr>
          <p:cNvPr id="5" name="Tijdelijke aanduiding voor voettekst 4"/>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6" name="Tijdelijke aanduiding voor dianummer 5"/>
          <p:cNvSpPr>
            <a:spLocks noGrp="1"/>
          </p:cNvSpPr>
          <p:nvPr>
            <p:ph type="sldNum" sz="quarter" idx="12"/>
          </p:nvPr>
        </p:nvSpPr>
        <p:spPr/>
        <p:txBody>
          <a:bodyPr/>
          <a:lstStyle/>
          <a:p>
            <a:fld id="{10D213FB-E701-8A4C-B010-98C9F2DC51F7}" type="slidenum">
              <a:rPr lang="nl-NL" smtClean="0"/>
              <a:t>‹#›</a:t>
            </a:fld>
            <a:endParaRPr lang="nl-NL"/>
          </a:p>
        </p:txBody>
      </p:sp>
      <p:sp>
        <p:nvSpPr>
          <p:cNvPr id="8" name="TextBox 7"/>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2 Colum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5" y="944563"/>
            <a:ext cx="10333038" cy="858873"/>
          </a:xfrm>
          <a:prstGeom prst="rect">
            <a:avLst/>
          </a:prstGeom>
        </p:spPr>
        <p:txBody>
          <a:bodyPr/>
          <a:lstStyle/>
          <a:p>
            <a:r>
              <a:rPr lang="en-US"/>
              <a:t>CLICK TO EDIT MASTER TITLE STYLE</a:t>
            </a:r>
            <a:endParaRPr lang="nl-NL"/>
          </a:p>
        </p:txBody>
      </p:sp>
      <p:sp>
        <p:nvSpPr>
          <p:cNvPr id="3" name="Tijdelijke aanduiding voor inhoud 2"/>
          <p:cNvSpPr>
            <a:spLocks noGrp="1"/>
          </p:cNvSpPr>
          <p:nvPr>
            <p:ph sz="half" idx="1" hasCustomPrompt="1"/>
          </p:nvPr>
        </p:nvSpPr>
        <p:spPr>
          <a:xfrm>
            <a:off x="1127125" y="1916113"/>
            <a:ext cx="5075323" cy="4109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jdelijke aanduiding voor inhoud 3"/>
          <p:cNvSpPr>
            <a:spLocks noGrp="1"/>
          </p:cNvSpPr>
          <p:nvPr>
            <p:ph sz="half" idx="2" hasCustomPrompt="1"/>
          </p:nvPr>
        </p:nvSpPr>
        <p:spPr>
          <a:xfrm>
            <a:off x="6384839" y="1916112"/>
            <a:ext cx="5075323" cy="4109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jdelijke aanduiding voor datum 4"/>
          <p:cNvSpPr>
            <a:spLocks noGrp="1"/>
          </p:cNvSpPr>
          <p:nvPr>
            <p:ph type="dt" sz="half" idx="10"/>
          </p:nvPr>
        </p:nvSpPr>
        <p:spPr>
          <a:xfrm>
            <a:off x="1569946" y="6329364"/>
            <a:ext cx="622554" cy="160337"/>
          </a:xfrm>
          <a:prstGeom prst="rect">
            <a:avLst/>
          </a:prstGeom>
        </p:spPr>
        <p:txBody>
          <a:bodyPr/>
          <a:lstStyle/>
          <a:p>
            <a:fld id="{C540254D-5D96-46AF-9E5F-4CDDE9851A4D}" type="datetime1">
              <a:rPr lang="nl-NL" smtClean="0"/>
              <a:t>30-3-2022</a:t>
            </a:fld>
            <a:endParaRPr lang="nl-NL"/>
          </a:p>
        </p:txBody>
      </p:sp>
      <p:sp>
        <p:nvSpPr>
          <p:cNvPr id="6" name="Tijdelijke aanduiding voor voettekst 5"/>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7" name="Tijdelijke aanduiding voor dianummer 6"/>
          <p:cNvSpPr>
            <a:spLocks noGrp="1"/>
          </p:cNvSpPr>
          <p:nvPr>
            <p:ph type="sldNum" sz="quarter" idx="12"/>
          </p:nvPr>
        </p:nvSpPr>
        <p:spPr/>
        <p:txBody>
          <a:bodyPr/>
          <a:lstStyle/>
          <a:p>
            <a:fld id="{10D213FB-E701-8A4C-B010-98C9F2DC51F7}" type="slidenum">
              <a:rPr lang="nl-NL" smtClean="0"/>
              <a:t>‹#›</a:t>
            </a:fld>
            <a:endParaRPr lang="nl-NL"/>
          </a:p>
        </p:txBody>
      </p:sp>
      <p:sp>
        <p:nvSpPr>
          <p:cNvPr id="11" name="TextBox 10">
            <a:extLst>
              <a:ext uri="{FF2B5EF4-FFF2-40B4-BE49-F238E27FC236}">
                <a16:creationId xmlns:a16="http://schemas.microsoft.com/office/drawing/2014/main" id="{4EBA2A28-60DC-4AC9-886F-E82294F9B356}"/>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1_Only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5" y="944563"/>
            <a:ext cx="10539413" cy="714411"/>
          </a:xfrm>
          <a:prstGeom prst="rect">
            <a:avLst/>
          </a:prstGeom>
        </p:spPr>
        <p:txBody>
          <a:bodyPr/>
          <a:lstStyle/>
          <a:p>
            <a:r>
              <a:rPr lang="en-US"/>
              <a:t>CLICK TO EDIT MASTER TITLE STYLE</a:t>
            </a:r>
            <a:endParaRPr lang="nl-NL"/>
          </a:p>
        </p:txBody>
      </p:sp>
      <p:sp>
        <p:nvSpPr>
          <p:cNvPr id="3" name="Tijdelijke aanduiding voor datum 2"/>
          <p:cNvSpPr>
            <a:spLocks noGrp="1"/>
          </p:cNvSpPr>
          <p:nvPr>
            <p:ph type="dt" sz="half" idx="10"/>
          </p:nvPr>
        </p:nvSpPr>
        <p:spPr>
          <a:xfrm>
            <a:off x="1569946" y="6329364"/>
            <a:ext cx="622554" cy="160337"/>
          </a:xfrm>
          <a:prstGeom prst="rect">
            <a:avLst/>
          </a:prstGeom>
        </p:spPr>
        <p:txBody>
          <a:bodyPr/>
          <a:lstStyle/>
          <a:p>
            <a:fld id="{2D9C379B-043B-49E3-A322-120288C790EB}" type="datetime1">
              <a:rPr lang="nl-NL" smtClean="0"/>
              <a:t>30-3-2022</a:t>
            </a:fld>
            <a:endParaRPr lang="nl-NL"/>
          </a:p>
        </p:txBody>
      </p:sp>
      <p:sp>
        <p:nvSpPr>
          <p:cNvPr id="4" name="Tijdelijke aanduiding voor voettekst 3"/>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5" name="Tijdelijke aanduiding voor dianummer 4"/>
          <p:cNvSpPr>
            <a:spLocks noGrp="1"/>
          </p:cNvSpPr>
          <p:nvPr>
            <p:ph type="sldNum" sz="quarter" idx="12"/>
          </p:nvPr>
        </p:nvSpPr>
        <p:spPr/>
        <p:txBody>
          <a:bodyPr/>
          <a:lstStyle/>
          <a:p>
            <a:fld id="{10D213FB-E701-8A4C-B010-98C9F2DC51F7}" type="slidenum">
              <a:rPr lang="nl-NL" smtClean="0"/>
              <a:t>‹#›</a:t>
            </a:fld>
            <a:endParaRPr lang="nl-NL"/>
          </a:p>
        </p:txBody>
      </p:sp>
      <p:sp>
        <p:nvSpPr>
          <p:cNvPr id="9" name="TextBox 8">
            <a:extLst>
              <a:ext uri="{FF2B5EF4-FFF2-40B4-BE49-F238E27FC236}">
                <a16:creationId xmlns:a16="http://schemas.microsoft.com/office/drawing/2014/main" id="{A371CB23-7716-4B51-8B37-83330B476951}"/>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a:xfrm>
            <a:off x="1569946" y="6329364"/>
            <a:ext cx="622554" cy="160337"/>
          </a:xfrm>
          <a:prstGeom prst="rect">
            <a:avLst/>
          </a:prstGeom>
        </p:spPr>
        <p:txBody>
          <a:bodyPr/>
          <a:lstStyle/>
          <a:p>
            <a:fld id="{764303BF-C2D1-4815-AD8B-8A65C7D22DD8}" type="datetime1">
              <a:rPr lang="nl-NL" smtClean="0"/>
              <a:t>30-3-2022</a:t>
            </a:fld>
            <a:endParaRPr lang="nl-NL"/>
          </a:p>
        </p:txBody>
      </p:sp>
      <p:sp>
        <p:nvSpPr>
          <p:cNvPr id="3" name="Tijdelijke aanduiding voor voettekst 2"/>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4" name="Tijdelijke aanduiding voor dianummer 3"/>
          <p:cNvSpPr>
            <a:spLocks noGrp="1"/>
          </p:cNvSpPr>
          <p:nvPr>
            <p:ph type="sldNum" sz="quarter" idx="12"/>
          </p:nvPr>
        </p:nvSpPr>
        <p:spPr/>
        <p:txBody>
          <a:bodyPr/>
          <a:lstStyle/>
          <a:p>
            <a:fld id="{10D213FB-E701-8A4C-B010-98C9F2DC51F7}" type="slidenum">
              <a:rPr lang="nl-NL" smtClean="0"/>
              <a:t>‹#›</a:t>
            </a:fld>
            <a:endParaRPr lang="nl-NL"/>
          </a:p>
        </p:txBody>
      </p:sp>
      <p:sp>
        <p:nvSpPr>
          <p:cNvPr id="8" name="TextBox 7">
            <a:extLst>
              <a:ext uri="{FF2B5EF4-FFF2-40B4-BE49-F238E27FC236}">
                <a16:creationId xmlns:a16="http://schemas.microsoft.com/office/drawing/2014/main" id="{5FE07BCC-8056-4429-A0EE-3A82C29324B0}"/>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1_Text and Grap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4" y="944564"/>
            <a:ext cx="8885556" cy="829372"/>
          </a:xfrm>
          <a:prstGeom prst="rect">
            <a:avLst/>
          </a:prstGeom>
        </p:spPr>
        <p:txBody>
          <a:bodyPr anchor="t"/>
          <a:lstStyle>
            <a:lvl1pPr>
              <a:defRPr sz="3200"/>
            </a:lvl1pPr>
          </a:lstStyle>
          <a:p>
            <a:r>
              <a:rPr lang="en-US"/>
              <a:t>CLICK TO EDIT MASTER TITLE STYLE</a:t>
            </a:r>
            <a:endParaRPr lang="nl-NL"/>
          </a:p>
        </p:txBody>
      </p:sp>
      <p:sp>
        <p:nvSpPr>
          <p:cNvPr id="3" name="Tijdelijke aanduiding voor inhoud 2"/>
          <p:cNvSpPr>
            <a:spLocks noGrp="1"/>
          </p:cNvSpPr>
          <p:nvPr>
            <p:ph idx="1" hasCustomPrompt="1"/>
          </p:nvPr>
        </p:nvSpPr>
        <p:spPr>
          <a:xfrm>
            <a:off x="7315200" y="1916115"/>
            <a:ext cx="4144962" cy="4182934"/>
          </a:xfrm>
        </p:spPr>
        <p:txBody>
          <a:bodyPr/>
          <a:lstStyle>
            <a:lvl1pPr>
              <a:defRPr sz="1600"/>
            </a:lvl1pPr>
            <a:lvl2pPr>
              <a:defRPr sz="1800"/>
            </a:lvl2pPr>
            <a:lvl3pPr>
              <a:defRPr sz="1600"/>
            </a:lvl3pPr>
            <a:lvl4pPr>
              <a:defRPr sz="1400"/>
            </a:lvl4pPr>
            <a:lvl5pPr>
              <a:defRPr sz="12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0"/>
            <a:endParaRPr lang="en-US"/>
          </a:p>
        </p:txBody>
      </p:sp>
      <p:sp>
        <p:nvSpPr>
          <p:cNvPr id="4" name="Tijdelijke aanduiding voor tekst 3"/>
          <p:cNvSpPr>
            <a:spLocks noGrp="1"/>
          </p:cNvSpPr>
          <p:nvPr>
            <p:ph type="body" sz="half" idx="2" hasCustomPrompt="1"/>
          </p:nvPr>
        </p:nvSpPr>
        <p:spPr>
          <a:xfrm>
            <a:off x="1127124" y="1916114"/>
            <a:ext cx="5999163" cy="4182935"/>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ijdelijke aanduiding voor datum 4"/>
          <p:cNvSpPr>
            <a:spLocks noGrp="1"/>
          </p:cNvSpPr>
          <p:nvPr>
            <p:ph type="dt" sz="half" idx="10"/>
          </p:nvPr>
        </p:nvSpPr>
        <p:spPr>
          <a:xfrm>
            <a:off x="1569946" y="6329364"/>
            <a:ext cx="622554" cy="160337"/>
          </a:xfrm>
          <a:prstGeom prst="rect">
            <a:avLst/>
          </a:prstGeom>
        </p:spPr>
        <p:txBody>
          <a:bodyPr/>
          <a:lstStyle/>
          <a:p>
            <a:fld id="{82A247FA-F85D-4414-A9D1-6494CB952334}" type="datetime1">
              <a:rPr lang="nl-NL" smtClean="0"/>
              <a:t>30-3-2022</a:t>
            </a:fld>
            <a:endParaRPr lang="nl-NL"/>
          </a:p>
        </p:txBody>
      </p:sp>
      <p:sp>
        <p:nvSpPr>
          <p:cNvPr id="6" name="Tijdelijke aanduiding voor voettekst 5"/>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7" name="Tijdelijke aanduiding voor dianummer 6"/>
          <p:cNvSpPr>
            <a:spLocks noGrp="1"/>
          </p:cNvSpPr>
          <p:nvPr>
            <p:ph type="sldNum" sz="quarter" idx="12"/>
          </p:nvPr>
        </p:nvSpPr>
        <p:spPr/>
        <p:txBody>
          <a:bodyPr/>
          <a:lstStyle/>
          <a:p>
            <a:fld id="{10D213FB-E701-8A4C-B010-98C9F2DC51F7}" type="slidenum">
              <a:rPr lang="nl-NL" smtClean="0"/>
              <a:t>‹#›</a:t>
            </a:fld>
            <a:endParaRPr lang="nl-NL"/>
          </a:p>
        </p:txBody>
      </p:sp>
      <p:sp>
        <p:nvSpPr>
          <p:cNvPr id="11" name="TextBox 10">
            <a:extLst>
              <a:ext uri="{FF2B5EF4-FFF2-40B4-BE49-F238E27FC236}">
                <a16:creationId xmlns:a16="http://schemas.microsoft.com/office/drawing/2014/main" id="{127E754C-DB88-4A82-A3D3-05AEEE7C5BF5}"/>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1_Text and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5" y="944563"/>
            <a:ext cx="6591300" cy="856805"/>
          </a:xfrm>
          <a:prstGeom prst="rect">
            <a:avLst/>
          </a:prstGeom>
        </p:spPr>
        <p:txBody>
          <a:bodyPr anchor="t"/>
          <a:lstStyle>
            <a:lvl1pPr>
              <a:defRPr sz="3200"/>
            </a:lvl1pPr>
          </a:lstStyle>
          <a:p>
            <a:r>
              <a:rPr lang="en-US"/>
              <a:t>CLICK TO EDIT MASTER TITLE STYLE</a:t>
            </a:r>
            <a:endParaRPr lang="nl-NL"/>
          </a:p>
        </p:txBody>
      </p:sp>
      <p:sp>
        <p:nvSpPr>
          <p:cNvPr id="3" name="Tijdelijke aanduiding voor afbeelding 2"/>
          <p:cNvSpPr>
            <a:spLocks noGrp="1"/>
          </p:cNvSpPr>
          <p:nvPr>
            <p:ph type="pic" idx="1"/>
          </p:nvPr>
        </p:nvSpPr>
        <p:spPr>
          <a:xfrm>
            <a:off x="7315200" y="1916114"/>
            <a:ext cx="4144963" cy="439261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4" name="Tijdelijke aanduiding voor tekst 3"/>
          <p:cNvSpPr>
            <a:spLocks noGrp="1"/>
          </p:cNvSpPr>
          <p:nvPr>
            <p:ph type="body" sz="half" idx="2" hasCustomPrompt="1"/>
          </p:nvPr>
        </p:nvSpPr>
        <p:spPr>
          <a:xfrm>
            <a:off x="1127124" y="1916114"/>
            <a:ext cx="5999163" cy="439261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ijdelijke aanduiding voor datum 4"/>
          <p:cNvSpPr>
            <a:spLocks noGrp="1"/>
          </p:cNvSpPr>
          <p:nvPr>
            <p:ph type="dt" sz="half" idx="10"/>
          </p:nvPr>
        </p:nvSpPr>
        <p:spPr>
          <a:xfrm>
            <a:off x="1569946" y="6329364"/>
            <a:ext cx="622554" cy="160337"/>
          </a:xfrm>
          <a:prstGeom prst="rect">
            <a:avLst/>
          </a:prstGeom>
        </p:spPr>
        <p:txBody>
          <a:bodyPr/>
          <a:lstStyle/>
          <a:p>
            <a:fld id="{12572B90-C6F3-424B-A96B-27E0C245D694}" type="datetime1">
              <a:rPr lang="nl-NL" smtClean="0"/>
              <a:t>30-3-2022</a:t>
            </a:fld>
            <a:endParaRPr lang="nl-NL"/>
          </a:p>
        </p:txBody>
      </p:sp>
      <p:sp>
        <p:nvSpPr>
          <p:cNvPr id="6" name="Tijdelijke aanduiding voor voettekst 5"/>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7" name="Tijdelijke aanduiding voor dianummer 6"/>
          <p:cNvSpPr>
            <a:spLocks noGrp="1"/>
          </p:cNvSpPr>
          <p:nvPr>
            <p:ph type="sldNum" sz="quarter" idx="12"/>
          </p:nvPr>
        </p:nvSpPr>
        <p:spPr/>
        <p:txBody>
          <a:bodyPr/>
          <a:lstStyle/>
          <a:p>
            <a:fld id="{10D213FB-E701-8A4C-B010-98C9F2DC51F7}" type="slidenum">
              <a:rPr lang="nl-NL" smtClean="0"/>
              <a:t>‹#›</a:t>
            </a:fld>
            <a:endParaRPr lang="nl-NL"/>
          </a:p>
        </p:txBody>
      </p:sp>
      <p:sp>
        <p:nvSpPr>
          <p:cNvPr id="11" name="TextBox 10">
            <a:extLst>
              <a:ext uri="{FF2B5EF4-FFF2-40B4-BE49-F238E27FC236}">
                <a16:creationId xmlns:a16="http://schemas.microsoft.com/office/drawing/2014/main" id="{B97DF634-69BA-492C-83A5-D59A8434CB13}"/>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frame fu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p:txBody>
          <a:bodyPr/>
          <a:lstStyle>
            <a:lvl1pPr>
              <a:defRPr/>
            </a:lvl1pPr>
          </a:lstStyle>
          <a:p>
            <a:fld id="{9C59798B-84E5-F441-8110-84C3B6182022}" type="slidenum">
              <a:rPr lang="nl-NL" smtClean="0"/>
              <a:pPr/>
              <a:t>‹#›</a:t>
            </a:fld>
            <a:endParaRPr lang="nl-NL"/>
          </a:p>
        </p:txBody>
      </p:sp>
      <p:sp>
        <p:nvSpPr>
          <p:cNvPr id="10" name="Content Placeholder 9"/>
          <p:cNvSpPr>
            <a:spLocks noGrp="1"/>
          </p:cNvSpPr>
          <p:nvPr>
            <p:ph sz="quarter" idx="13" hasCustomPrompt="1"/>
          </p:nvPr>
        </p:nvSpPr>
        <p:spPr>
          <a:xfrm>
            <a:off x="1127124" y="1916114"/>
            <a:ext cx="10520363" cy="4344984"/>
          </a:xfrm>
        </p:spPr>
        <p:txBody>
          <a:bodyPr/>
          <a:lstStyle>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8279E0E-5245-4ADD-BD06-FCCF7A83EB1A}"/>
              </a:ext>
            </a:extLst>
          </p:cNvPr>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texframe fu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4" y="944563"/>
            <a:ext cx="9939339" cy="858874"/>
          </a:xfrm>
          <a:prstGeom prst="rect">
            <a:avLst/>
          </a:prstGeom>
        </p:spPr>
        <p:txBody>
          <a:bodyPr/>
          <a:lstStyle/>
          <a:p>
            <a:r>
              <a:rPr lang="en-US"/>
              <a:t>CLICK TO EDIT MASTER TITLE STYLE</a:t>
            </a:r>
            <a:endParaRPr lang="nl-NL"/>
          </a:p>
        </p:txBody>
      </p:sp>
      <p:sp>
        <p:nvSpPr>
          <p:cNvPr id="10" name="Content Placeholder 9"/>
          <p:cNvSpPr>
            <a:spLocks noGrp="1"/>
          </p:cNvSpPr>
          <p:nvPr>
            <p:ph sz="quarter" idx="13" hasCustomPrompt="1"/>
          </p:nvPr>
        </p:nvSpPr>
        <p:spPr>
          <a:xfrm>
            <a:off x="1127124" y="1916114"/>
            <a:ext cx="10520363" cy="4344984"/>
          </a:xfrm>
        </p:spPr>
        <p:txBody>
          <a:bodyPr/>
          <a:lstStyle>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3496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4" y="2168525"/>
            <a:ext cx="10514013" cy="2393950"/>
          </a:xfrm>
          <a:prstGeom prst="rect">
            <a:avLst/>
          </a:prstGeom>
        </p:spPr>
        <p:txBody>
          <a:bodyPr anchor="ctr">
            <a:normAutofit/>
          </a:bodyPr>
          <a:lstStyle>
            <a:lvl1pPr>
              <a:defRPr sz="4500">
                <a:solidFill>
                  <a:schemeClr val="accent2"/>
                </a:solidFill>
              </a:defRPr>
            </a:lvl1pPr>
          </a:lstStyle>
          <a:p>
            <a:r>
              <a:rPr lang="en-US"/>
              <a:t>CLICK TO EDIT MASTER TEXT STYLES</a:t>
            </a:r>
            <a:endParaRPr lang="nl-NL"/>
          </a:p>
        </p:txBody>
      </p:sp>
      <p:sp>
        <p:nvSpPr>
          <p:cNvPr id="3" name="Tijdelijke aanduiding voor tekst 2"/>
          <p:cNvSpPr>
            <a:spLocks noGrp="1"/>
          </p:cNvSpPr>
          <p:nvPr>
            <p:ph type="body" idx="1"/>
          </p:nvPr>
        </p:nvSpPr>
        <p:spPr>
          <a:xfrm>
            <a:off x="1127124" y="4589463"/>
            <a:ext cx="10514013"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Tijdelijke aanduiding voor dianummer 5"/>
          <p:cNvSpPr>
            <a:spLocks noGrp="1"/>
          </p:cNvSpPr>
          <p:nvPr>
            <p:ph type="sldNum" sz="quarter" idx="12"/>
          </p:nvPr>
        </p:nvSpPr>
        <p:spPr/>
        <p:txBody>
          <a:bodyPr/>
          <a:lstStyle/>
          <a:p>
            <a:fld id="{10D213FB-E701-8A4C-B010-98C9F2DC51F7}" type="slidenum">
              <a:rPr lang="nl-NL" smtClean="0"/>
              <a:t>‹#›</a:t>
            </a:fld>
            <a:endParaRPr lang="nl-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5" y="944563"/>
            <a:ext cx="10333038" cy="858873"/>
          </a:xfrm>
          <a:prstGeom prst="rect">
            <a:avLst/>
          </a:prstGeom>
        </p:spPr>
        <p:txBody>
          <a:bodyPr/>
          <a:lstStyle/>
          <a:p>
            <a:r>
              <a:rPr lang="en-US"/>
              <a:t>CLICK TO EDIT MASTER TITLE STYLE</a:t>
            </a:r>
            <a:endParaRPr lang="nl-NL"/>
          </a:p>
        </p:txBody>
      </p:sp>
      <p:sp>
        <p:nvSpPr>
          <p:cNvPr id="3" name="Tijdelijke aanduiding voor inhoud 2"/>
          <p:cNvSpPr>
            <a:spLocks noGrp="1"/>
          </p:cNvSpPr>
          <p:nvPr>
            <p:ph sz="half" idx="1" hasCustomPrompt="1"/>
          </p:nvPr>
        </p:nvSpPr>
        <p:spPr>
          <a:xfrm>
            <a:off x="1127125" y="1916113"/>
            <a:ext cx="5075323" cy="4109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jdelijke aanduiding voor inhoud 3"/>
          <p:cNvSpPr>
            <a:spLocks noGrp="1"/>
          </p:cNvSpPr>
          <p:nvPr>
            <p:ph sz="half" idx="2" hasCustomPrompt="1"/>
          </p:nvPr>
        </p:nvSpPr>
        <p:spPr>
          <a:xfrm>
            <a:off x="6384839" y="1916112"/>
            <a:ext cx="5075323" cy="4109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jdelijke aanduiding voor datum 4"/>
          <p:cNvSpPr>
            <a:spLocks noGrp="1"/>
          </p:cNvSpPr>
          <p:nvPr>
            <p:ph type="dt" sz="half" idx="10"/>
          </p:nvPr>
        </p:nvSpPr>
        <p:spPr>
          <a:xfrm>
            <a:off x="1569946" y="6329364"/>
            <a:ext cx="622554" cy="160337"/>
          </a:xfrm>
          <a:prstGeom prst="rect">
            <a:avLst/>
          </a:prstGeom>
        </p:spPr>
        <p:txBody>
          <a:bodyPr/>
          <a:lstStyle/>
          <a:p>
            <a:fld id="{8C44DFD7-FF40-4348-BC0B-2E51763D84CC}" type="datetime1">
              <a:rPr lang="nl-NL" smtClean="0"/>
              <a:t>30-3-2022</a:t>
            </a:fld>
            <a:endParaRPr lang="nl-NL"/>
          </a:p>
        </p:txBody>
      </p:sp>
      <p:sp>
        <p:nvSpPr>
          <p:cNvPr id="6" name="Tijdelijke aanduiding voor voettekst 5"/>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7" name="Tijdelijke aanduiding voor dianummer 6"/>
          <p:cNvSpPr>
            <a:spLocks noGrp="1"/>
          </p:cNvSpPr>
          <p:nvPr>
            <p:ph type="sldNum" sz="quarter" idx="12"/>
          </p:nvPr>
        </p:nvSpPr>
        <p:spPr/>
        <p:txBody>
          <a:bodyPr/>
          <a:lstStyle/>
          <a:p>
            <a:fld id="{10D213FB-E701-8A4C-B010-98C9F2DC51F7}" type="slidenum">
              <a:rPr lang="nl-NL" smtClean="0"/>
              <a:t>‹#›</a:t>
            </a:fld>
            <a:endParaRPr lang="nl-NL"/>
          </a:p>
        </p:txBody>
      </p:sp>
      <p:sp>
        <p:nvSpPr>
          <p:cNvPr id="9" name="TextBox 8">
            <a:extLst>
              <a:ext uri="{FF2B5EF4-FFF2-40B4-BE49-F238E27FC236}">
                <a16:creationId xmlns:a16="http://schemas.microsoft.com/office/drawing/2014/main" id="{7E00A731-A16B-4841-AF1A-DDEF7BDEEC9A}"/>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Only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5" y="944563"/>
            <a:ext cx="10539413" cy="714411"/>
          </a:xfrm>
          <a:prstGeom prst="rect">
            <a:avLst/>
          </a:prstGeom>
        </p:spPr>
        <p:txBody>
          <a:bodyPr/>
          <a:lstStyle/>
          <a:p>
            <a:r>
              <a:rPr lang="en-US"/>
              <a:t>CLICK TO EDIT MASTER TITLE STYLE</a:t>
            </a:r>
            <a:endParaRPr lang="nl-NL"/>
          </a:p>
        </p:txBody>
      </p:sp>
      <p:sp>
        <p:nvSpPr>
          <p:cNvPr id="3" name="Tijdelijke aanduiding voor datum 2"/>
          <p:cNvSpPr>
            <a:spLocks noGrp="1"/>
          </p:cNvSpPr>
          <p:nvPr>
            <p:ph type="dt" sz="half" idx="10"/>
          </p:nvPr>
        </p:nvSpPr>
        <p:spPr>
          <a:xfrm>
            <a:off x="1569946" y="6329364"/>
            <a:ext cx="622554" cy="160337"/>
          </a:xfrm>
          <a:prstGeom prst="rect">
            <a:avLst/>
          </a:prstGeom>
        </p:spPr>
        <p:txBody>
          <a:bodyPr/>
          <a:lstStyle/>
          <a:p>
            <a:fld id="{33A956F1-3B55-4839-9B5A-3FE0694B7BE7}" type="datetime1">
              <a:rPr lang="nl-NL" smtClean="0"/>
              <a:t>30-3-2022</a:t>
            </a:fld>
            <a:endParaRPr lang="nl-NL"/>
          </a:p>
        </p:txBody>
      </p:sp>
      <p:sp>
        <p:nvSpPr>
          <p:cNvPr id="4" name="Tijdelijke aanduiding voor voettekst 3"/>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5" name="Tijdelijke aanduiding voor dianummer 4"/>
          <p:cNvSpPr>
            <a:spLocks noGrp="1"/>
          </p:cNvSpPr>
          <p:nvPr>
            <p:ph type="sldNum" sz="quarter" idx="12"/>
          </p:nvPr>
        </p:nvSpPr>
        <p:spPr/>
        <p:txBody>
          <a:bodyPr/>
          <a:lstStyle/>
          <a:p>
            <a:fld id="{10D213FB-E701-8A4C-B010-98C9F2DC51F7}" type="slidenum">
              <a:rPr lang="nl-NL" smtClean="0"/>
              <a:t>‹#›</a:t>
            </a:fld>
            <a:endParaRPr lang="nl-NL"/>
          </a:p>
        </p:txBody>
      </p:sp>
      <p:sp>
        <p:nvSpPr>
          <p:cNvPr id="7" name="TextBox 6">
            <a:extLst>
              <a:ext uri="{FF2B5EF4-FFF2-40B4-BE49-F238E27FC236}">
                <a16:creationId xmlns:a16="http://schemas.microsoft.com/office/drawing/2014/main" id="{0C553C52-168F-4ECC-A86E-AF24742B820F}"/>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a:xfrm>
            <a:off x="1569946" y="6329364"/>
            <a:ext cx="622554" cy="160337"/>
          </a:xfrm>
          <a:prstGeom prst="rect">
            <a:avLst/>
          </a:prstGeom>
        </p:spPr>
        <p:txBody>
          <a:bodyPr/>
          <a:lstStyle/>
          <a:p>
            <a:fld id="{D64FD762-FEBE-4ACA-8092-5ADF7414ABC3}" type="datetime1">
              <a:rPr lang="nl-NL" smtClean="0"/>
              <a:t>30-3-2022</a:t>
            </a:fld>
            <a:endParaRPr lang="nl-NL"/>
          </a:p>
        </p:txBody>
      </p:sp>
      <p:sp>
        <p:nvSpPr>
          <p:cNvPr id="3" name="Tijdelijke aanduiding voor voettekst 2"/>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4" name="Tijdelijke aanduiding voor dianummer 3"/>
          <p:cNvSpPr>
            <a:spLocks noGrp="1"/>
          </p:cNvSpPr>
          <p:nvPr>
            <p:ph type="sldNum" sz="quarter" idx="12"/>
          </p:nvPr>
        </p:nvSpPr>
        <p:spPr/>
        <p:txBody>
          <a:bodyPr/>
          <a:lstStyle/>
          <a:p>
            <a:fld id="{10D213FB-E701-8A4C-B010-98C9F2DC51F7}" type="slidenum">
              <a:rPr lang="nl-NL" smtClean="0"/>
              <a:t>‹#›</a:t>
            </a:fld>
            <a:endParaRPr lang="nl-NL"/>
          </a:p>
        </p:txBody>
      </p:sp>
      <p:sp>
        <p:nvSpPr>
          <p:cNvPr id="6" name="TextBox 5">
            <a:extLst>
              <a:ext uri="{FF2B5EF4-FFF2-40B4-BE49-F238E27FC236}">
                <a16:creationId xmlns:a16="http://schemas.microsoft.com/office/drawing/2014/main" id="{5DA24058-D9BA-473C-830F-987DBAED4C39}"/>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Text and Grap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4" y="944564"/>
            <a:ext cx="8885556" cy="829372"/>
          </a:xfrm>
          <a:prstGeom prst="rect">
            <a:avLst/>
          </a:prstGeom>
        </p:spPr>
        <p:txBody>
          <a:bodyPr anchor="t"/>
          <a:lstStyle>
            <a:lvl1pPr>
              <a:defRPr sz="3200"/>
            </a:lvl1pPr>
          </a:lstStyle>
          <a:p>
            <a:r>
              <a:rPr lang="en-US"/>
              <a:t>CLICK TO EDIT MASTER TITLE STYLE</a:t>
            </a:r>
            <a:endParaRPr lang="nl-NL"/>
          </a:p>
        </p:txBody>
      </p:sp>
      <p:sp>
        <p:nvSpPr>
          <p:cNvPr id="3" name="Tijdelijke aanduiding voor inhoud 2"/>
          <p:cNvSpPr>
            <a:spLocks noGrp="1"/>
          </p:cNvSpPr>
          <p:nvPr>
            <p:ph idx="1" hasCustomPrompt="1"/>
          </p:nvPr>
        </p:nvSpPr>
        <p:spPr>
          <a:xfrm>
            <a:off x="7315200" y="1916115"/>
            <a:ext cx="4144962" cy="4182934"/>
          </a:xfrm>
        </p:spPr>
        <p:txBody>
          <a:bodyPr/>
          <a:lstStyle>
            <a:lvl1pPr>
              <a:defRPr sz="1600"/>
            </a:lvl1pPr>
            <a:lvl2pPr>
              <a:defRPr sz="1800"/>
            </a:lvl2pPr>
            <a:lvl3pPr>
              <a:defRPr sz="1600"/>
            </a:lvl3pPr>
            <a:lvl4pPr>
              <a:defRPr sz="1400"/>
            </a:lvl4pPr>
            <a:lvl5pPr>
              <a:defRPr sz="12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0"/>
            <a:endParaRPr lang="en-US"/>
          </a:p>
        </p:txBody>
      </p:sp>
      <p:sp>
        <p:nvSpPr>
          <p:cNvPr id="4" name="Tijdelijke aanduiding voor tekst 3"/>
          <p:cNvSpPr>
            <a:spLocks noGrp="1"/>
          </p:cNvSpPr>
          <p:nvPr>
            <p:ph type="body" sz="half" idx="2" hasCustomPrompt="1"/>
          </p:nvPr>
        </p:nvSpPr>
        <p:spPr>
          <a:xfrm>
            <a:off x="1127124" y="1916114"/>
            <a:ext cx="5999163" cy="4182935"/>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ijdelijke aanduiding voor datum 4"/>
          <p:cNvSpPr>
            <a:spLocks noGrp="1"/>
          </p:cNvSpPr>
          <p:nvPr>
            <p:ph type="dt" sz="half" idx="10"/>
          </p:nvPr>
        </p:nvSpPr>
        <p:spPr>
          <a:xfrm>
            <a:off x="1569946" y="6329364"/>
            <a:ext cx="622554" cy="160337"/>
          </a:xfrm>
          <a:prstGeom prst="rect">
            <a:avLst/>
          </a:prstGeom>
        </p:spPr>
        <p:txBody>
          <a:bodyPr/>
          <a:lstStyle/>
          <a:p>
            <a:fld id="{8EAE51ED-2E7B-42C2-B6B5-FA2841BA5C1E}" type="datetime1">
              <a:rPr lang="nl-NL" smtClean="0"/>
              <a:t>30-3-2022</a:t>
            </a:fld>
            <a:endParaRPr lang="nl-NL"/>
          </a:p>
        </p:txBody>
      </p:sp>
      <p:sp>
        <p:nvSpPr>
          <p:cNvPr id="6" name="Tijdelijke aanduiding voor voettekst 5"/>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7" name="Tijdelijke aanduiding voor dianummer 6"/>
          <p:cNvSpPr>
            <a:spLocks noGrp="1"/>
          </p:cNvSpPr>
          <p:nvPr>
            <p:ph type="sldNum" sz="quarter" idx="12"/>
          </p:nvPr>
        </p:nvSpPr>
        <p:spPr/>
        <p:txBody>
          <a:bodyPr/>
          <a:lstStyle/>
          <a:p>
            <a:fld id="{10D213FB-E701-8A4C-B010-98C9F2DC51F7}" type="slidenum">
              <a:rPr lang="nl-NL" smtClean="0"/>
              <a:t>‹#›</a:t>
            </a:fld>
            <a:endParaRPr lang="nl-NL"/>
          </a:p>
        </p:txBody>
      </p:sp>
      <p:sp>
        <p:nvSpPr>
          <p:cNvPr id="9" name="TextBox 8">
            <a:extLst>
              <a:ext uri="{FF2B5EF4-FFF2-40B4-BE49-F238E27FC236}">
                <a16:creationId xmlns:a16="http://schemas.microsoft.com/office/drawing/2014/main" id="{45FD8B2E-35B4-452C-8F2F-959F17424B8B}"/>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Text and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27125" y="944563"/>
            <a:ext cx="6591300" cy="856805"/>
          </a:xfrm>
          <a:prstGeom prst="rect">
            <a:avLst/>
          </a:prstGeom>
        </p:spPr>
        <p:txBody>
          <a:bodyPr anchor="t"/>
          <a:lstStyle>
            <a:lvl1pPr>
              <a:defRPr sz="3200"/>
            </a:lvl1pPr>
          </a:lstStyle>
          <a:p>
            <a:r>
              <a:rPr lang="en-US"/>
              <a:t>CLICK TO EDIT MASTER TITLE STYLE</a:t>
            </a:r>
            <a:endParaRPr lang="nl-NL"/>
          </a:p>
        </p:txBody>
      </p:sp>
      <p:sp>
        <p:nvSpPr>
          <p:cNvPr id="3" name="Tijdelijke aanduiding voor afbeelding 2"/>
          <p:cNvSpPr>
            <a:spLocks noGrp="1"/>
          </p:cNvSpPr>
          <p:nvPr>
            <p:ph type="pic" idx="1"/>
          </p:nvPr>
        </p:nvSpPr>
        <p:spPr>
          <a:xfrm>
            <a:off x="7315200" y="1916114"/>
            <a:ext cx="4144963" cy="439261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4" name="Tijdelijke aanduiding voor tekst 3"/>
          <p:cNvSpPr>
            <a:spLocks noGrp="1"/>
          </p:cNvSpPr>
          <p:nvPr>
            <p:ph type="body" sz="half" idx="2" hasCustomPrompt="1"/>
          </p:nvPr>
        </p:nvSpPr>
        <p:spPr>
          <a:xfrm>
            <a:off x="1127124" y="1916114"/>
            <a:ext cx="5999163" cy="439261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ijdelijke aanduiding voor datum 4"/>
          <p:cNvSpPr>
            <a:spLocks noGrp="1"/>
          </p:cNvSpPr>
          <p:nvPr>
            <p:ph type="dt" sz="half" idx="10"/>
          </p:nvPr>
        </p:nvSpPr>
        <p:spPr>
          <a:xfrm>
            <a:off x="1569946" y="6329364"/>
            <a:ext cx="622554" cy="160337"/>
          </a:xfrm>
          <a:prstGeom prst="rect">
            <a:avLst/>
          </a:prstGeom>
        </p:spPr>
        <p:txBody>
          <a:bodyPr/>
          <a:lstStyle/>
          <a:p>
            <a:fld id="{6EEF5C71-76C2-4750-BCB8-549F6BAFBC3E}" type="datetime1">
              <a:rPr lang="nl-NL" smtClean="0"/>
              <a:t>30-3-2022</a:t>
            </a:fld>
            <a:endParaRPr lang="nl-NL"/>
          </a:p>
        </p:txBody>
      </p:sp>
      <p:sp>
        <p:nvSpPr>
          <p:cNvPr id="6" name="Tijdelijke aanduiding voor voettekst 5"/>
          <p:cNvSpPr>
            <a:spLocks noGrp="1"/>
          </p:cNvSpPr>
          <p:nvPr>
            <p:ph type="ftr" sz="quarter" idx="11"/>
          </p:nvPr>
        </p:nvSpPr>
        <p:spPr>
          <a:xfrm>
            <a:off x="2365537" y="6329363"/>
            <a:ext cx="4760751" cy="160337"/>
          </a:xfrm>
          <a:prstGeom prst="rect">
            <a:avLst/>
          </a:prstGeom>
        </p:spPr>
        <p:txBody>
          <a:bodyPr/>
          <a:lstStyle/>
          <a:p>
            <a:r>
              <a:rPr lang="nl-NL"/>
              <a:t>Transposition</a:t>
            </a:r>
          </a:p>
        </p:txBody>
      </p:sp>
      <p:sp>
        <p:nvSpPr>
          <p:cNvPr id="7" name="Tijdelijke aanduiding voor dianummer 6"/>
          <p:cNvSpPr>
            <a:spLocks noGrp="1"/>
          </p:cNvSpPr>
          <p:nvPr>
            <p:ph type="sldNum" sz="quarter" idx="12"/>
          </p:nvPr>
        </p:nvSpPr>
        <p:spPr/>
        <p:txBody>
          <a:bodyPr/>
          <a:lstStyle/>
          <a:p>
            <a:fld id="{10D213FB-E701-8A4C-B010-98C9F2DC51F7}" type="slidenum">
              <a:rPr lang="nl-NL" smtClean="0"/>
              <a:t>‹#›</a:t>
            </a:fld>
            <a:endParaRPr lang="nl-NL"/>
          </a:p>
        </p:txBody>
      </p:sp>
      <p:sp>
        <p:nvSpPr>
          <p:cNvPr id="9" name="TextBox 8">
            <a:extLst>
              <a:ext uri="{FF2B5EF4-FFF2-40B4-BE49-F238E27FC236}">
                <a16:creationId xmlns:a16="http://schemas.microsoft.com/office/drawing/2014/main" id="{1EB59053-8C7B-48D6-A5AA-D92FC470FDEC}"/>
              </a:ext>
            </a:extLst>
          </p:cNvPr>
          <p:cNvSpPr txBox="1"/>
          <p:nvPr userDrawn="1"/>
        </p:nvSpPr>
        <p:spPr>
          <a:xfrm>
            <a:off x="9956250" y="6335817"/>
            <a:ext cx="1483360" cy="123111"/>
          </a:xfrm>
          <a:prstGeom prst="rect">
            <a:avLst/>
          </a:prstGeom>
          <a:noFill/>
        </p:spPr>
        <p:txBody>
          <a:bodyPr wrap="square" lIns="0" tIns="0" rIns="0" bIns="0" rtlCol="0">
            <a:spAutoFit/>
          </a:bodyPr>
          <a:lstStyle/>
          <a:p>
            <a:pPr algn="r"/>
            <a:r>
              <a:rPr lang="en-US" sz="800" b="0" i="0">
                <a:solidFill>
                  <a:schemeClr val="tx1"/>
                </a:solidFill>
                <a:latin typeface="Calibri" charset="0"/>
                <a:ea typeface="Calibri" charset="0"/>
                <a:cs typeface="Calibri" charset="0"/>
              </a:rPr>
              <a:t>CONFIDENTIAL </a:t>
            </a:r>
            <a:r>
              <a:rPr lang="sk-SK" sz="800" b="0" i="0">
                <a:solidFill>
                  <a:schemeClr val="tx1"/>
                </a:solidFill>
                <a:latin typeface="Calibri" charset="0"/>
                <a:ea typeface="Calibri" charset="0"/>
                <a:cs typeface="Calibri" charset="0"/>
              </a:rPr>
              <a:t>© </a:t>
            </a:r>
            <a:r>
              <a:rPr lang="en-US" sz="800" b="0" i="0">
                <a:solidFill>
                  <a:schemeClr val="tx1"/>
                </a:solidFill>
                <a:latin typeface="Calibri" charset="0"/>
                <a:ea typeface="Calibri" charset="0"/>
                <a:cs typeface="Calibri" charset="0"/>
              </a:rPr>
              <a:t>ASML, </a:t>
            </a:r>
            <a:r>
              <a:rPr lang="sk-SK" sz="800" b="0" i="0">
                <a:solidFill>
                  <a:schemeClr val="tx1"/>
                </a:solidFill>
                <a:latin typeface="Calibri" charset="0"/>
                <a:ea typeface="Calibri" charset="0"/>
                <a:cs typeface="Calibri" charset="0"/>
              </a:rPr>
              <a:t>ESI (TNO)</a:t>
            </a:r>
            <a:endParaRPr lang="en-US" sz="800" b="0" i="0">
              <a:solidFill>
                <a:schemeClr val="tx1"/>
              </a:solidFill>
              <a:latin typeface="Calibri" charset="0"/>
              <a:ea typeface="Calibri" charset="0"/>
              <a:cs typeface="Calibri"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1CED8E-F340-44E1-A3D3-6E0488E02751}"/>
              </a:ext>
            </a:extLst>
          </p:cNvPr>
          <p:cNvGraphicFramePr>
            <a:graphicFrameLocks noChangeAspect="1"/>
          </p:cNvGraphicFramePr>
          <p:nvPr userDrawn="1">
            <p:custDataLst>
              <p:tags r:id="rId19"/>
            </p:custDataLst>
            <p:extLst>
              <p:ext uri="{D42A27DB-BD31-4B8C-83A1-F6EECF244321}">
                <p14:modId xmlns:p14="http://schemas.microsoft.com/office/powerpoint/2010/main" val="1934186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 name="think-cell Slide" r:id="rId22" imgW="359" imgH="360" progId="TCLayout.ActiveDocument.1">
                  <p:embed/>
                </p:oleObj>
              </mc:Choice>
              <mc:Fallback>
                <p:oleObj name="think-cell Slide" r:id="rId22" imgW="359" imgH="360" progId="TCLayout.ActiveDocument.1">
                  <p:embed/>
                  <p:pic>
                    <p:nvPicPr>
                      <p:cNvPr id="7" name="Object 6" hidden="1">
                        <a:extLst>
                          <a:ext uri="{FF2B5EF4-FFF2-40B4-BE49-F238E27FC236}">
                            <a16:creationId xmlns:a16="http://schemas.microsoft.com/office/drawing/2014/main" id="{1A1CED8E-F340-44E1-A3D3-6E0488E0275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E335B3-625F-46D8-91C1-AEFE10DFA6D7}"/>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1" i="0" baseline="0">
              <a:latin typeface="Calibri" panose="020F0502020204030204" pitchFamily="34" charset="0"/>
              <a:ea typeface="+mj-ea"/>
              <a:cs typeface="+mj-cs"/>
              <a:sym typeface="Calibri" panose="020F0502020204030204" pitchFamily="34" charset="0"/>
            </a:endParaRPr>
          </a:p>
        </p:txBody>
      </p:sp>
      <p:sp>
        <p:nvSpPr>
          <p:cNvPr id="3" name="Tijdelijke aanduiding voor tekst 2"/>
          <p:cNvSpPr>
            <a:spLocks noGrp="1"/>
          </p:cNvSpPr>
          <p:nvPr>
            <p:ph type="body" idx="1"/>
          </p:nvPr>
        </p:nvSpPr>
        <p:spPr>
          <a:xfrm>
            <a:off x="1127125" y="1916113"/>
            <a:ext cx="10333038" cy="41402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jdelijke aanduiding voor dianummer 5"/>
          <p:cNvSpPr>
            <a:spLocks noGrp="1"/>
          </p:cNvSpPr>
          <p:nvPr>
            <p:ph type="sldNum" sz="quarter" idx="4"/>
          </p:nvPr>
        </p:nvSpPr>
        <p:spPr>
          <a:xfrm>
            <a:off x="11159471" y="6361169"/>
            <a:ext cx="268887" cy="160337"/>
          </a:xfrm>
          <a:prstGeom prst="rect">
            <a:avLst/>
          </a:prstGeom>
        </p:spPr>
        <p:txBody>
          <a:bodyPr vert="horz" lIns="0" tIns="0" rIns="0" bIns="0" rtlCol="0" anchor="ctr"/>
          <a:lstStyle>
            <a:lvl1pPr algn="r">
              <a:defRPr sz="900">
                <a:solidFill>
                  <a:schemeClr val="tx1"/>
                </a:solidFill>
              </a:defRPr>
            </a:lvl1pPr>
          </a:lstStyle>
          <a:p>
            <a:fld id="{10D213FB-E701-8A4C-B010-98C9F2DC51F7}" type="slidenum">
              <a:rPr lang="nl-NL" smtClean="0"/>
              <a:pPr/>
              <a:t>‹#›</a:t>
            </a:fld>
            <a:endParaRPr lang="nl-NL"/>
          </a:p>
        </p:txBody>
      </p:sp>
      <p:sp>
        <p:nvSpPr>
          <p:cNvPr id="8" name="Title Placeholder 7"/>
          <p:cNvSpPr>
            <a:spLocks noGrp="1"/>
          </p:cNvSpPr>
          <p:nvPr>
            <p:ph type="title"/>
          </p:nvPr>
        </p:nvSpPr>
        <p:spPr>
          <a:xfrm>
            <a:off x="1127125" y="944563"/>
            <a:ext cx="10333038" cy="789557"/>
          </a:xfrm>
          <a:prstGeom prst="rect">
            <a:avLst/>
          </a:prstGeom>
        </p:spPr>
        <p:txBody>
          <a:bodyPr vert="horz" lIns="0" tIns="0" rIns="0" bIns="0" rtlCol="0" anchor="t">
            <a:normAutofit/>
          </a:bodyPr>
          <a:lstStyle/>
          <a:p>
            <a:r>
              <a:rPr lang="en-US"/>
              <a:t>Click to edit Master title style</a:t>
            </a:r>
            <a:endParaRPr lang="en-GB"/>
          </a:p>
        </p:txBody>
      </p:sp>
      <p:pic>
        <p:nvPicPr>
          <p:cNvPr id="9" name="Graphic 8">
            <a:extLst>
              <a:ext uri="{FF2B5EF4-FFF2-40B4-BE49-F238E27FC236}">
                <a16:creationId xmlns:a16="http://schemas.microsoft.com/office/drawing/2014/main" id="{0750E3F7-ACBE-4E64-A836-CCBC56651338}"/>
              </a:ext>
            </a:extLst>
          </p:cNvPr>
          <p:cNvPicPr>
            <a:picLocks noChangeAspect="1"/>
          </p:cNvPicPr>
          <p:nvPr userDrawn="1"/>
        </p:nvPicPr>
        <p:blipFill rotWithShape="1">
          <a:blip r:embed="rId24">
            <a:extLst>
              <a:ext uri="{96DAC541-7B7A-43D3-8B79-37D633B846F1}">
                <asvg:svgBlip xmlns:asvg="http://schemas.microsoft.com/office/drawing/2016/SVG/main" r:embed="rId25"/>
              </a:ext>
            </a:extLst>
          </a:blip>
          <a:srcRect l="13148" t="22562" r="10196" b="27521"/>
          <a:stretch/>
        </p:blipFill>
        <p:spPr>
          <a:xfrm>
            <a:off x="9124919" y="287364"/>
            <a:ext cx="1510824" cy="514323"/>
          </a:xfrm>
          <a:prstGeom prst="rect">
            <a:avLst/>
          </a:prstGeom>
        </p:spPr>
      </p:pic>
    </p:spTree>
    <p:extLst>
      <p:ext uri="{BB962C8B-B14F-4D97-AF65-F5344CB8AC3E}">
        <p14:creationId xmlns:p14="http://schemas.microsoft.com/office/powerpoint/2010/main" val="596944594"/>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87" r:id="rId3"/>
    <p:sldLayoutId id="2147483670" r:id="rId4"/>
    <p:sldLayoutId id="2147483671" r:id="rId5"/>
    <p:sldLayoutId id="2147483672" r:id="rId6"/>
    <p:sldLayoutId id="2147483673" r:id="rId7"/>
    <p:sldLayoutId id="2147483674" r:id="rId8"/>
    <p:sldLayoutId id="2147483675" r:id="rId9"/>
    <p:sldLayoutId id="2147483677" r:id="rId10"/>
    <p:sldLayoutId id="2147483678" r:id="rId11"/>
    <p:sldLayoutId id="2147483679" r:id="rId12"/>
    <p:sldLayoutId id="2147483680" r:id="rId13"/>
    <p:sldLayoutId id="2147483681" r:id="rId14"/>
    <p:sldLayoutId id="2147483682" r:id="rId15"/>
    <p:sldLayoutId id="2147483683" r:id="rId16"/>
  </p:sldLayoutIdLst>
  <p:hf hdr="0" ftr="0" dt="0"/>
  <p:txStyles>
    <p:titleStyle>
      <a:lvl1pPr algn="l" defTabSz="914400" rtl="0" eaLnBrk="1" latinLnBrk="0" hangingPunct="1">
        <a:lnSpc>
          <a:spcPct val="90000"/>
        </a:lnSpc>
        <a:spcBef>
          <a:spcPct val="0"/>
        </a:spcBef>
        <a:buNone/>
        <a:defRPr sz="3000" b="1" kern="1200">
          <a:solidFill>
            <a:schemeClr val="tx2"/>
          </a:solidFill>
          <a:latin typeface="+mn-lt"/>
          <a:ea typeface="+mj-ea"/>
          <a:cs typeface="+mj-cs"/>
        </a:defRPr>
      </a:lvl1pPr>
    </p:titleStyle>
    <p:bodyStyle>
      <a:lvl1pPr marL="0" indent="0" algn="l" defTabSz="914400" rtl="0" eaLnBrk="1" latinLnBrk="0" hangingPunct="1">
        <a:lnSpc>
          <a:spcPct val="90000"/>
        </a:lnSpc>
        <a:spcBef>
          <a:spcPts val="1000"/>
        </a:spcBef>
        <a:buFont typeface="Arial"/>
        <a:buNone/>
        <a:defRPr sz="20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800" kern="1200">
          <a:solidFill>
            <a:schemeClr val="tx1">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600" kern="1200">
          <a:solidFill>
            <a:schemeClr val="tx1">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400" kern="1200">
          <a:solidFill>
            <a:schemeClr val="tx1">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200" kern="1200">
          <a:solidFill>
            <a:schemeClr val="tx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5" orient="horz" pos="595">
          <p15:clr>
            <a:srgbClr val="F26B43"/>
          </p15:clr>
        </p15:guide>
        <p15:guide id="36" pos="1650">
          <p15:clr>
            <a:srgbClr val="F26B43"/>
          </p15:clr>
        </p15:guide>
        <p15:guide id="37" orient="horz" pos="1207">
          <p15:clr>
            <a:srgbClr val="F26B43"/>
          </p15:clr>
        </p15:guide>
        <p15:guide id="38" orient="horz" pos="4088">
          <p15:clr>
            <a:srgbClr val="F26B43"/>
          </p15:clr>
        </p15:guide>
        <p15:guide id="39" orient="horz" pos="4133">
          <p15:clr>
            <a:srgbClr val="F26B43"/>
          </p15:clr>
        </p15:guide>
        <p15:guide id="40" pos="7219">
          <p15:clr>
            <a:srgbClr val="F26B43"/>
          </p15:clr>
        </p15:guide>
        <p15:guide id="41" pos="6025">
          <p15:clr>
            <a:srgbClr val="F26B43"/>
          </p15:clr>
        </p15:guide>
        <p15:guide id="42" pos="506">
          <p15:clr>
            <a:srgbClr val="F26B43"/>
          </p15:clr>
        </p15:guide>
        <p15:guide id="43" pos="1759">
          <p15:clr>
            <a:srgbClr val="F26B43"/>
          </p15:clr>
        </p15:guide>
        <p15:guide id="44" pos="3067">
          <p15:clr>
            <a:srgbClr val="F26B43"/>
          </p15:clr>
        </p15:guide>
        <p15:guide id="45" pos="3186">
          <p15:clr>
            <a:srgbClr val="F26B43"/>
          </p15:clr>
        </p15:guide>
        <p15:guide id="46" pos="4489">
          <p15:clr>
            <a:srgbClr val="F26B43"/>
          </p15:clr>
        </p15:guide>
        <p15:guide id="47" pos="4608">
          <p15:clr>
            <a:srgbClr val="F26B43"/>
          </p15:clr>
        </p15:guide>
        <p15:guide id="48" pos="5916">
          <p15:clr>
            <a:srgbClr val="F26B43"/>
          </p15:clr>
        </p15:guide>
        <p15:guide id="49" orient="horz" pos="337">
          <p15:clr>
            <a:srgbClr val="F26B43"/>
          </p15:clr>
        </p15:guide>
        <p15:guide id="50" orient="horz" pos="3974">
          <p15:clr>
            <a:srgbClr val="F26B43"/>
          </p15:clr>
        </p15:guide>
        <p15:guide id="51" pos="71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s://eclipse.org/escet/cif"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eclipse.org/escet" TargetMode="Externa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hyperlink" Target="https://eclipse.org/escet/release-notes.html"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eclipse.org/escet/cif/synthesis-based-engineering"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2266F87-063E-414D-9DF7-F9A808854D3C}"/>
              </a:ext>
            </a:extLst>
          </p:cNvPr>
          <p:cNvSpPr>
            <a:spLocks noGrp="1"/>
          </p:cNvSpPr>
          <p:nvPr>
            <p:ph type="title"/>
          </p:nvPr>
        </p:nvSpPr>
        <p:spPr>
          <a:xfrm>
            <a:off x="527050" y="432619"/>
            <a:ext cx="10583402" cy="3250381"/>
          </a:xfrm>
          <a:effectLst>
            <a:outerShdw blurRad="50800" dist="38100" dir="2700000" algn="tl" rotWithShape="0">
              <a:prstClr val="black">
                <a:alpha val="40000"/>
              </a:prstClr>
            </a:outerShdw>
          </a:effectLst>
        </p:spPr>
        <p:txBody>
          <a:bodyPr vert="horz" lIns="0" tIns="0" rIns="0" bIns="0" rtlCol="0">
            <a:normAutofit/>
          </a:bodyPr>
          <a:lstStyle/>
          <a:p>
            <a:pPr>
              <a:spcBef>
                <a:spcPts val="0"/>
              </a:spcBef>
              <a:spcAft>
                <a:spcPts val="2200"/>
              </a:spcAft>
              <a:buFont typeface="Arial"/>
            </a:pPr>
            <a:r>
              <a:rPr lang="en-US" sz="4400" dirty="0">
                <a:effectLst>
                  <a:outerShdw blurRad="50800" dist="38100" dir="2700000" algn="tl" rotWithShape="0">
                    <a:prstClr val="black">
                      <a:alpha val="40000"/>
                    </a:prstClr>
                  </a:outerShdw>
                </a:effectLst>
                <a:ea typeface="+mn-ea"/>
                <a:cs typeface="+mn-cs"/>
              </a:rPr>
              <a:t>Eclipse ESCET</a:t>
            </a:r>
            <a:r>
              <a:rPr lang="en-US" sz="2000" dirty="0">
                <a:effectLst>
                  <a:outerShdw blurRad="50800" dist="38100" dir="2700000" algn="tl" rotWithShape="0">
                    <a:prstClr val="black">
                      <a:alpha val="40000"/>
                    </a:prstClr>
                  </a:outerShdw>
                </a:effectLst>
                <a:ea typeface="+mn-ea"/>
                <a:cs typeface="+mn-cs"/>
              </a:rPr>
              <a:t> </a:t>
            </a:r>
            <a:r>
              <a:rPr lang="en-US" sz="4400" dirty="0">
                <a:effectLst>
                  <a:outerShdw blurRad="50800" dist="38100" dir="2700000" algn="tl" rotWithShape="0">
                    <a:prstClr val="black">
                      <a:alpha val="40000"/>
                    </a:prstClr>
                  </a:outerShdw>
                </a:effectLst>
                <a:ea typeface="+mn-ea"/>
                <a:cs typeface="+mn-cs"/>
              </a:rPr>
              <a:t>™ community meeting #1</a:t>
            </a:r>
            <a:br>
              <a:rPr lang="en-US" sz="4400" dirty="0">
                <a:effectLst>
                  <a:outerShdw blurRad="50800" dist="38100" dir="2700000" algn="tl" rotWithShape="0">
                    <a:prstClr val="black">
                      <a:alpha val="40000"/>
                    </a:prstClr>
                  </a:outerShdw>
                </a:effectLst>
                <a:ea typeface="+mn-ea"/>
                <a:cs typeface="+mn-cs"/>
              </a:rPr>
            </a:br>
            <a:br>
              <a:rPr lang="en-US" sz="2000" dirty="0">
                <a:effectLst>
                  <a:outerShdw blurRad="50800" dist="38100" dir="2700000" algn="tl" rotWithShape="0">
                    <a:prstClr val="black">
                      <a:alpha val="40000"/>
                    </a:prstClr>
                  </a:outerShdw>
                </a:effectLst>
                <a:ea typeface="+mn-ea"/>
                <a:cs typeface="+mn-cs"/>
              </a:rPr>
            </a:br>
            <a:r>
              <a:rPr lang="en-US" sz="3200" dirty="0">
                <a:effectLst>
                  <a:outerShdw blurRad="50800" dist="38100" dir="2700000" algn="tl" rotWithShape="0">
                    <a:prstClr val="black">
                      <a:alpha val="40000"/>
                    </a:prstClr>
                  </a:outerShdw>
                </a:effectLst>
                <a:ea typeface="+mn-ea"/>
                <a:cs typeface="+mn-cs"/>
              </a:rPr>
              <a:t>Synthesis-Based Engineering of supervisory controllers</a:t>
            </a:r>
            <a:endParaRPr lang="nl-NL" sz="3200" dirty="0">
              <a:effectLst>
                <a:outerShdw blurRad="50800" dist="38100" dir="2700000" algn="tl" rotWithShape="0">
                  <a:prstClr val="black">
                    <a:alpha val="40000"/>
                  </a:prstClr>
                </a:outerShdw>
              </a:effectLst>
              <a:ea typeface="+mn-ea"/>
              <a:cs typeface="+mn-cs"/>
            </a:endParaRPr>
          </a:p>
        </p:txBody>
      </p:sp>
      <p:sp>
        <p:nvSpPr>
          <p:cNvPr id="8" name="Text Placeholder 7">
            <a:extLst>
              <a:ext uri="{FF2B5EF4-FFF2-40B4-BE49-F238E27FC236}">
                <a16:creationId xmlns:a16="http://schemas.microsoft.com/office/drawing/2014/main" id="{F3097622-C1C0-49DB-A38F-BD9450C26892}"/>
              </a:ext>
            </a:extLst>
          </p:cNvPr>
          <p:cNvSpPr>
            <a:spLocks noGrp="1"/>
          </p:cNvSpPr>
          <p:nvPr>
            <p:ph type="body" sz="quarter" idx="10"/>
          </p:nvPr>
        </p:nvSpPr>
        <p:spPr>
          <a:xfrm>
            <a:off x="527050" y="3683000"/>
            <a:ext cx="10209776" cy="1581209"/>
          </a:xfrm>
          <a:effectLst>
            <a:outerShdw blurRad="50800" dist="38100" dir="2700000" algn="tl" rotWithShape="0">
              <a:prstClr val="black">
                <a:alpha val="40000"/>
              </a:prstClr>
            </a:outerShdw>
          </a:effectLst>
        </p:spPr>
        <p:txBody>
          <a:bodyPr>
            <a:normAutofit/>
          </a:bodyPr>
          <a:lstStyle/>
          <a:p>
            <a:r>
              <a:rPr lang="en-US" dirty="0">
                <a:effectLst>
                  <a:outerShdw blurRad="50800" dist="38100" dir="2700000" algn="tl" rotWithShape="0">
                    <a:prstClr val="black">
                      <a:alpha val="40000"/>
                    </a:prstClr>
                  </a:outerShdw>
                </a:effectLst>
              </a:rPr>
              <a:t>Dennis Hendriks, Eclipse ESCET project lead, ESI (TNO) / Radboud University</a:t>
            </a:r>
          </a:p>
          <a:p>
            <a:r>
              <a:rPr lang="en-US" dirty="0">
                <a:effectLst>
                  <a:outerShdw blurRad="50800" dist="38100" dir="2700000" algn="tl" rotWithShape="0">
                    <a:prstClr val="black">
                      <a:alpha val="40000"/>
                    </a:prstClr>
                  </a:outerShdw>
                </a:effectLst>
              </a:rPr>
              <a:t>March 30, 2022, 10:00 – 12:00 CEST (UTC+2)</a:t>
            </a:r>
          </a:p>
        </p:txBody>
      </p:sp>
    </p:spTree>
    <p:extLst>
      <p:ext uri="{BB962C8B-B14F-4D97-AF65-F5344CB8AC3E}">
        <p14:creationId xmlns:p14="http://schemas.microsoft.com/office/powerpoint/2010/main" val="1288819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B743307-FA02-4DA7-9F63-FAF3EA71788C}"/>
              </a:ext>
            </a:extLst>
          </p:cNvPr>
          <p:cNvPicPr>
            <a:picLocks noChangeAspect="1"/>
          </p:cNvPicPr>
          <p:nvPr/>
        </p:nvPicPr>
        <p:blipFill>
          <a:blip r:embed="rId3"/>
          <a:stretch>
            <a:fillRect/>
          </a:stretch>
        </p:blipFill>
        <p:spPr>
          <a:xfrm>
            <a:off x="8167081" y="1271948"/>
            <a:ext cx="3261277" cy="1766525"/>
          </a:xfrm>
          <a:prstGeom prst="rect">
            <a:avLst/>
          </a:prstGeom>
          <a:ln>
            <a:solidFill>
              <a:schemeClr val="bg1">
                <a:lumMod val="85000"/>
              </a:schemeClr>
            </a:solidFill>
          </a:ln>
        </p:spPr>
      </p:pic>
      <p:sp>
        <p:nvSpPr>
          <p:cNvPr id="2" name="Slide Number Placeholder 1">
            <a:extLst>
              <a:ext uri="{FF2B5EF4-FFF2-40B4-BE49-F238E27FC236}">
                <a16:creationId xmlns:a16="http://schemas.microsoft.com/office/drawing/2014/main" id="{E4DC77EE-441B-40D0-B433-A99AFB38F5E9}"/>
              </a:ext>
            </a:extLst>
          </p:cNvPr>
          <p:cNvSpPr>
            <a:spLocks noGrp="1"/>
          </p:cNvSpPr>
          <p:nvPr>
            <p:ph type="sldNum" sz="quarter" idx="12"/>
          </p:nvPr>
        </p:nvSpPr>
        <p:spPr/>
        <p:txBody>
          <a:bodyPr/>
          <a:lstStyle/>
          <a:p>
            <a:fld id="{9C59798B-84E5-F441-8110-84C3B6182022}" type="slidenum">
              <a:rPr lang="nl-NL" smtClean="0"/>
              <a:pPr/>
              <a:t>10</a:t>
            </a:fld>
            <a:endParaRPr lang="nl-NL"/>
          </a:p>
        </p:txBody>
      </p:sp>
      <p:sp>
        <p:nvSpPr>
          <p:cNvPr id="4" name="Title 3">
            <a:extLst>
              <a:ext uri="{FF2B5EF4-FFF2-40B4-BE49-F238E27FC236}">
                <a16:creationId xmlns:a16="http://schemas.microsoft.com/office/drawing/2014/main" id="{1B324F2F-0CE7-48B4-B757-A2F0AABA8DEA}"/>
              </a:ext>
            </a:extLst>
          </p:cNvPr>
          <p:cNvSpPr>
            <a:spLocks noGrp="1"/>
          </p:cNvSpPr>
          <p:nvPr>
            <p:ph type="title"/>
          </p:nvPr>
        </p:nvSpPr>
        <p:spPr/>
        <p:txBody>
          <a:bodyPr/>
          <a:lstStyle/>
          <a:p>
            <a:r>
              <a:rPr lang="en-US" dirty="0"/>
              <a:t>Synthesis-Based Engineering with CIF</a:t>
            </a:r>
          </a:p>
        </p:txBody>
      </p:sp>
      <p:sp>
        <p:nvSpPr>
          <p:cNvPr id="3" name="Content Placeholder 2">
            <a:extLst>
              <a:ext uri="{FF2B5EF4-FFF2-40B4-BE49-F238E27FC236}">
                <a16:creationId xmlns:a16="http://schemas.microsoft.com/office/drawing/2014/main" id="{92C7A0C9-9E2D-4255-B290-D479467FE253}"/>
              </a:ext>
            </a:extLst>
          </p:cNvPr>
          <p:cNvSpPr>
            <a:spLocks noGrp="1"/>
          </p:cNvSpPr>
          <p:nvPr>
            <p:ph sz="quarter" idx="13"/>
          </p:nvPr>
        </p:nvSpPr>
        <p:spPr>
          <a:xfrm>
            <a:off x="1127125" y="1916114"/>
            <a:ext cx="7008151" cy="4344984"/>
          </a:xfrm>
        </p:spPr>
        <p:txBody>
          <a:bodyPr>
            <a:normAutofit/>
          </a:bodyPr>
          <a:lstStyle/>
          <a:p>
            <a:pPr>
              <a:spcBef>
                <a:spcPts val="0"/>
              </a:spcBef>
              <a:spcAft>
                <a:spcPts val="500"/>
              </a:spcAft>
            </a:pPr>
            <a:r>
              <a:rPr lang="en-US" dirty="0"/>
              <a:t>What is CIF?</a:t>
            </a:r>
          </a:p>
          <a:p>
            <a:pPr marL="569913" lvl="1" indent="-342900">
              <a:spcBef>
                <a:spcPts val="0"/>
              </a:spcBef>
              <a:spcAft>
                <a:spcPts val="500"/>
              </a:spcAft>
              <a:buFont typeface="Arial" panose="020B0604020202020204" pitchFamily="34" charset="0"/>
              <a:buChar char="•"/>
            </a:pPr>
            <a:r>
              <a:rPr lang="en-US" dirty="0"/>
              <a:t>CIF is a modeling language and extensive toolset supporting the synthesis-based engineering of supervisory controllers</a:t>
            </a:r>
          </a:p>
          <a:p>
            <a:pPr marL="569913" lvl="1" indent="-342900">
              <a:spcBef>
                <a:spcPts val="0"/>
              </a:spcBef>
              <a:spcAft>
                <a:spcPts val="500"/>
              </a:spcAft>
              <a:buFont typeface="Arial" panose="020B0604020202020204" pitchFamily="34" charset="0"/>
              <a:buChar char="•"/>
            </a:pPr>
            <a:r>
              <a:rPr lang="en-US" dirty="0"/>
              <a:t>Powerful modeling language (automata / state machines)</a:t>
            </a:r>
          </a:p>
          <a:p>
            <a:pPr marL="569913" lvl="1" indent="-342900">
              <a:spcBef>
                <a:spcPts val="0"/>
              </a:spcBef>
              <a:spcAft>
                <a:spcPts val="500"/>
              </a:spcAft>
              <a:buFont typeface="Arial" panose="020B0604020202020204" pitchFamily="34" charset="0"/>
              <a:buChar char="•"/>
            </a:pPr>
            <a:r>
              <a:rPr lang="en-US" dirty="0"/>
              <a:t>Extensive tools for the entire development process of controllers</a:t>
            </a:r>
          </a:p>
          <a:p>
            <a:pPr marL="1030288" lvl="2" indent="-342900">
              <a:spcBef>
                <a:spcPts val="0"/>
              </a:spcBef>
              <a:spcAft>
                <a:spcPts val="500"/>
              </a:spcAft>
              <a:buFont typeface="Arial" panose="020B0604020202020204" pitchFamily="34" charset="0"/>
              <a:buChar char="•"/>
            </a:pPr>
            <a:r>
              <a:rPr lang="en-US" dirty="0"/>
              <a:t>Specification, synthesis, simulation and visualization, validation and verification, code generation, and more</a:t>
            </a:r>
          </a:p>
          <a:p>
            <a:pPr marL="573088" lvl="1" indent="-342900">
              <a:spcBef>
                <a:spcPts val="0"/>
              </a:spcBef>
              <a:spcAft>
                <a:spcPts val="500"/>
              </a:spcAft>
              <a:buFont typeface="Arial" panose="020B0604020202020204" pitchFamily="34" charset="0"/>
              <a:buChar char="•"/>
            </a:pPr>
            <a:r>
              <a:rPr lang="en-US" dirty="0"/>
              <a:t>Extensive documentation</a:t>
            </a:r>
          </a:p>
          <a:p>
            <a:pPr marL="1030288" lvl="2" indent="-342900">
              <a:spcBef>
                <a:spcPts val="0"/>
              </a:spcBef>
              <a:spcAft>
                <a:spcPts val="500"/>
              </a:spcAft>
              <a:buFont typeface="Arial" panose="020B0604020202020204" pitchFamily="34" charset="0"/>
              <a:buChar char="•"/>
            </a:pPr>
            <a:r>
              <a:rPr lang="en-US" dirty="0"/>
              <a:t>SBE, CIF language/tools, examples</a:t>
            </a:r>
          </a:p>
          <a:p>
            <a:pPr marL="569913" lvl="1" indent="-342900">
              <a:spcBef>
                <a:spcPts val="0"/>
              </a:spcBef>
              <a:spcAft>
                <a:spcPts val="500"/>
              </a:spcAft>
              <a:buFont typeface="Arial" panose="020B0604020202020204" pitchFamily="34" charset="0"/>
              <a:buChar char="•"/>
            </a:pPr>
            <a:r>
              <a:rPr lang="en-US" dirty="0"/>
              <a:t>15 years history of CIF research and tool development</a:t>
            </a:r>
          </a:p>
          <a:p>
            <a:pPr>
              <a:spcBef>
                <a:spcPts val="2500"/>
              </a:spcBef>
            </a:pPr>
            <a:endParaRPr lang="en-US" dirty="0"/>
          </a:p>
          <a:p>
            <a:pPr>
              <a:spcBef>
                <a:spcPts val="2500"/>
              </a:spcBef>
            </a:pPr>
            <a:r>
              <a:rPr lang="en-US" dirty="0"/>
              <a:t>Learn more at: </a:t>
            </a:r>
            <a:r>
              <a:rPr lang="en-US" dirty="0">
                <a:solidFill>
                  <a:schemeClr val="tx1">
                    <a:lumMod val="50000"/>
                  </a:schemeClr>
                </a:solidFill>
                <a:hlinkClick r:id="rId4">
                  <a:extLst>
                    <a:ext uri="{A12FA001-AC4F-418D-AE19-62706E023703}">
                      <ahyp:hlinkClr xmlns:ahyp="http://schemas.microsoft.com/office/drawing/2018/hyperlinkcolor" val="tx"/>
                    </a:ext>
                  </a:extLst>
                </a:hlinkClick>
              </a:rPr>
              <a:t>https://eclipse.org/escet/cif</a:t>
            </a:r>
            <a:endParaRPr lang="en-US" dirty="0">
              <a:solidFill>
                <a:schemeClr val="tx1">
                  <a:lumMod val="50000"/>
                </a:schemeClr>
              </a:solidFill>
            </a:endParaRPr>
          </a:p>
        </p:txBody>
      </p:sp>
      <p:pic>
        <p:nvPicPr>
          <p:cNvPr id="4098" name="Picture 2" descr="Eclipse ESCET IDE with CIF">
            <a:extLst>
              <a:ext uri="{FF2B5EF4-FFF2-40B4-BE49-F238E27FC236}">
                <a16:creationId xmlns:a16="http://schemas.microsoft.com/office/drawing/2014/main" id="{9E90FBDB-83D6-43B2-ABCE-D6AD2C6B0B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59617" y="2783479"/>
            <a:ext cx="3261278" cy="192758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7328A1FF-0615-427B-A14D-F8BE35FCE6F1}"/>
              </a:ext>
            </a:extLst>
          </p:cNvPr>
          <p:cNvPicPr>
            <a:picLocks noChangeAspect="1"/>
          </p:cNvPicPr>
          <p:nvPr/>
        </p:nvPicPr>
        <p:blipFill>
          <a:blip r:embed="rId6"/>
          <a:stretch>
            <a:fillRect/>
          </a:stretch>
        </p:blipFill>
        <p:spPr>
          <a:xfrm>
            <a:off x="8550964" y="4465708"/>
            <a:ext cx="3264845" cy="1689976"/>
          </a:xfrm>
          <a:prstGeom prst="rect">
            <a:avLst/>
          </a:prstGeom>
          <a:ln>
            <a:solidFill>
              <a:schemeClr val="bg1">
                <a:lumMod val="85000"/>
              </a:schemeClr>
            </a:solidFill>
          </a:ln>
        </p:spPr>
      </p:pic>
    </p:spTree>
    <p:extLst>
      <p:ext uri="{BB962C8B-B14F-4D97-AF65-F5344CB8AC3E}">
        <p14:creationId xmlns:p14="http://schemas.microsoft.com/office/powerpoint/2010/main" val="16068077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2E3D13-E659-4C08-A897-BC90B22D70B5}"/>
              </a:ext>
            </a:extLst>
          </p:cNvPr>
          <p:cNvSpPr>
            <a:spLocks noGrp="1"/>
          </p:cNvSpPr>
          <p:nvPr>
            <p:ph type="sldNum" sz="quarter" idx="12"/>
          </p:nvPr>
        </p:nvSpPr>
        <p:spPr/>
        <p:txBody>
          <a:bodyPr/>
          <a:lstStyle/>
          <a:p>
            <a:fld id="{9C59798B-84E5-F441-8110-84C3B6182022}" type="slidenum">
              <a:rPr lang="nl-NL" smtClean="0"/>
              <a:pPr/>
              <a:t>11</a:t>
            </a:fld>
            <a:endParaRPr lang="nl-NL"/>
          </a:p>
        </p:txBody>
      </p:sp>
      <p:sp>
        <p:nvSpPr>
          <p:cNvPr id="3" name="Content Placeholder 2">
            <a:extLst>
              <a:ext uri="{FF2B5EF4-FFF2-40B4-BE49-F238E27FC236}">
                <a16:creationId xmlns:a16="http://schemas.microsoft.com/office/drawing/2014/main" id="{774CCF1F-4F87-45E9-8F8C-277B21235DB9}"/>
              </a:ext>
            </a:extLst>
          </p:cNvPr>
          <p:cNvSpPr>
            <a:spLocks noGrp="1"/>
          </p:cNvSpPr>
          <p:nvPr>
            <p:ph sz="quarter" idx="13"/>
          </p:nvPr>
        </p:nvSpPr>
        <p:spPr>
          <a:xfrm>
            <a:off x="1127124" y="1916114"/>
            <a:ext cx="6158579" cy="4344984"/>
          </a:xfrm>
        </p:spPr>
        <p:txBody>
          <a:bodyPr>
            <a:normAutofit/>
          </a:bodyPr>
          <a:lstStyle/>
          <a:p>
            <a:r>
              <a:rPr lang="en-US" dirty="0"/>
              <a:t>Eclipse ESCET project</a:t>
            </a:r>
          </a:p>
          <a:p>
            <a:pPr marL="573088" lvl="1" indent="-342900">
              <a:buFont typeface="Arial" panose="020B0604020202020204" pitchFamily="34" charset="0"/>
              <a:buChar char="•"/>
            </a:pPr>
            <a:r>
              <a:rPr lang="en-US" dirty="0"/>
              <a:t>An Eclipse Foundation project since 2020</a:t>
            </a:r>
          </a:p>
          <a:p>
            <a:pPr marL="573088" lvl="1" indent="-342900">
              <a:buFont typeface="Arial" panose="020B0604020202020204" pitchFamily="34" charset="0"/>
              <a:buChar char="•"/>
            </a:pPr>
            <a:r>
              <a:rPr lang="en-US" dirty="0"/>
              <a:t>Home to CIF, and some other tools (Chi and </a:t>
            </a:r>
            <a:r>
              <a:rPr lang="en-US" dirty="0" err="1"/>
              <a:t>ToolDef</a:t>
            </a:r>
            <a:r>
              <a:rPr lang="en-US" dirty="0"/>
              <a:t>)</a:t>
            </a:r>
          </a:p>
          <a:p>
            <a:endParaRPr lang="en-US" sz="1600" dirty="0"/>
          </a:p>
          <a:p>
            <a:r>
              <a:rPr lang="en-US" dirty="0"/>
              <a:t>Downloads</a:t>
            </a:r>
          </a:p>
          <a:p>
            <a:pPr marL="573088" lvl="1" indent="-342900">
              <a:buFont typeface="Arial" panose="020B0604020202020204" pitchFamily="34" charset="0"/>
              <a:buChar char="•"/>
            </a:pPr>
            <a:r>
              <a:rPr lang="en-US" dirty="0"/>
              <a:t>Eclipse ESCET IDE and command line tools</a:t>
            </a:r>
          </a:p>
          <a:p>
            <a:pPr marL="573088" lvl="1" indent="-342900">
              <a:buFont typeface="Arial" panose="020B0604020202020204" pitchFamily="34" charset="0"/>
              <a:buChar char="•"/>
            </a:pPr>
            <a:r>
              <a:rPr lang="en-US" dirty="0"/>
              <a:t>Windows, Linux, macOS</a:t>
            </a:r>
          </a:p>
          <a:p>
            <a:pPr marL="573088" lvl="1" indent="-342900">
              <a:buFont typeface="Arial" panose="020B0604020202020204" pitchFamily="34" charset="0"/>
              <a:buChar char="•"/>
            </a:pPr>
            <a:r>
              <a:rPr lang="en-US" dirty="0"/>
              <a:t>Portable: extract and use</a:t>
            </a:r>
          </a:p>
          <a:p>
            <a:endParaRPr lang="en-US" sz="1600" dirty="0"/>
          </a:p>
          <a:p>
            <a:r>
              <a:rPr lang="en-US" dirty="0"/>
              <a:t>Learn more at: </a:t>
            </a:r>
            <a:r>
              <a:rPr lang="en-US" dirty="0">
                <a:solidFill>
                  <a:schemeClr val="tx1">
                    <a:lumMod val="50000"/>
                  </a:schemeClr>
                </a:solidFill>
                <a:hlinkClick r:id="rId2">
                  <a:extLst>
                    <a:ext uri="{A12FA001-AC4F-418D-AE19-62706E023703}">
                      <ahyp:hlinkClr xmlns:ahyp="http://schemas.microsoft.com/office/drawing/2018/hyperlinkcolor" val="tx"/>
                    </a:ext>
                  </a:extLst>
                </a:hlinkClick>
              </a:rPr>
              <a:t>https://eclipse.org/escet</a:t>
            </a:r>
            <a:endParaRPr lang="en-US" dirty="0">
              <a:solidFill>
                <a:schemeClr val="tx1">
                  <a:lumMod val="50000"/>
                </a:schemeClr>
              </a:solidFill>
            </a:endParaRPr>
          </a:p>
          <a:p>
            <a:endParaRPr lang="en-US" sz="1600" dirty="0"/>
          </a:p>
          <a:p>
            <a:r>
              <a:rPr lang="en-US" dirty="0"/>
              <a:t>You can get started today!</a:t>
            </a:r>
          </a:p>
        </p:txBody>
      </p:sp>
      <p:sp>
        <p:nvSpPr>
          <p:cNvPr id="4" name="Title 3">
            <a:extLst>
              <a:ext uri="{FF2B5EF4-FFF2-40B4-BE49-F238E27FC236}">
                <a16:creationId xmlns:a16="http://schemas.microsoft.com/office/drawing/2014/main" id="{40EF7DD9-054E-43F4-B251-3B66E0CC90EC}"/>
              </a:ext>
            </a:extLst>
          </p:cNvPr>
          <p:cNvSpPr>
            <a:spLocks noGrp="1"/>
          </p:cNvSpPr>
          <p:nvPr>
            <p:ph type="title"/>
          </p:nvPr>
        </p:nvSpPr>
        <p:spPr/>
        <p:txBody>
          <a:bodyPr/>
          <a:lstStyle/>
          <a:p>
            <a:r>
              <a:rPr lang="en-US" dirty="0"/>
              <a:t>Eclipse ESCET open-source project</a:t>
            </a:r>
          </a:p>
        </p:txBody>
      </p:sp>
      <p:pic>
        <p:nvPicPr>
          <p:cNvPr id="7" name="Picture 6">
            <a:extLst>
              <a:ext uri="{FF2B5EF4-FFF2-40B4-BE49-F238E27FC236}">
                <a16:creationId xmlns:a16="http://schemas.microsoft.com/office/drawing/2014/main" id="{88016681-42BD-4513-BC4B-626DDF452364}"/>
              </a:ext>
            </a:extLst>
          </p:cNvPr>
          <p:cNvPicPr>
            <a:picLocks noChangeAspect="1"/>
          </p:cNvPicPr>
          <p:nvPr/>
        </p:nvPicPr>
        <p:blipFill>
          <a:blip r:embed="rId3"/>
          <a:stretch>
            <a:fillRect/>
          </a:stretch>
        </p:blipFill>
        <p:spPr>
          <a:xfrm>
            <a:off x="7460013" y="1851644"/>
            <a:ext cx="4115181" cy="2229057"/>
          </a:xfrm>
          <a:prstGeom prst="rect">
            <a:avLst/>
          </a:prstGeom>
          <a:ln>
            <a:solidFill>
              <a:schemeClr val="bg1">
                <a:lumMod val="85000"/>
              </a:schemeClr>
            </a:solidFill>
          </a:ln>
        </p:spPr>
      </p:pic>
      <p:pic>
        <p:nvPicPr>
          <p:cNvPr id="10" name="Picture 9">
            <a:extLst>
              <a:ext uri="{FF2B5EF4-FFF2-40B4-BE49-F238E27FC236}">
                <a16:creationId xmlns:a16="http://schemas.microsoft.com/office/drawing/2014/main" id="{7CED7109-33A0-4646-ACC4-BA4B6494D368}"/>
              </a:ext>
            </a:extLst>
          </p:cNvPr>
          <p:cNvPicPr>
            <a:picLocks noChangeAspect="1"/>
          </p:cNvPicPr>
          <p:nvPr/>
        </p:nvPicPr>
        <p:blipFill>
          <a:blip r:embed="rId4"/>
          <a:stretch>
            <a:fillRect/>
          </a:stretch>
        </p:blipFill>
        <p:spPr>
          <a:xfrm>
            <a:off x="7725482" y="3761147"/>
            <a:ext cx="4115182" cy="2229057"/>
          </a:xfrm>
          <a:prstGeom prst="rect">
            <a:avLst/>
          </a:prstGeom>
          <a:ln>
            <a:solidFill>
              <a:schemeClr val="bg1">
                <a:lumMod val="85000"/>
              </a:schemeClr>
            </a:solidFill>
          </a:ln>
        </p:spPr>
      </p:pic>
    </p:spTree>
    <p:extLst>
      <p:ext uri="{BB962C8B-B14F-4D97-AF65-F5344CB8AC3E}">
        <p14:creationId xmlns:p14="http://schemas.microsoft.com/office/powerpoint/2010/main" val="2521339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D6CF6D-7C6A-4662-9986-719B24DAAC32}"/>
              </a:ext>
            </a:extLst>
          </p:cNvPr>
          <p:cNvSpPr>
            <a:spLocks noGrp="1"/>
          </p:cNvSpPr>
          <p:nvPr>
            <p:ph type="sldNum" sz="quarter" idx="12"/>
          </p:nvPr>
        </p:nvSpPr>
        <p:spPr/>
        <p:txBody>
          <a:bodyPr/>
          <a:lstStyle/>
          <a:p>
            <a:fld id="{9C59798B-84E5-F441-8110-84C3B6182022}" type="slidenum">
              <a:rPr lang="nl-NL" smtClean="0"/>
              <a:pPr/>
              <a:t>12</a:t>
            </a:fld>
            <a:endParaRPr lang="nl-NL"/>
          </a:p>
        </p:txBody>
      </p:sp>
      <p:sp>
        <p:nvSpPr>
          <p:cNvPr id="3" name="Content Placeholder 2">
            <a:extLst>
              <a:ext uri="{FF2B5EF4-FFF2-40B4-BE49-F238E27FC236}">
                <a16:creationId xmlns:a16="http://schemas.microsoft.com/office/drawing/2014/main" id="{9F4C2FBE-D45F-4EF4-A964-2E0FD04E4CE4}"/>
              </a:ext>
            </a:extLst>
          </p:cNvPr>
          <p:cNvSpPr>
            <a:spLocks noGrp="1"/>
          </p:cNvSpPr>
          <p:nvPr>
            <p:ph sz="quarter" idx="13"/>
          </p:nvPr>
        </p:nvSpPr>
        <p:spPr/>
        <p:txBody>
          <a:bodyPr>
            <a:normAutofit/>
          </a:bodyPr>
          <a:lstStyle/>
          <a:p>
            <a:r>
              <a:rPr lang="en-US" dirty="0"/>
              <a:t>5</a:t>
            </a:r>
            <a:r>
              <a:rPr lang="en-US" baseline="30000" dirty="0"/>
              <a:t>th</a:t>
            </a:r>
            <a:r>
              <a:rPr lang="en-US" dirty="0"/>
              <a:t> Eclipse ESCET release yesterday; 100+ end user visible improvements and fixes since April 2021</a:t>
            </a:r>
          </a:p>
          <a:p>
            <a:pPr>
              <a:spcBef>
                <a:spcPts val="1500"/>
              </a:spcBef>
            </a:pPr>
            <a:r>
              <a:rPr lang="en-US" dirty="0"/>
              <a:t>Some CIF highlights:</a:t>
            </a:r>
          </a:p>
          <a:p>
            <a:pPr marL="344488" lvl="1" indent="-225425" defTabSz="474663">
              <a:buFont typeface="Arial" panose="020B0604020202020204" pitchFamily="34" charset="0"/>
              <a:buChar char="•"/>
            </a:pPr>
            <a:r>
              <a:rPr lang="en-US" sz="1600" dirty="0"/>
              <a:t>v0.1		First release as Eclipse Foundation project</a:t>
            </a:r>
          </a:p>
          <a:p>
            <a:pPr marL="344488" lvl="1" indent="-225425" defTabSz="474663">
              <a:buFont typeface="Arial" panose="020B0604020202020204" pitchFamily="34" charset="0"/>
              <a:buChar char="•"/>
            </a:pPr>
            <a:r>
              <a:rPr lang="en-US" sz="1600" dirty="0"/>
              <a:t>v0.2 (</a:t>
            </a:r>
            <a:r>
              <a:rPr lang="en-US" sz="1600" b="0" i="0" dirty="0">
                <a:solidFill>
                  <a:srgbClr val="111111"/>
                </a:solidFill>
                <a:effectLst/>
              </a:rPr>
              <a:t>✓ </a:t>
            </a:r>
            <a:r>
              <a:rPr lang="en-US" sz="1600" dirty="0"/>
              <a:t>39)	Various tools support more CIF language concepts, bug fixes, improved usability, new tools and options</a:t>
            </a:r>
          </a:p>
          <a:p>
            <a:pPr marL="344488" lvl="1" indent="-225425" defTabSz="474663">
              <a:buFont typeface="Arial" panose="020B0604020202020204" pitchFamily="34" charset="0"/>
              <a:buChar char="•"/>
            </a:pPr>
            <a:r>
              <a:rPr lang="en-US" sz="1600" dirty="0"/>
              <a:t>v0.3 (</a:t>
            </a:r>
            <a:r>
              <a:rPr lang="en-US" sz="1600" b="0" i="0" dirty="0">
                <a:solidFill>
                  <a:srgbClr val="111111"/>
                </a:solidFill>
                <a:effectLst/>
              </a:rPr>
              <a:t>✓ </a:t>
            </a:r>
            <a:r>
              <a:rPr lang="en-US" sz="1600" dirty="0"/>
              <a:t>15)	Synthesis supports more CIF concepts, synthesis checks more common mistakes, new finite response checker</a:t>
            </a:r>
          </a:p>
          <a:p>
            <a:pPr marL="344488" lvl="1" indent="-225425" defTabSz="474663">
              <a:buFont typeface="Arial" panose="020B0604020202020204" pitchFamily="34" charset="0"/>
              <a:buChar char="•"/>
            </a:pPr>
            <a:r>
              <a:rPr lang="en-US" sz="1600" dirty="0"/>
              <a:t>v0.4 (</a:t>
            </a:r>
            <a:r>
              <a:rPr lang="en-US" sz="1600" b="0" i="0" dirty="0">
                <a:solidFill>
                  <a:srgbClr val="111111"/>
                </a:solidFill>
                <a:effectLst/>
              </a:rPr>
              <a:t>✓ </a:t>
            </a:r>
            <a:r>
              <a:rPr lang="en-US" sz="1600" dirty="0"/>
              <a:t>34)	Simulate input variables, more synthesis performance statistics, new website, bug fixes, improved robustness</a:t>
            </a:r>
          </a:p>
          <a:p>
            <a:pPr marL="344488" lvl="1" indent="-225425" defTabSz="474663">
              <a:buFont typeface="Arial" panose="020B0604020202020204" pitchFamily="34" charset="0"/>
              <a:buChar char="•"/>
            </a:pPr>
            <a:r>
              <a:rPr lang="en-US" sz="1600" dirty="0"/>
              <a:t>v0.5 (</a:t>
            </a:r>
            <a:r>
              <a:rPr lang="en-US" sz="1600" b="0" i="0" dirty="0">
                <a:solidFill>
                  <a:srgbClr val="111111"/>
                </a:solidFill>
                <a:effectLst/>
              </a:rPr>
              <a:t>✓ </a:t>
            </a:r>
            <a:r>
              <a:rPr lang="en-US" sz="1600" dirty="0"/>
              <a:t>13)	Full synthesis invariant support, generate S7/SIMATIC PLC code, SBE docs, FIFO example, 4 new tools</a:t>
            </a:r>
          </a:p>
          <a:p>
            <a:pPr>
              <a:spcBef>
                <a:spcPts val="1500"/>
              </a:spcBef>
            </a:pPr>
            <a:r>
              <a:rPr lang="en-US" dirty="0"/>
              <a:t>Learn more at: </a:t>
            </a:r>
            <a:r>
              <a:rPr lang="en-US" dirty="0">
                <a:solidFill>
                  <a:schemeClr val="tx1">
                    <a:lumMod val="50000"/>
                  </a:schemeClr>
                </a:solidFill>
                <a:hlinkClick r:id="rId2">
                  <a:extLst>
                    <a:ext uri="{A12FA001-AC4F-418D-AE19-62706E023703}">
                      <ahyp:hlinkClr xmlns:ahyp="http://schemas.microsoft.com/office/drawing/2018/hyperlinkcolor" val="tx"/>
                    </a:ext>
                  </a:extLst>
                </a:hlinkClick>
              </a:rPr>
              <a:t>https://eclipse.org/escet/release-notes.html</a:t>
            </a:r>
            <a:endParaRPr lang="en-US" dirty="0">
              <a:solidFill>
                <a:schemeClr val="tx1">
                  <a:lumMod val="50000"/>
                </a:schemeClr>
              </a:solidFill>
            </a:endParaRPr>
          </a:p>
          <a:p>
            <a:pPr>
              <a:spcBef>
                <a:spcPts val="1500"/>
              </a:spcBef>
            </a:pPr>
            <a:r>
              <a:rPr lang="en-US" dirty="0"/>
              <a:t>We’re currently working on:</a:t>
            </a:r>
          </a:p>
          <a:p>
            <a:pPr marL="342900" lvl="1" indent="-225425">
              <a:buFont typeface="Arial" panose="020B0604020202020204" pitchFamily="34" charset="0"/>
              <a:buChar char="•"/>
            </a:pPr>
            <a:r>
              <a:rPr lang="en-US" sz="1600" dirty="0"/>
              <a:t>Multi-level synthesis tool</a:t>
            </a:r>
          </a:p>
          <a:p>
            <a:pPr marL="342900" lvl="1" indent="-225425">
              <a:buFont typeface="Arial" panose="020B0604020202020204" pitchFamily="34" charset="0"/>
              <a:buChar char="•"/>
            </a:pPr>
            <a:r>
              <a:rPr lang="en-US" sz="1600" dirty="0"/>
              <a:t>Named (requirement) invariants</a:t>
            </a:r>
          </a:p>
          <a:p>
            <a:pPr marL="342900" lvl="1" indent="-225425">
              <a:buFont typeface="Arial" panose="020B0604020202020204" pitchFamily="34" charset="0"/>
              <a:buChar char="•"/>
            </a:pPr>
            <a:r>
              <a:rPr lang="en-US" sz="1600" dirty="0"/>
              <a:t>… and more</a:t>
            </a:r>
          </a:p>
        </p:txBody>
      </p:sp>
      <p:sp>
        <p:nvSpPr>
          <p:cNvPr id="4" name="Title 3">
            <a:extLst>
              <a:ext uri="{FF2B5EF4-FFF2-40B4-BE49-F238E27FC236}">
                <a16:creationId xmlns:a16="http://schemas.microsoft.com/office/drawing/2014/main" id="{8A338A06-56EE-4B27-8186-5BE7734578F7}"/>
              </a:ext>
            </a:extLst>
          </p:cNvPr>
          <p:cNvSpPr>
            <a:spLocks noGrp="1"/>
          </p:cNvSpPr>
          <p:nvPr>
            <p:ph type="title"/>
          </p:nvPr>
        </p:nvSpPr>
        <p:spPr/>
        <p:txBody>
          <a:bodyPr/>
          <a:lstStyle/>
          <a:p>
            <a:r>
              <a:rPr lang="en-US" dirty="0"/>
              <a:t>Eclipse ESCET open-source project: status</a:t>
            </a:r>
          </a:p>
        </p:txBody>
      </p:sp>
    </p:spTree>
    <p:extLst>
      <p:ext uri="{BB962C8B-B14F-4D97-AF65-F5344CB8AC3E}">
        <p14:creationId xmlns:p14="http://schemas.microsoft.com/office/powerpoint/2010/main" val="3418414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77348B-2287-4975-B45C-17C5CAF4D2C5}"/>
              </a:ext>
            </a:extLst>
          </p:cNvPr>
          <p:cNvSpPr>
            <a:spLocks noGrp="1"/>
          </p:cNvSpPr>
          <p:nvPr>
            <p:ph type="sldNum" sz="quarter" idx="12"/>
          </p:nvPr>
        </p:nvSpPr>
        <p:spPr/>
        <p:txBody>
          <a:bodyPr/>
          <a:lstStyle/>
          <a:p>
            <a:fld id="{9C59798B-84E5-F441-8110-84C3B6182022}" type="slidenum">
              <a:rPr lang="nl-NL" smtClean="0"/>
              <a:pPr/>
              <a:t>13</a:t>
            </a:fld>
            <a:endParaRPr lang="nl-NL"/>
          </a:p>
        </p:txBody>
      </p:sp>
      <p:sp>
        <p:nvSpPr>
          <p:cNvPr id="3" name="Content Placeholder 2">
            <a:extLst>
              <a:ext uri="{FF2B5EF4-FFF2-40B4-BE49-F238E27FC236}">
                <a16:creationId xmlns:a16="http://schemas.microsoft.com/office/drawing/2014/main" id="{4431B8E6-0994-49C0-AB56-340FC49820DE}"/>
              </a:ext>
            </a:extLst>
          </p:cNvPr>
          <p:cNvSpPr>
            <a:spLocks noGrp="1"/>
          </p:cNvSpPr>
          <p:nvPr>
            <p:ph sz="quarter" idx="13"/>
          </p:nvPr>
        </p:nvSpPr>
        <p:spPr/>
        <p:txBody>
          <a:bodyPr/>
          <a:lstStyle/>
          <a:p>
            <a:r>
              <a:rPr lang="en-US" dirty="0"/>
              <a:t>Synthesis-based engineering of supervisory controllers</a:t>
            </a:r>
          </a:p>
          <a:p>
            <a:pPr marL="569913" lvl="1" indent="-342900">
              <a:buFont typeface="Arial" panose="020B0604020202020204" pitchFamily="34" charset="0"/>
              <a:buChar char="•"/>
            </a:pPr>
            <a:r>
              <a:rPr lang="en-US" dirty="0"/>
              <a:t>Combines model-based engineering with computer-aided design</a:t>
            </a:r>
          </a:p>
          <a:p>
            <a:pPr marL="569913" lvl="1" indent="-342900">
              <a:buFont typeface="Arial" panose="020B0604020202020204" pitchFamily="34" charset="0"/>
              <a:buChar char="•"/>
            </a:pPr>
            <a:r>
              <a:rPr lang="en-US" dirty="0"/>
              <a:t>Produces correct-by-construction controllers, as automated as possible</a:t>
            </a:r>
          </a:p>
          <a:p>
            <a:pPr marL="569913" lvl="1" indent="-342900">
              <a:buFont typeface="Arial" panose="020B0604020202020204" pitchFamily="34" charset="0"/>
              <a:buChar char="•"/>
            </a:pPr>
            <a:r>
              <a:rPr lang="en-US" dirty="0"/>
              <a:t>Reduces development time and improves controller quality</a:t>
            </a:r>
          </a:p>
          <a:p>
            <a:pPr marL="569913" lvl="1" indent="-342900">
              <a:buFont typeface="Arial" panose="020B0604020202020204" pitchFamily="34" charset="0"/>
              <a:buChar char="•"/>
            </a:pPr>
            <a:endParaRPr lang="en-US" dirty="0"/>
          </a:p>
          <a:p>
            <a:r>
              <a:rPr lang="en-US" dirty="0"/>
              <a:t>Mature and proven technology</a:t>
            </a:r>
          </a:p>
          <a:p>
            <a:pPr marL="569913" lvl="1" indent="-342900">
              <a:buFont typeface="Arial" panose="020B0604020202020204" pitchFamily="34" charset="0"/>
              <a:buChar char="•"/>
            </a:pPr>
            <a:r>
              <a:rPr lang="en-US" dirty="0"/>
              <a:t>30+ years of research, 15 years of CIF tool development</a:t>
            </a:r>
          </a:p>
          <a:p>
            <a:pPr marL="569913" lvl="1" indent="-342900">
              <a:buFont typeface="Arial" panose="020B0604020202020204" pitchFamily="34" charset="0"/>
              <a:buChar char="•"/>
            </a:pPr>
            <a:r>
              <a:rPr lang="en-US" dirty="0"/>
              <a:t>Method maturity has greatly improved	E.g., symbolic/multi-level synthesis, fault-tolerant controllers</a:t>
            </a:r>
          </a:p>
          <a:p>
            <a:pPr marL="569913" lvl="1" indent="-342900">
              <a:buFont typeface="Arial" panose="020B0604020202020204" pitchFamily="34" charset="0"/>
              <a:buChar char="•"/>
            </a:pPr>
            <a:r>
              <a:rPr lang="en-US" dirty="0"/>
              <a:t>Successful case studies in many domains	E.g., healthcare, automotive, infrastructure, semiconductor</a:t>
            </a:r>
          </a:p>
          <a:p>
            <a:pPr marL="569913" lvl="1" indent="-342900">
              <a:buFont typeface="Arial" panose="020B0604020202020204" pitchFamily="34" charset="0"/>
              <a:buChar char="•"/>
            </a:pPr>
            <a:r>
              <a:rPr lang="en-US" dirty="0"/>
              <a:t>Proven real-world maturity		E.g., car cruise control in real traffic, bridge site acceptance test</a:t>
            </a:r>
          </a:p>
          <a:p>
            <a:pPr marL="569913" lvl="1" indent="-342900">
              <a:buFont typeface="Arial" panose="020B0604020202020204" pitchFamily="34" charset="0"/>
              <a:buChar char="•"/>
            </a:pPr>
            <a:endParaRPr lang="en-US" dirty="0"/>
          </a:p>
          <a:p>
            <a:r>
              <a:rPr lang="en-US" dirty="0"/>
              <a:t>You can get started now!</a:t>
            </a:r>
          </a:p>
        </p:txBody>
      </p:sp>
      <p:sp>
        <p:nvSpPr>
          <p:cNvPr id="4" name="Title 3">
            <a:extLst>
              <a:ext uri="{FF2B5EF4-FFF2-40B4-BE49-F238E27FC236}">
                <a16:creationId xmlns:a16="http://schemas.microsoft.com/office/drawing/2014/main" id="{CB1DD69B-5538-4777-9938-B12CFAF519D8}"/>
              </a:ext>
            </a:extLst>
          </p:cNvPr>
          <p:cNvSpPr>
            <a:spLocks noGrp="1"/>
          </p:cNvSpPr>
          <p:nvPr>
            <p:ph type="title"/>
          </p:nvPr>
        </p:nvSpPr>
        <p:spPr/>
        <p:txBody>
          <a:bodyPr/>
          <a:lstStyle/>
          <a:p>
            <a:r>
              <a:rPr lang="en-US" dirty="0"/>
              <a:t>Synthesis-based engineering: take-aways</a:t>
            </a:r>
          </a:p>
        </p:txBody>
      </p:sp>
    </p:spTree>
    <p:extLst>
      <p:ext uri="{BB962C8B-B14F-4D97-AF65-F5344CB8AC3E}">
        <p14:creationId xmlns:p14="http://schemas.microsoft.com/office/powerpoint/2010/main" val="3132694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229816-022E-48EA-A337-11F39E39556B}"/>
              </a:ext>
            </a:extLst>
          </p:cNvPr>
          <p:cNvSpPr>
            <a:spLocks noGrp="1"/>
          </p:cNvSpPr>
          <p:nvPr>
            <p:ph type="title"/>
          </p:nvPr>
        </p:nvSpPr>
        <p:spPr>
          <a:xfrm>
            <a:off x="527050" y="2196269"/>
            <a:ext cx="10515600" cy="1486731"/>
          </a:xfrm>
          <a:effectLst>
            <a:outerShdw blurRad="50800" dist="38100" dir="2700000" algn="tl" rotWithShape="0">
              <a:prstClr val="black">
                <a:alpha val="40000"/>
              </a:prstClr>
            </a:outerShdw>
          </a:effectLst>
        </p:spPr>
        <p:txBody>
          <a:bodyPr vert="horz" lIns="0" tIns="0" rIns="0" bIns="0" rtlCol="0">
            <a:noAutofit/>
          </a:bodyPr>
          <a:lstStyle/>
          <a:p>
            <a:pPr>
              <a:spcBef>
                <a:spcPts val="1000"/>
              </a:spcBef>
              <a:buFont typeface="Arial"/>
            </a:pPr>
            <a:r>
              <a:rPr lang="en-US" sz="4100" dirty="0">
                <a:effectLst>
                  <a:outerShdw blurRad="50800" dist="38100" dir="2700000" algn="tl" rotWithShape="0">
                    <a:prstClr val="black">
                      <a:alpha val="40000"/>
                    </a:prstClr>
                  </a:outerShdw>
                </a:effectLst>
                <a:ea typeface="+mn-ea"/>
                <a:cs typeface="+mn-cs"/>
              </a:rPr>
              <a:t>Eclipse ESCET and SBE at Rijkswaterstaat</a:t>
            </a:r>
            <a:br>
              <a:rPr lang="en-US" sz="4100" dirty="0">
                <a:effectLst>
                  <a:outerShdw blurRad="50800" dist="38100" dir="2700000" algn="tl" rotWithShape="0">
                    <a:prstClr val="black">
                      <a:alpha val="40000"/>
                    </a:prstClr>
                  </a:outerShdw>
                </a:effectLst>
                <a:ea typeface="+mn-ea"/>
                <a:cs typeface="+mn-cs"/>
              </a:rPr>
            </a:br>
            <a:endParaRPr lang="en-US" sz="4100" dirty="0">
              <a:effectLst>
                <a:outerShdw blurRad="50800" dist="38100" dir="2700000" algn="tl" rotWithShape="0">
                  <a:prstClr val="black">
                    <a:alpha val="40000"/>
                  </a:prstClr>
                </a:outerShdw>
              </a:effectLst>
              <a:ea typeface="+mn-ea"/>
              <a:cs typeface="+mn-cs"/>
            </a:endParaRPr>
          </a:p>
        </p:txBody>
      </p:sp>
      <p:sp>
        <p:nvSpPr>
          <p:cNvPr id="8" name="Text Placeholder 7">
            <a:extLst>
              <a:ext uri="{FF2B5EF4-FFF2-40B4-BE49-F238E27FC236}">
                <a16:creationId xmlns:a16="http://schemas.microsoft.com/office/drawing/2014/main" id="{EF679683-C45F-42F6-B526-25D18FBB0CCE}"/>
              </a:ext>
            </a:extLst>
          </p:cNvPr>
          <p:cNvSpPr>
            <a:spLocks noGrp="1"/>
          </p:cNvSpPr>
          <p:nvPr>
            <p:ph type="body" sz="quarter" idx="10"/>
          </p:nvPr>
        </p:nvSpPr>
        <p:spPr>
          <a:xfrm>
            <a:off x="527050" y="3683000"/>
            <a:ext cx="11428976" cy="1581209"/>
          </a:xfrm>
          <a:effectLst>
            <a:outerShdw blurRad="50800" dist="38100" dir="2700000" algn="tl" rotWithShape="0">
              <a:prstClr val="black">
                <a:alpha val="40000"/>
              </a:prstClr>
            </a:outerShdw>
          </a:effectLst>
        </p:spPr>
        <p:txBody>
          <a:bodyPr vert="horz" lIns="0" tIns="0" rIns="0" bIns="0" rtlCol="0">
            <a:normAutofit/>
          </a:bodyPr>
          <a:lstStyle/>
          <a:p>
            <a:r>
              <a:rPr lang="en-US" dirty="0">
                <a:effectLst>
                  <a:outerShdw blurRad="50800" dist="38100" dir="2700000" algn="tl" rotWithShape="0">
                    <a:prstClr val="black">
                      <a:alpha val="40000"/>
                    </a:prstClr>
                  </a:outerShdw>
                </a:effectLst>
              </a:rPr>
              <a:t>Harry </a:t>
            </a:r>
            <a:r>
              <a:rPr lang="en-US" dirty="0" err="1">
                <a:effectLst>
                  <a:outerShdw blurRad="50800" dist="38100" dir="2700000" algn="tl" rotWithShape="0">
                    <a:prstClr val="black">
                      <a:alpha val="40000"/>
                    </a:prstClr>
                  </a:outerShdw>
                </a:effectLst>
              </a:rPr>
              <a:t>Lammeretz</a:t>
            </a:r>
            <a:br>
              <a:rPr lang="en-US" dirty="0">
                <a:effectLst>
                  <a:outerShdw blurRad="50800" dist="38100" dir="2700000" algn="tl" rotWithShape="0">
                    <a:prstClr val="black">
                      <a:alpha val="40000"/>
                    </a:prstClr>
                  </a:outerShdw>
                </a:effectLst>
              </a:rPr>
            </a:br>
            <a:r>
              <a:rPr lang="en-US" dirty="0">
                <a:effectLst>
                  <a:outerShdw blurRad="50800" dist="38100" dir="2700000" algn="tl" rotWithShape="0">
                    <a:prstClr val="black">
                      <a:alpha val="40000"/>
                    </a:prstClr>
                  </a:outerShdw>
                </a:effectLst>
              </a:rPr>
              <a:t>Rijkswaterstaat (Dutch Directorate-General for Public Works and Water Management)</a:t>
            </a:r>
          </a:p>
        </p:txBody>
      </p:sp>
    </p:spTree>
    <p:extLst>
      <p:ext uri="{BB962C8B-B14F-4D97-AF65-F5344CB8AC3E}">
        <p14:creationId xmlns:p14="http://schemas.microsoft.com/office/powerpoint/2010/main" val="39530371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229816-022E-48EA-A337-11F39E39556B}"/>
              </a:ext>
            </a:extLst>
          </p:cNvPr>
          <p:cNvSpPr>
            <a:spLocks noGrp="1"/>
          </p:cNvSpPr>
          <p:nvPr>
            <p:ph type="title"/>
          </p:nvPr>
        </p:nvSpPr>
        <p:spPr>
          <a:xfrm>
            <a:off x="527050" y="2196269"/>
            <a:ext cx="10515600" cy="1486731"/>
          </a:xfrm>
          <a:effectLst>
            <a:outerShdw blurRad="50800" dist="38100" dir="2700000" algn="tl" rotWithShape="0">
              <a:prstClr val="black">
                <a:alpha val="40000"/>
              </a:prstClr>
            </a:outerShdw>
          </a:effectLst>
        </p:spPr>
        <p:txBody>
          <a:bodyPr vert="horz" lIns="0" tIns="0" rIns="0" bIns="0" rtlCol="0">
            <a:noAutofit/>
          </a:bodyPr>
          <a:lstStyle/>
          <a:p>
            <a:pPr>
              <a:spcBef>
                <a:spcPts val="1000"/>
              </a:spcBef>
              <a:buFont typeface="Arial"/>
            </a:pPr>
            <a:r>
              <a:rPr lang="en-US" sz="4100" dirty="0">
                <a:effectLst>
                  <a:outerShdw blurRad="50800" dist="38100" dir="2700000" algn="tl" rotWithShape="0">
                    <a:prstClr val="black">
                      <a:alpha val="40000"/>
                    </a:prstClr>
                  </a:outerShdw>
                </a:effectLst>
                <a:ea typeface="+mn-ea"/>
                <a:cs typeface="+mn-cs"/>
              </a:rPr>
              <a:t>Community discussion</a:t>
            </a:r>
            <a:br>
              <a:rPr lang="en-US" sz="4100" dirty="0">
                <a:effectLst>
                  <a:outerShdw blurRad="50800" dist="38100" dir="2700000" algn="tl" rotWithShape="0">
                    <a:prstClr val="black">
                      <a:alpha val="40000"/>
                    </a:prstClr>
                  </a:outerShdw>
                </a:effectLst>
                <a:ea typeface="+mn-ea"/>
                <a:cs typeface="+mn-cs"/>
              </a:rPr>
            </a:br>
            <a:endParaRPr lang="en-US" sz="4100" dirty="0">
              <a:effectLst>
                <a:outerShdw blurRad="50800" dist="38100" dir="2700000" algn="tl" rotWithShape="0">
                  <a:prstClr val="black">
                    <a:alpha val="40000"/>
                  </a:prstClr>
                </a:outerShdw>
              </a:effectLst>
              <a:ea typeface="+mn-ea"/>
              <a:cs typeface="+mn-cs"/>
            </a:endParaRPr>
          </a:p>
        </p:txBody>
      </p:sp>
    </p:spTree>
    <p:extLst>
      <p:ext uri="{BB962C8B-B14F-4D97-AF65-F5344CB8AC3E}">
        <p14:creationId xmlns:p14="http://schemas.microsoft.com/office/powerpoint/2010/main" val="69928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6F2B1-C643-4BF2-AAB3-238EA85A7CE9}"/>
              </a:ext>
            </a:extLst>
          </p:cNvPr>
          <p:cNvSpPr>
            <a:spLocks noGrp="1"/>
          </p:cNvSpPr>
          <p:nvPr>
            <p:ph type="sldNum" sz="quarter" idx="12"/>
          </p:nvPr>
        </p:nvSpPr>
        <p:spPr/>
        <p:txBody>
          <a:bodyPr/>
          <a:lstStyle/>
          <a:p>
            <a:fld id="{9C59798B-84E5-F441-8110-84C3B6182022}" type="slidenum">
              <a:rPr lang="nl-NL" smtClean="0"/>
              <a:pPr/>
              <a:t>16</a:t>
            </a:fld>
            <a:endParaRPr lang="nl-NL"/>
          </a:p>
        </p:txBody>
      </p:sp>
      <p:sp>
        <p:nvSpPr>
          <p:cNvPr id="3" name="Content Placeholder 2">
            <a:extLst>
              <a:ext uri="{FF2B5EF4-FFF2-40B4-BE49-F238E27FC236}">
                <a16:creationId xmlns:a16="http://schemas.microsoft.com/office/drawing/2014/main" id="{E4BE8CA7-F8E4-416B-9F43-1043600A1953}"/>
              </a:ext>
            </a:extLst>
          </p:cNvPr>
          <p:cNvSpPr>
            <a:spLocks noGrp="1"/>
          </p:cNvSpPr>
          <p:nvPr>
            <p:ph sz="quarter" idx="13"/>
          </p:nvPr>
        </p:nvSpPr>
        <p:spPr/>
        <p:txBody>
          <a:bodyPr>
            <a:normAutofit/>
          </a:bodyPr>
          <a:lstStyle/>
          <a:p>
            <a:r>
              <a:rPr lang="en-US" dirty="0"/>
              <a:t>Discussion about needs and next steps for synthesis-based engineering with Eclipse ESCET</a:t>
            </a:r>
          </a:p>
          <a:p>
            <a:endParaRPr lang="en-US" sz="1000" dirty="0"/>
          </a:p>
          <a:p>
            <a:r>
              <a:rPr lang="en-US" dirty="0"/>
              <a:t>The value</a:t>
            </a:r>
          </a:p>
          <a:p>
            <a:pPr marL="569913" lvl="1" indent="-342900">
              <a:buFont typeface="+mj-lt"/>
              <a:buAutoNum type="arabicPeriod"/>
            </a:pPr>
            <a:r>
              <a:rPr lang="en-US" dirty="0"/>
              <a:t>Do you see the </a:t>
            </a:r>
            <a:r>
              <a:rPr lang="en-US" b="1" dirty="0"/>
              <a:t>value</a:t>
            </a:r>
            <a:r>
              <a:rPr lang="en-US" dirty="0"/>
              <a:t> of SBE?</a:t>
            </a:r>
          </a:p>
          <a:p>
            <a:pPr marL="569913" lvl="1" indent="-342900">
              <a:buFont typeface="+mj-lt"/>
              <a:buAutoNum type="arabicPeriod"/>
            </a:pPr>
            <a:r>
              <a:rPr lang="en-US" dirty="0"/>
              <a:t>Why are you </a:t>
            </a:r>
            <a:r>
              <a:rPr lang="en-US" b="1" dirty="0"/>
              <a:t>interested</a:t>
            </a:r>
            <a:r>
              <a:rPr lang="en-US" dirty="0"/>
              <a:t> in SBE/ESCET?</a:t>
            </a:r>
          </a:p>
          <a:p>
            <a:pPr marL="569913" lvl="1" indent="-342900">
              <a:buFont typeface="+mj-lt"/>
              <a:buAutoNum type="arabicPeriod"/>
            </a:pPr>
            <a:r>
              <a:rPr lang="en-US" dirty="0"/>
              <a:t>Are you </a:t>
            </a:r>
            <a:r>
              <a:rPr lang="en-US" b="1" dirty="0"/>
              <a:t>using</a:t>
            </a:r>
            <a:r>
              <a:rPr lang="en-US" dirty="0"/>
              <a:t> SBE/ESCET, and for what?</a:t>
            </a:r>
          </a:p>
          <a:p>
            <a:endParaRPr lang="en-US" sz="1000" dirty="0"/>
          </a:p>
          <a:p>
            <a:r>
              <a:rPr lang="en-US" dirty="0"/>
              <a:t>The future</a:t>
            </a:r>
          </a:p>
          <a:p>
            <a:pPr marL="569913" lvl="1" indent="-342900">
              <a:buFont typeface="+mj-lt"/>
              <a:buAutoNum type="arabicPeriod" startAt="4"/>
            </a:pPr>
            <a:r>
              <a:rPr lang="en-US" dirty="0"/>
              <a:t>Do you see potential to </a:t>
            </a:r>
            <a:r>
              <a:rPr lang="en-US" b="1" dirty="0"/>
              <a:t>apply</a:t>
            </a:r>
            <a:r>
              <a:rPr lang="en-US" dirty="0"/>
              <a:t> SBE/ESCET </a:t>
            </a:r>
            <a:r>
              <a:rPr lang="en-US" b="1" dirty="0"/>
              <a:t>(more)</a:t>
            </a:r>
            <a:r>
              <a:rPr lang="en-US" dirty="0"/>
              <a:t> in the future?</a:t>
            </a:r>
          </a:p>
          <a:p>
            <a:pPr marL="569913" lvl="1" indent="-342900">
              <a:buFont typeface="+mj-lt"/>
              <a:buAutoNum type="arabicPeriod" startAt="4"/>
            </a:pPr>
            <a:r>
              <a:rPr lang="en-US" dirty="0"/>
              <a:t>What </a:t>
            </a:r>
            <a:r>
              <a:rPr lang="en-US" b="1" dirty="0"/>
              <a:t>hinders</a:t>
            </a:r>
            <a:r>
              <a:rPr lang="en-US" dirty="0"/>
              <a:t> you to apply SBE/ESCET (more) in the future?</a:t>
            </a:r>
          </a:p>
          <a:p>
            <a:pPr marL="569913" lvl="1" indent="-342900">
              <a:buFont typeface="+mj-lt"/>
              <a:buAutoNum type="arabicPeriod" startAt="4"/>
            </a:pPr>
            <a:r>
              <a:rPr lang="en-US" dirty="0"/>
              <a:t>What are your </a:t>
            </a:r>
            <a:r>
              <a:rPr lang="en-US" b="1" dirty="0"/>
              <a:t>needs</a:t>
            </a:r>
            <a:r>
              <a:rPr lang="en-US" dirty="0"/>
              <a:t> regarding SBE/ESCET (new functionality, support, education, training, …)?</a:t>
            </a:r>
          </a:p>
          <a:p>
            <a:pPr marL="569913" lvl="1" indent="-342900">
              <a:buFont typeface="+mj-lt"/>
              <a:buAutoNum type="arabicPeriod" startAt="4"/>
            </a:pPr>
            <a:r>
              <a:rPr lang="en-US" dirty="0"/>
              <a:t>How can we as a community take these </a:t>
            </a:r>
            <a:r>
              <a:rPr lang="en-US" b="1" dirty="0"/>
              <a:t>next steps</a:t>
            </a:r>
            <a:r>
              <a:rPr lang="en-US" dirty="0"/>
              <a:t>?</a:t>
            </a:r>
          </a:p>
          <a:p>
            <a:endParaRPr lang="en-US" dirty="0"/>
          </a:p>
        </p:txBody>
      </p:sp>
      <p:sp>
        <p:nvSpPr>
          <p:cNvPr id="4" name="Title 3">
            <a:extLst>
              <a:ext uri="{FF2B5EF4-FFF2-40B4-BE49-F238E27FC236}">
                <a16:creationId xmlns:a16="http://schemas.microsoft.com/office/drawing/2014/main" id="{01BA17F6-5CB5-459C-AEDC-30D38D72CF44}"/>
              </a:ext>
            </a:extLst>
          </p:cNvPr>
          <p:cNvSpPr>
            <a:spLocks noGrp="1"/>
          </p:cNvSpPr>
          <p:nvPr>
            <p:ph type="title"/>
          </p:nvPr>
        </p:nvSpPr>
        <p:spPr/>
        <p:txBody>
          <a:bodyPr>
            <a:normAutofit/>
          </a:bodyPr>
          <a:lstStyle/>
          <a:p>
            <a:r>
              <a:rPr lang="en-US" dirty="0"/>
              <a:t>Community discussion</a:t>
            </a:r>
          </a:p>
        </p:txBody>
      </p:sp>
    </p:spTree>
    <p:extLst>
      <p:ext uri="{BB962C8B-B14F-4D97-AF65-F5344CB8AC3E}">
        <p14:creationId xmlns:p14="http://schemas.microsoft.com/office/powerpoint/2010/main" val="145340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6F2B1-C643-4BF2-AAB3-238EA85A7CE9}"/>
              </a:ext>
            </a:extLst>
          </p:cNvPr>
          <p:cNvSpPr>
            <a:spLocks noGrp="1"/>
          </p:cNvSpPr>
          <p:nvPr>
            <p:ph type="sldNum" sz="quarter" idx="12"/>
          </p:nvPr>
        </p:nvSpPr>
        <p:spPr/>
        <p:txBody>
          <a:bodyPr/>
          <a:lstStyle/>
          <a:p>
            <a:fld id="{9C59798B-84E5-F441-8110-84C3B6182022}" type="slidenum">
              <a:rPr lang="nl-NL" smtClean="0"/>
              <a:pPr/>
              <a:t>17</a:t>
            </a:fld>
            <a:endParaRPr lang="nl-NL"/>
          </a:p>
        </p:txBody>
      </p:sp>
      <p:sp>
        <p:nvSpPr>
          <p:cNvPr id="3" name="Content Placeholder 2">
            <a:extLst>
              <a:ext uri="{FF2B5EF4-FFF2-40B4-BE49-F238E27FC236}">
                <a16:creationId xmlns:a16="http://schemas.microsoft.com/office/drawing/2014/main" id="{E4BE8CA7-F8E4-416B-9F43-1043600A1953}"/>
              </a:ext>
            </a:extLst>
          </p:cNvPr>
          <p:cNvSpPr>
            <a:spLocks noGrp="1"/>
          </p:cNvSpPr>
          <p:nvPr>
            <p:ph sz="quarter" idx="13"/>
          </p:nvPr>
        </p:nvSpPr>
        <p:spPr/>
        <p:txBody>
          <a:bodyPr/>
          <a:lstStyle/>
          <a:p>
            <a:r>
              <a:rPr lang="en-US" dirty="0"/>
              <a:t>Questions</a:t>
            </a:r>
          </a:p>
          <a:p>
            <a:pPr marL="569913" lvl="1" indent="-342900">
              <a:buFont typeface="Arial" panose="020B0604020202020204" pitchFamily="34" charset="0"/>
              <a:buChar char="•"/>
            </a:pPr>
            <a:r>
              <a:rPr lang="en-US" dirty="0"/>
              <a:t>Was this meeting </a:t>
            </a:r>
            <a:r>
              <a:rPr lang="en-US" b="1" dirty="0"/>
              <a:t>useful</a:t>
            </a:r>
            <a:r>
              <a:rPr lang="en-US" dirty="0"/>
              <a:t> for you?</a:t>
            </a:r>
          </a:p>
          <a:p>
            <a:pPr marL="569913" lvl="1" indent="-342900">
              <a:buFont typeface="Arial" panose="020B0604020202020204" pitchFamily="34" charset="0"/>
              <a:buChar char="•"/>
            </a:pPr>
            <a:r>
              <a:rPr lang="en-US" b="1" dirty="0"/>
              <a:t>How often </a:t>
            </a:r>
            <a:r>
              <a:rPr lang="en-US" dirty="0"/>
              <a:t>should we have community meetings?</a:t>
            </a:r>
          </a:p>
          <a:p>
            <a:pPr marL="569913" lvl="1" indent="-342900">
              <a:buFont typeface="Arial" panose="020B0604020202020204" pitchFamily="34" charset="0"/>
              <a:buChar char="•"/>
            </a:pPr>
            <a:r>
              <a:rPr lang="en-US" dirty="0"/>
              <a:t>What is a good </a:t>
            </a:r>
            <a:r>
              <a:rPr lang="en-US" b="1" dirty="0"/>
              <a:t>topic</a:t>
            </a:r>
            <a:r>
              <a:rPr lang="en-US" dirty="0"/>
              <a:t> for the next community meeting?</a:t>
            </a:r>
          </a:p>
          <a:p>
            <a:pPr marL="342900" indent="-342900">
              <a:buFont typeface="Arial" panose="020B0604020202020204" pitchFamily="34" charset="0"/>
              <a:buChar char="•"/>
            </a:pPr>
            <a:endParaRPr lang="en-US" dirty="0"/>
          </a:p>
        </p:txBody>
      </p:sp>
      <p:sp>
        <p:nvSpPr>
          <p:cNvPr id="4" name="Title 3">
            <a:extLst>
              <a:ext uri="{FF2B5EF4-FFF2-40B4-BE49-F238E27FC236}">
                <a16:creationId xmlns:a16="http://schemas.microsoft.com/office/drawing/2014/main" id="{01BA17F6-5CB5-459C-AEDC-30D38D72CF44}"/>
              </a:ext>
            </a:extLst>
          </p:cNvPr>
          <p:cNvSpPr>
            <a:spLocks noGrp="1"/>
          </p:cNvSpPr>
          <p:nvPr>
            <p:ph type="title"/>
          </p:nvPr>
        </p:nvSpPr>
        <p:spPr/>
        <p:txBody>
          <a:bodyPr>
            <a:normAutofit/>
          </a:bodyPr>
          <a:lstStyle/>
          <a:p>
            <a:r>
              <a:rPr lang="en-US" dirty="0"/>
              <a:t>Roundup</a:t>
            </a:r>
          </a:p>
        </p:txBody>
      </p:sp>
    </p:spTree>
    <p:extLst>
      <p:ext uri="{BB962C8B-B14F-4D97-AF65-F5344CB8AC3E}">
        <p14:creationId xmlns:p14="http://schemas.microsoft.com/office/powerpoint/2010/main" val="20930920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E0596A7-7AFE-4374-9707-51B0298CE6EA}"/>
              </a:ext>
            </a:extLst>
          </p:cNvPr>
          <p:cNvSpPr txBox="1"/>
          <p:nvPr/>
        </p:nvSpPr>
        <p:spPr>
          <a:xfrm>
            <a:off x="1" y="4906506"/>
            <a:ext cx="6429374" cy="1031051"/>
          </a:xfrm>
          <a:prstGeom prst="rect">
            <a:avLst/>
          </a:prstGeom>
          <a:noFill/>
          <a:effectLst>
            <a:outerShdw blurRad="50800" dist="38100" dir="2700000" algn="tl" rotWithShape="0">
              <a:prstClr val="black">
                <a:alpha val="40000"/>
              </a:prstClr>
            </a:outerShdw>
          </a:effectLst>
        </p:spPr>
        <p:txBody>
          <a:bodyPr wrap="square" rtlCol="0">
            <a:spAutoFit/>
          </a:bodyPr>
          <a:lstStyle/>
          <a:p>
            <a:pPr algn="just"/>
            <a:r>
              <a:rPr lang="en-US" sz="1400" b="0" i="0" dirty="0">
                <a:solidFill>
                  <a:schemeClr val="bg1"/>
                </a:solidFill>
                <a:effectLst/>
                <a:latin typeface="system-ui"/>
              </a:rPr>
              <a:t>Eclipse ESCET and ESCET are trademarks of the Eclipse Foundation. Eclipse and the Eclipse Logo are registered trademarks of the Eclipse Foundation. Other names may be trademarks of their respective owners.</a:t>
            </a:r>
          </a:p>
          <a:p>
            <a:pPr algn="just"/>
            <a:endParaRPr lang="en-US" sz="400" dirty="0">
              <a:solidFill>
                <a:schemeClr val="bg1"/>
              </a:solidFill>
              <a:latin typeface="system-ui"/>
            </a:endParaRPr>
          </a:p>
          <a:p>
            <a:pPr algn="just"/>
            <a:r>
              <a:rPr lang="en-US" sz="1400" b="0" i="0" dirty="0">
                <a:solidFill>
                  <a:schemeClr val="bg1"/>
                </a:solidFill>
                <a:effectLst/>
                <a:latin typeface="system-ui"/>
              </a:rPr>
              <a:t>Copyright (c) 2010, 2022 Contributors to the Eclipse Foundation.</a:t>
            </a:r>
          </a:p>
        </p:txBody>
      </p:sp>
      <p:sp>
        <p:nvSpPr>
          <p:cNvPr id="11" name="Title 4">
            <a:extLst>
              <a:ext uri="{FF2B5EF4-FFF2-40B4-BE49-F238E27FC236}">
                <a16:creationId xmlns:a16="http://schemas.microsoft.com/office/drawing/2014/main" id="{FFC3FC92-14B4-43E3-A907-48FF353AB2EA}"/>
              </a:ext>
            </a:extLst>
          </p:cNvPr>
          <p:cNvSpPr>
            <a:spLocks noGrp="1"/>
          </p:cNvSpPr>
          <p:nvPr>
            <p:ph type="title"/>
          </p:nvPr>
        </p:nvSpPr>
        <p:spPr>
          <a:xfrm>
            <a:off x="527050" y="2196269"/>
            <a:ext cx="10515600" cy="1486731"/>
          </a:xfrm>
          <a:effectLst>
            <a:outerShdw blurRad="50800" dist="38100" dir="2700000" algn="tl" rotWithShape="0">
              <a:prstClr val="black">
                <a:alpha val="40000"/>
              </a:prstClr>
            </a:outerShdw>
          </a:effectLst>
        </p:spPr>
        <p:txBody>
          <a:bodyPr vert="horz" lIns="0" tIns="0" rIns="0" bIns="0" rtlCol="0">
            <a:noAutofit/>
          </a:bodyPr>
          <a:lstStyle/>
          <a:p>
            <a:pPr>
              <a:spcBef>
                <a:spcPts val="1000"/>
              </a:spcBef>
              <a:buFont typeface="Arial"/>
            </a:pPr>
            <a:r>
              <a:rPr lang="en-US" sz="4100" dirty="0">
                <a:effectLst>
                  <a:outerShdw blurRad="50800" dist="38100" dir="2700000" algn="tl" rotWithShape="0">
                    <a:prstClr val="black">
                      <a:alpha val="40000"/>
                    </a:prstClr>
                  </a:outerShdw>
                </a:effectLst>
                <a:ea typeface="+mn-ea"/>
                <a:cs typeface="+mn-cs"/>
              </a:rPr>
              <a:t>Thanks for joining!</a:t>
            </a:r>
            <a:br>
              <a:rPr lang="en-US" sz="4100" dirty="0">
                <a:effectLst>
                  <a:outerShdw blurRad="50800" dist="38100" dir="2700000" algn="tl" rotWithShape="0">
                    <a:prstClr val="black">
                      <a:alpha val="40000"/>
                    </a:prstClr>
                  </a:outerShdw>
                </a:effectLst>
                <a:ea typeface="+mn-ea"/>
                <a:cs typeface="+mn-cs"/>
              </a:rPr>
            </a:br>
            <a:br>
              <a:rPr lang="en-US" sz="4100" dirty="0">
                <a:effectLst>
                  <a:outerShdw blurRad="50800" dist="38100" dir="2700000" algn="tl" rotWithShape="0">
                    <a:prstClr val="black">
                      <a:alpha val="40000"/>
                    </a:prstClr>
                  </a:outerShdw>
                </a:effectLst>
                <a:ea typeface="+mn-ea"/>
                <a:cs typeface="+mn-cs"/>
              </a:rPr>
            </a:br>
            <a:r>
              <a:rPr lang="en-US" sz="4100" dirty="0">
                <a:effectLst>
                  <a:outerShdw blurRad="50800" dist="38100" dir="2700000" algn="tl" rotWithShape="0">
                    <a:prstClr val="black">
                      <a:alpha val="40000"/>
                    </a:prstClr>
                  </a:outerShdw>
                </a:effectLst>
                <a:ea typeface="+mn-ea"/>
                <a:cs typeface="+mn-cs"/>
              </a:rPr>
              <a:t>We hope to see you again next time</a:t>
            </a:r>
            <a:br>
              <a:rPr lang="en-US" sz="4100" dirty="0">
                <a:effectLst>
                  <a:outerShdw blurRad="50800" dist="38100" dir="2700000" algn="tl" rotWithShape="0">
                    <a:prstClr val="black">
                      <a:alpha val="40000"/>
                    </a:prstClr>
                  </a:outerShdw>
                </a:effectLst>
                <a:ea typeface="+mn-ea"/>
                <a:cs typeface="+mn-cs"/>
              </a:rPr>
            </a:br>
            <a:endParaRPr lang="en-US" sz="4100" dirty="0">
              <a:effectLst>
                <a:outerShdw blurRad="50800" dist="38100" dir="2700000" algn="tl" rotWithShape="0">
                  <a:prstClr val="black">
                    <a:alpha val="40000"/>
                  </a:prstClr>
                </a:outerShdw>
              </a:effectLst>
              <a:ea typeface="+mn-ea"/>
              <a:cs typeface="+mn-cs"/>
            </a:endParaRPr>
          </a:p>
        </p:txBody>
      </p:sp>
    </p:spTree>
    <p:extLst>
      <p:ext uri="{BB962C8B-B14F-4D97-AF65-F5344CB8AC3E}">
        <p14:creationId xmlns:p14="http://schemas.microsoft.com/office/powerpoint/2010/main" val="1866643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22F213-4EF4-4EC7-BF79-9784E9C62756}"/>
              </a:ext>
            </a:extLst>
          </p:cNvPr>
          <p:cNvSpPr>
            <a:spLocks noGrp="1"/>
          </p:cNvSpPr>
          <p:nvPr>
            <p:ph type="sldNum" sz="quarter" idx="12"/>
          </p:nvPr>
        </p:nvSpPr>
        <p:spPr/>
        <p:txBody>
          <a:bodyPr/>
          <a:lstStyle/>
          <a:p>
            <a:fld id="{9C59798B-84E5-F441-8110-84C3B6182022}" type="slidenum">
              <a:rPr lang="nl-NL" smtClean="0"/>
              <a:pPr/>
              <a:t>2</a:t>
            </a:fld>
            <a:endParaRPr lang="nl-NL"/>
          </a:p>
        </p:txBody>
      </p:sp>
      <p:sp>
        <p:nvSpPr>
          <p:cNvPr id="3" name="Content Placeholder 2">
            <a:extLst>
              <a:ext uri="{FF2B5EF4-FFF2-40B4-BE49-F238E27FC236}">
                <a16:creationId xmlns:a16="http://schemas.microsoft.com/office/drawing/2014/main" id="{0F35D1C4-43EB-4D7C-A961-4C693F8458D0}"/>
              </a:ext>
            </a:extLst>
          </p:cNvPr>
          <p:cNvSpPr>
            <a:spLocks noGrp="1"/>
          </p:cNvSpPr>
          <p:nvPr>
            <p:ph sz="quarter" idx="13"/>
          </p:nvPr>
        </p:nvSpPr>
        <p:spPr/>
        <p:txBody>
          <a:bodyPr/>
          <a:lstStyle/>
          <a:p>
            <a:pPr marL="457200" indent="-457200" defTabSz="763588">
              <a:buFont typeface="+mj-lt"/>
              <a:buAutoNum type="arabicPeriod"/>
            </a:pPr>
            <a:r>
              <a:rPr lang="en-US" dirty="0"/>
              <a:t>10:00 – 10:30	Introduction to Eclipse ESCET and Synthesis-Based Engineering (SBE)</a:t>
            </a:r>
          </a:p>
          <a:p>
            <a:pPr lvl="1" indent="0" defTabSz="763588">
              <a:buNone/>
            </a:pPr>
            <a:r>
              <a:rPr lang="en-US" b="0" i="1" dirty="0"/>
              <a:t>			Dennis Hendriks, Eclipse ESCET project lead, ESI (TNO) / Radboud University</a:t>
            </a:r>
          </a:p>
          <a:p>
            <a:pPr marL="457200" indent="-457200" defTabSz="763588">
              <a:buFont typeface="+mj-lt"/>
              <a:buAutoNum type="arabicPeriod"/>
            </a:pPr>
            <a:endParaRPr lang="en-US" dirty="0"/>
          </a:p>
          <a:p>
            <a:pPr marL="457200" indent="-457200" defTabSz="763588">
              <a:buFont typeface="+mj-lt"/>
              <a:buAutoNum type="arabicPeriod"/>
            </a:pPr>
            <a:r>
              <a:rPr lang="en-US" dirty="0"/>
              <a:t>10:30 – 11:00	Eclipse ESCET and SBE at Rijkswaterstaat</a:t>
            </a:r>
          </a:p>
          <a:p>
            <a:pPr lvl="1" indent="0" defTabSz="763588">
              <a:buNone/>
            </a:pPr>
            <a:r>
              <a:rPr lang="en-US" i="1" dirty="0"/>
              <a:t>			</a:t>
            </a:r>
            <a:r>
              <a:rPr lang="en-US" b="0" i="1" dirty="0">
                <a:effectLst/>
                <a:latin typeface="Calibri" panose="020F0502020204030204" pitchFamily="34" charset="0"/>
              </a:rPr>
              <a:t>Harry </a:t>
            </a:r>
            <a:r>
              <a:rPr lang="en-US" b="0" i="1" dirty="0" err="1">
                <a:effectLst/>
                <a:latin typeface="Calibri" panose="020F0502020204030204" pitchFamily="34" charset="0"/>
              </a:rPr>
              <a:t>Lammeretz</a:t>
            </a:r>
            <a:r>
              <a:rPr lang="en-US" b="0" i="1" dirty="0">
                <a:effectLst/>
                <a:latin typeface="Calibri" panose="020F0502020204030204" pitchFamily="34" charset="0"/>
              </a:rPr>
              <a:t>, Rijkswaterstaat</a:t>
            </a:r>
            <a:endParaRPr lang="en-US" i="1" dirty="0"/>
          </a:p>
          <a:p>
            <a:pPr marL="457200" indent="-457200" defTabSz="763588">
              <a:buFont typeface="+mj-lt"/>
              <a:buAutoNum type="arabicPeriod"/>
            </a:pPr>
            <a:endParaRPr lang="en-US" dirty="0"/>
          </a:p>
          <a:p>
            <a:pPr marL="457200" indent="-457200" defTabSz="763588">
              <a:buFont typeface="+mj-lt"/>
              <a:buAutoNum type="arabicPeriod"/>
            </a:pPr>
            <a:r>
              <a:rPr lang="en-US" dirty="0"/>
              <a:t>11:00 – 11:50	Community discussion</a:t>
            </a:r>
          </a:p>
          <a:p>
            <a:pPr marL="457200" indent="-457200" defTabSz="763588">
              <a:buFont typeface="+mj-lt"/>
              <a:buAutoNum type="arabicPeriod"/>
            </a:pPr>
            <a:endParaRPr lang="en-US" dirty="0"/>
          </a:p>
          <a:p>
            <a:pPr marL="457200" indent="-457200" defTabSz="763588">
              <a:buFont typeface="+mj-lt"/>
              <a:buAutoNum type="arabicPeriod"/>
            </a:pPr>
            <a:r>
              <a:rPr lang="en-US" dirty="0"/>
              <a:t>11:50 – 12:00	Roundup</a:t>
            </a:r>
          </a:p>
        </p:txBody>
      </p:sp>
      <p:sp>
        <p:nvSpPr>
          <p:cNvPr id="4" name="Title 3">
            <a:extLst>
              <a:ext uri="{FF2B5EF4-FFF2-40B4-BE49-F238E27FC236}">
                <a16:creationId xmlns:a16="http://schemas.microsoft.com/office/drawing/2014/main" id="{29ADED9D-33D9-432F-ACD8-7B236E61DE2D}"/>
              </a:ext>
            </a:extLst>
          </p:cNvPr>
          <p:cNvSpPr>
            <a:spLocks noGrp="1"/>
          </p:cNvSpPr>
          <p:nvPr>
            <p:ph type="title"/>
          </p:nvPr>
        </p:nvSpPr>
        <p:spPr/>
        <p:txBody>
          <a:bodyPr/>
          <a:lstStyle/>
          <a:p>
            <a:r>
              <a:rPr lang="en-US" dirty="0"/>
              <a:t>Meeting agenda</a:t>
            </a:r>
          </a:p>
        </p:txBody>
      </p:sp>
    </p:spTree>
    <p:extLst>
      <p:ext uri="{BB962C8B-B14F-4D97-AF65-F5344CB8AC3E}">
        <p14:creationId xmlns:p14="http://schemas.microsoft.com/office/powerpoint/2010/main" val="1095125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229816-022E-48EA-A337-11F39E39556B}"/>
              </a:ext>
            </a:extLst>
          </p:cNvPr>
          <p:cNvSpPr>
            <a:spLocks noGrp="1"/>
          </p:cNvSpPr>
          <p:nvPr>
            <p:ph type="title"/>
          </p:nvPr>
        </p:nvSpPr>
        <p:spPr>
          <a:xfrm>
            <a:off x="527050" y="2196269"/>
            <a:ext cx="10515600" cy="1486731"/>
          </a:xfrm>
          <a:effectLst>
            <a:outerShdw blurRad="50800" dist="38100" dir="2700000" algn="tl" rotWithShape="0">
              <a:prstClr val="black">
                <a:alpha val="40000"/>
              </a:prstClr>
            </a:outerShdw>
          </a:effectLst>
        </p:spPr>
        <p:txBody>
          <a:bodyPr vert="horz" lIns="0" tIns="0" rIns="0" bIns="0" rtlCol="0">
            <a:noAutofit/>
          </a:bodyPr>
          <a:lstStyle/>
          <a:p>
            <a:pPr>
              <a:spcBef>
                <a:spcPts val="1000"/>
              </a:spcBef>
              <a:buFont typeface="Arial"/>
            </a:pPr>
            <a:r>
              <a:rPr lang="en-US" sz="4100" dirty="0">
                <a:effectLst>
                  <a:outerShdw blurRad="50800" dist="38100" dir="2700000" algn="tl" rotWithShape="0">
                    <a:prstClr val="black">
                      <a:alpha val="40000"/>
                    </a:prstClr>
                  </a:outerShdw>
                </a:effectLst>
                <a:ea typeface="+mn-ea"/>
                <a:cs typeface="+mn-cs"/>
              </a:rPr>
              <a:t>Introduction to Eclipse ESCET and</a:t>
            </a:r>
            <a:br>
              <a:rPr lang="en-US" sz="4100" dirty="0">
                <a:effectLst>
                  <a:outerShdw blurRad="50800" dist="38100" dir="2700000" algn="tl" rotWithShape="0">
                    <a:prstClr val="black">
                      <a:alpha val="40000"/>
                    </a:prstClr>
                  </a:outerShdw>
                </a:effectLst>
                <a:ea typeface="+mn-ea"/>
                <a:cs typeface="+mn-cs"/>
              </a:rPr>
            </a:br>
            <a:r>
              <a:rPr lang="en-US" sz="4100" dirty="0">
                <a:effectLst>
                  <a:outerShdw blurRad="50800" dist="38100" dir="2700000" algn="tl" rotWithShape="0">
                    <a:prstClr val="black">
                      <a:alpha val="40000"/>
                    </a:prstClr>
                  </a:outerShdw>
                </a:effectLst>
                <a:ea typeface="+mn-ea"/>
                <a:cs typeface="+mn-cs"/>
              </a:rPr>
              <a:t>Synthesis-Based Engineering (SBE)</a:t>
            </a:r>
            <a:br>
              <a:rPr lang="en-US" sz="4100" dirty="0">
                <a:effectLst>
                  <a:outerShdw blurRad="50800" dist="38100" dir="2700000" algn="tl" rotWithShape="0">
                    <a:prstClr val="black">
                      <a:alpha val="40000"/>
                    </a:prstClr>
                  </a:outerShdw>
                </a:effectLst>
                <a:ea typeface="+mn-ea"/>
                <a:cs typeface="+mn-cs"/>
              </a:rPr>
            </a:br>
            <a:br>
              <a:rPr lang="en-US" sz="4100" dirty="0">
                <a:effectLst>
                  <a:outerShdw blurRad="50800" dist="38100" dir="2700000" algn="tl" rotWithShape="0">
                    <a:prstClr val="black">
                      <a:alpha val="40000"/>
                    </a:prstClr>
                  </a:outerShdw>
                </a:effectLst>
                <a:ea typeface="+mn-ea"/>
                <a:cs typeface="+mn-cs"/>
              </a:rPr>
            </a:br>
            <a:endParaRPr lang="en-US" sz="4100" dirty="0">
              <a:effectLst>
                <a:outerShdw blurRad="50800" dist="38100" dir="2700000" algn="tl" rotWithShape="0">
                  <a:prstClr val="black">
                    <a:alpha val="40000"/>
                  </a:prstClr>
                </a:outerShdw>
              </a:effectLst>
              <a:ea typeface="+mn-ea"/>
              <a:cs typeface="+mn-cs"/>
            </a:endParaRPr>
          </a:p>
        </p:txBody>
      </p:sp>
      <p:sp>
        <p:nvSpPr>
          <p:cNvPr id="8" name="Text Placeholder 7">
            <a:extLst>
              <a:ext uri="{FF2B5EF4-FFF2-40B4-BE49-F238E27FC236}">
                <a16:creationId xmlns:a16="http://schemas.microsoft.com/office/drawing/2014/main" id="{EF679683-C45F-42F6-B526-25D18FBB0CCE}"/>
              </a:ext>
            </a:extLst>
          </p:cNvPr>
          <p:cNvSpPr>
            <a:spLocks noGrp="1"/>
          </p:cNvSpPr>
          <p:nvPr>
            <p:ph type="body" sz="quarter" idx="10"/>
          </p:nvPr>
        </p:nvSpPr>
        <p:spPr>
          <a:effectLst>
            <a:outerShdw blurRad="50800" dist="38100" dir="2700000" algn="tl" rotWithShape="0">
              <a:prstClr val="black">
                <a:alpha val="40000"/>
              </a:prstClr>
            </a:outerShdw>
          </a:effectLst>
        </p:spPr>
        <p:txBody>
          <a:bodyPr vert="horz" lIns="0" tIns="0" rIns="0" bIns="0" rtlCol="0">
            <a:normAutofit/>
          </a:bodyPr>
          <a:lstStyle/>
          <a:p>
            <a:r>
              <a:rPr lang="en-US" dirty="0">
                <a:effectLst>
                  <a:outerShdw blurRad="50800" dist="38100" dir="2700000" algn="tl" rotWithShape="0">
                    <a:prstClr val="black">
                      <a:alpha val="40000"/>
                    </a:prstClr>
                  </a:outerShdw>
                </a:effectLst>
              </a:rPr>
              <a:t>Dennis Hendriks</a:t>
            </a:r>
          </a:p>
          <a:p>
            <a:r>
              <a:rPr lang="en-US" dirty="0">
                <a:effectLst>
                  <a:outerShdw blurRad="50800" dist="38100" dir="2700000" algn="tl" rotWithShape="0">
                    <a:prstClr val="black">
                      <a:alpha val="40000"/>
                    </a:prstClr>
                  </a:outerShdw>
                </a:effectLst>
              </a:rPr>
              <a:t>Eclipse ESCET project lead</a:t>
            </a:r>
          </a:p>
          <a:p>
            <a:r>
              <a:rPr lang="en-US" dirty="0">
                <a:effectLst>
                  <a:outerShdw blurRad="50800" dist="38100" dir="2700000" algn="tl" rotWithShape="0">
                    <a:prstClr val="black">
                      <a:alpha val="40000"/>
                    </a:prstClr>
                  </a:outerShdw>
                </a:effectLst>
              </a:rPr>
              <a:t>ESI (TNO) / Radboud University</a:t>
            </a:r>
          </a:p>
        </p:txBody>
      </p:sp>
    </p:spTree>
    <p:extLst>
      <p:ext uri="{BB962C8B-B14F-4D97-AF65-F5344CB8AC3E}">
        <p14:creationId xmlns:p14="http://schemas.microsoft.com/office/powerpoint/2010/main" val="27469088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25D71A-2B63-414C-9AA4-6B2ED993243E}"/>
              </a:ext>
            </a:extLst>
          </p:cNvPr>
          <p:cNvSpPr>
            <a:spLocks noGrp="1"/>
          </p:cNvSpPr>
          <p:nvPr>
            <p:ph type="sldNum" sz="quarter" idx="12"/>
          </p:nvPr>
        </p:nvSpPr>
        <p:spPr/>
        <p:txBody>
          <a:bodyPr/>
          <a:lstStyle/>
          <a:p>
            <a:fld id="{9C59798B-84E5-F441-8110-84C3B6182022}" type="slidenum">
              <a:rPr lang="nl-NL" smtClean="0"/>
              <a:pPr/>
              <a:t>4</a:t>
            </a:fld>
            <a:endParaRPr lang="nl-NL"/>
          </a:p>
        </p:txBody>
      </p:sp>
      <p:sp>
        <p:nvSpPr>
          <p:cNvPr id="3" name="Content Placeholder 2">
            <a:extLst>
              <a:ext uri="{FF2B5EF4-FFF2-40B4-BE49-F238E27FC236}">
                <a16:creationId xmlns:a16="http://schemas.microsoft.com/office/drawing/2014/main" id="{AF67AC60-5FAE-4332-9FA4-46A0A4257E48}"/>
              </a:ext>
            </a:extLst>
          </p:cNvPr>
          <p:cNvSpPr>
            <a:spLocks noGrp="1"/>
          </p:cNvSpPr>
          <p:nvPr>
            <p:ph sz="quarter" idx="13"/>
          </p:nvPr>
        </p:nvSpPr>
        <p:spPr>
          <a:xfrm>
            <a:off x="1127125" y="1916114"/>
            <a:ext cx="7700682" cy="4344984"/>
          </a:xfrm>
        </p:spPr>
        <p:txBody>
          <a:bodyPr/>
          <a:lstStyle/>
          <a:p>
            <a:r>
              <a:rPr lang="en-US" dirty="0"/>
              <a:t>Eclipse ESCET</a:t>
            </a:r>
          </a:p>
          <a:p>
            <a:pPr marL="1028700" lvl="1" indent="-342900">
              <a:buFont typeface="Arial" panose="020B0604020202020204" pitchFamily="34" charset="0"/>
              <a:buChar char="•"/>
            </a:pPr>
            <a:r>
              <a:rPr lang="en-US" dirty="0"/>
              <a:t>Eclipse Supervisory Control Engineering Toolkit</a:t>
            </a:r>
          </a:p>
          <a:p>
            <a:pPr marL="1028700" lvl="1" indent="-342900">
              <a:buFont typeface="Arial" panose="020B0604020202020204" pitchFamily="34" charset="0"/>
              <a:buChar char="•"/>
            </a:pPr>
            <a:endParaRPr lang="en-US" dirty="0"/>
          </a:p>
          <a:p>
            <a:r>
              <a:rPr lang="en-US" dirty="0"/>
              <a:t>Cyber-physical systems</a:t>
            </a:r>
          </a:p>
          <a:p>
            <a:pPr marL="1028700" lvl="1" indent="-342900">
              <a:buFont typeface="Arial" panose="020B0604020202020204" pitchFamily="34" charset="0"/>
              <a:buChar char="•"/>
            </a:pPr>
            <a:r>
              <a:rPr lang="en-US" dirty="0"/>
              <a:t>E.g., X-ray/MRI systems, industrial printers, lithography systems, waterway locks, airport baggage handling systems</a:t>
            </a:r>
          </a:p>
          <a:p>
            <a:pPr marL="1028700" lvl="1" indent="-342900">
              <a:buFont typeface="Arial" panose="020B0604020202020204" pitchFamily="34" charset="0"/>
              <a:buChar char="•"/>
            </a:pPr>
            <a:r>
              <a:rPr lang="en-US" dirty="0"/>
              <a:t>More and more complexity</a:t>
            </a:r>
          </a:p>
          <a:p>
            <a:pPr marL="1028700" lvl="1" indent="-342900">
              <a:buFont typeface="Arial" panose="020B0604020202020204" pitchFamily="34" charset="0"/>
              <a:buChar char="•"/>
            </a:pPr>
            <a:r>
              <a:rPr lang="en-US" dirty="0"/>
              <a:t>More complex control software (the cyber part)</a:t>
            </a:r>
          </a:p>
          <a:p>
            <a:pPr marL="1028700" lvl="1" indent="-342900">
              <a:buFont typeface="Arial" panose="020B0604020202020204" pitchFamily="34" charset="0"/>
              <a:buChar char="•"/>
            </a:pPr>
            <a:endParaRPr lang="en-US" dirty="0"/>
          </a:p>
          <a:p>
            <a:r>
              <a:rPr lang="en-US" dirty="0"/>
              <a:t>Supervisory controllers</a:t>
            </a:r>
          </a:p>
          <a:p>
            <a:pPr marL="1028700" lvl="1" indent="-342900">
              <a:buFont typeface="Arial" panose="020B0604020202020204" pitchFamily="34" charset="0"/>
              <a:buChar char="•"/>
            </a:pPr>
            <a:r>
              <a:rPr lang="en-US" dirty="0"/>
              <a:t>Traditionally a layer above resource controllers</a:t>
            </a:r>
          </a:p>
          <a:p>
            <a:pPr marL="1028700" lvl="1" indent="-342900">
              <a:buFont typeface="Arial" panose="020B0604020202020204" pitchFamily="34" charset="0"/>
              <a:buChar char="•"/>
            </a:pPr>
            <a:r>
              <a:rPr lang="en-US" dirty="0"/>
              <a:t>Ensure correct and safe behavior</a:t>
            </a:r>
          </a:p>
          <a:p>
            <a:pPr marL="1028700" lvl="1" indent="-342900">
              <a:buFont typeface="Arial" panose="020B0604020202020204" pitchFamily="34" charset="0"/>
              <a:buChar char="•"/>
            </a:pPr>
            <a:r>
              <a:rPr lang="en-US" dirty="0"/>
              <a:t>Higher-level controllers control lower-level ones (layered system)</a:t>
            </a:r>
          </a:p>
          <a:p>
            <a:pPr marL="1028700" lvl="1" indent="-342900">
              <a:buFont typeface="Arial" panose="020B0604020202020204" pitchFamily="34" charset="0"/>
              <a:buChar char="•"/>
            </a:pPr>
            <a:endParaRPr lang="en-US" dirty="0"/>
          </a:p>
        </p:txBody>
      </p:sp>
      <p:sp>
        <p:nvSpPr>
          <p:cNvPr id="4" name="Title 3">
            <a:extLst>
              <a:ext uri="{FF2B5EF4-FFF2-40B4-BE49-F238E27FC236}">
                <a16:creationId xmlns:a16="http://schemas.microsoft.com/office/drawing/2014/main" id="{3B6A7AB3-0455-4D59-BA01-BD7998648BC3}"/>
              </a:ext>
            </a:extLst>
          </p:cNvPr>
          <p:cNvSpPr>
            <a:spLocks noGrp="1"/>
          </p:cNvSpPr>
          <p:nvPr>
            <p:ph type="title"/>
          </p:nvPr>
        </p:nvSpPr>
        <p:spPr/>
        <p:txBody>
          <a:bodyPr/>
          <a:lstStyle/>
          <a:p>
            <a:r>
              <a:rPr lang="en-US" dirty="0"/>
              <a:t>Supervisory control</a:t>
            </a:r>
          </a:p>
        </p:txBody>
      </p:sp>
      <p:pic>
        <p:nvPicPr>
          <p:cNvPr id="6" name="Picture 5">
            <a:extLst>
              <a:ext uri="{FF2B5EF4-FFF2-40B4-BE49-F238E27FC236}">
                <a16:creationId xmlns:a16="http://schemas.microsoft.com/office/drawing/2014/main" id="{9792FA74-810C-48D7-AF37-C71A5AA28A2A}"/>
              </a:ext>
            </a:extLst>
          </p:cNvPr>
          <p:cNvPicPr>
            <a:picLocks noChangeAspect="1"/>
          </p:cNvPicPr>
          <p:nvPr/>
        </p:nvPicPr>
        <p:blipFill>
          <a:blip r:embed="rId2"/>
          <a:stretch>
            <a:fillRect/>
          </a:stretch>
        </p:blipFill>
        <p:spPr>
          <a:xfrm>
            <a:off x="9046970" y="1936959"/>
            <a:ext cx="2646308" cy="4004590"/>
          </a:xfrm>
          <a:prstGeom prst="rect">
            <a:avLst/>
          </a:prstGeom>
        </p:spPr>
      </p:pic>
    </p:spTree>
    <p:extLst>
      <p:ext uri="{BB962C8B-B14F-4D97-AF65-F5344CB8AC3E}">
        <p14:creationId xmlns:p14="http://schemas.microsoft.com/office/powerpoint/2010/main" val="1745195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07F73F-1D5B-40C3-80DD-1746FD31DD95}"/>
              </a:ext>
            </a:extLst>
          </p:cNvPr>
          <p:cNvSpPr>
            <a:spLocks noGrp="1"/>
          </p:cNvSpPr>
          <p:nvPr>
            <p:ph type="sldNum" sz="quarter" idx="12"/>
          </p:nvPr>
        </p:nvSpPr>
        <p:spPr>
          <a:xfrm>
            <a:off x="11159471" y="6361169"/>
            <a:ext cx="268887" cy="160337"/>
          </a:xfrm>
        </p:spPr>
        <p:txBody>
          <a:bodyPr/>
          <a:lstStyle/>
          <a:p>
            <a:fld id="{9C59798B-84E5-F441-8110-84C3B6182022}" type="slidenum">
              <a:rPr lang="nl-NL" smtClean="0"/>
              <a:pPr/>
              <a:t>5</a:t>
            </a:fld>
            <a:endParaRPr lang="nl-NL"/>
          </a:p>
        </p:txBody>
      </p:sp>
      <p:sp>
        <p:nvSpPr>
          <p:cNvPr id="2" name="Title 1">
            <a:extLst>
              <a:ext uri="{FF2B5EF4-FFF2-40B4-BE49-F238E27FC236}">
                <a16:creationId xmlns:a16="http://schemas.microsoft.com/office/drawing/2014/main" id="{7B249F18-BD8A-4AF7-8040-7C995A3D726C}"/>
              </a:ext>
            </a:extLst>
          </p:cNvPr>
          <p:cNvSpPr>
            <a:spLocks noGrp="1"/>
          </p:cNvSpPr>
          <p:nvPr>
            <p:ph type="title"/>
          </p:nvPr>
        </p:nvSpPr>
        <p:spPr>
          <a:xfrm>
            <a:off x="1127125" y="944563"/>
            <a:ext cx="10333038" cy="789557"/>
          </a:xfrm>
        </p:spPr>
        <p:txBody>
          <a:bodyPr>
            <a:normAutofit/>
          </a:bodyPr>
          <a:lstStyle/>
          <a:p>
            <a:r>
              <a:rPr lang="en-US" dirty="0"/>
              <a:t>Synthesis-Based Engineering (SBE) of supervisory controllers</a:t>
            </a:r>
          </a:p>
        </p:txBody>
      </p:sp>
      <p:graphicFrame>
        <p:nvGraphicFramePr>
          <p:cNvPr id="113" name="Content Placeholder 9">
            <a:extLst>
              <a:ext uri="{FF2B5EF4-FFF2-40B4-BE49-F238E27FC236}">
                <a16:creationId xmlns:a16="http://schemas.microsoft.com/office/drawing/2014/main" id="{3F16C4B8-F2B4-4EB3-B38B-3515AF4C6F0D}"/>
              </a:ext>
            </a:extLst>
          </p:cNvPr>
          <p:cNvGraphicFramePr>
            <a:graphicFrameLocks/>
          </p:cNvGraphicFramePr>
          <p:nvPr>
            <p:extLst>
              <p:ext uri="{D42A27DB-BD31-4B8C-83A1-F6EECF244321}">
                <p14:modId xmlns:p14="http://schemas.microsoft.com/office/powerpoint/2010/main" val="4032872930"/>
              </p:ext>
            </p:extLst>
          </p:nvPr>
        </p:nvGraphicFramePr>
        <p:xfrm>
          <a:off x="2567963" y="1938617"/>
          <a:ext cx="9467065" cy="640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4" name="TextBox 113">
            <a:extLst>
              <a:ext uri="{FF2B5EF4-FFF2-40B4-BE49-F238E27FC236}">
                <a16:creationId xmlns:a16="http://schemas.microsoft.com/office/drawing/2014/main" id="{91B32D3D-8715-44DB-A4E1-5295E33AC8DC}"/>
              </a:ext>
            </a:extLst>
          </p:cNvPr>
          <p:cNvSpPr txBox="1"/>
          <p:nvPr/>
        </p:nvSpPr>
        <p:spPr>
          <a:xfrm>
            <a:off x="183399" y="2682436"/>
            <a:ext cx="2294999" cy="548640"/>
          </a:xfrm>
          <a:prstGeom prst="rect">
            <a:avLst/>
          </a:prstGeom>
          <a:solidFill>
            <a:srgbClr val="00819B"/>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Requirements desig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115" name="TextBox 114">
            <a:extLst>
              <a:ext uri="{FF2B5EF4-FFF2-40B4-BE49-F238E27FC236}">
                <a16:creationId xmlns:a16="http://schemas.microsoft.com/office/drawing/2014/main" id="{3CC79FDF-5339-4942-8F68-17EC7C95726F}"/>
              </a:ext>
            </a:extLst>
          </p:cNvPr>
          <p:cNvSpPr txBox="1"/>
          <p:nvPr/>
        </p:nvSpPr>
        <p:spPr>
          <a:xfrm>
            <a:off x="183399" y="3319361"/>
            <a:ext cx="2294999" cy="548640"/>
          </a:xfrm>
          <a:prstGeom prst="rect">
            <a:avLst/>
          </a:prstGeom>
          <a:solidFill>
            <a:srgbClr val="00819B"/>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Controller design</a:t>
            </a:r>
          </a:p>
        </p:txBody>
      </p:sp>
      <p:sp>
        <p:nvSpPr>
          <p:cNvPr id="116" name="TextBox 115">
            <a:extLst>
              <a:ext uri="{FF2B5EF4-FFF2-40B4-BE49-F238E27FC236}">
                <a16:creationId xmlns:a16="http://schemas.microsoft.com/office/drawing/2014/main" id="{C4ABCF7D-EDDB-461D-8450-A5EF25EBF18F}"/>
              </a:ext>
            </a:extLst>
          </p:cNvPr>
          <p:cNvSpPr txBox="1"/>
          <p:nvPr/>
        </p:nvSpPr>
        <p:spPr>
          <a:xfrm>
            <a:off x="183399" y="3941153"/>
            <a:ext cx="2294999" cy="548640"/>
          </a:xfrm>
          <a:prstGeom prst="rect">
            <a:avLst/>
          </a:prstGeom>
          <a:solidFill>
            <a:srgbClr val="00819B"/>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Realization in softwar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implementation code)</a:t>
            </a:r>
          </a:p>
        </p:txBody>
      </p:sp>
      <p:sp>
        <p:nvSpPr>
          <p:cNvPr id="117" name="TextBox 116">
            <a:extLst>
              <a:ext uri="{FF2B5EF4-FFF2-40B4-BE49-F238E27FC236}">
                <a16:creationId xmlns:a16="http://schemas.microsoft.com/office/drawing/2014/main" id="{820E6D7A-85A9-4624-B183-4A5DDBEF622B}"/>
              </a:ext>
            </a:extLst>
          </p:cNvPr>
          <p:cNvSpPr txBox="1"/>
          <p:nvPr/>
        </p:nvSpPr>
        <p:spPr>
          <a:xfrm>
            <a:off x="183399" y="4562945"/>
            <a:ext cx="2294999" cy="548640"/>
          </a:xfrm>
          <a:prstGeom prst="rect">
            <a:avLst/>
          </a:prstGeom>
          <a:solidFill>
            <a:srgbClr val="00819B"/>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Verific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against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118" name="TextBox 117">
            <a:extLst>
              <a:ext uri="{FF2B5EF4-FFF2-40B4-BE49-F238E27FC236}">
                <a16:creationId xmlns:a16="http://schemas.microsoft.com/office/drawing/2014/main" id="{1B2CC3EA-8797-4763-8AA0-54AB787188B5}"/>
              </a:ext>
            </a:extLst>
          </p:cNvPr>
          <p:cNvSpPr txBox="1"/>
          <p:nvPr/>
        </p:nvSpPr>
        <p:spPr>
          <a:xfrm>
            <a:off x="183399" y="5193881"/>
            <a:ext cx="2294999" cy="548640"/>
          </a:xfrm>
          <a:prstGeom prst="rect">
            <a:avLst/>
          </a:prstGeom>
          <a:solidFill>
            <a:srgbClr val="00819B"/>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Valid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of requirements)</a:t>
            </a:r>
          </a:p>
        </p:txBody>
      </p:sp>
      <p:sp>
        <p:nvSpPr>
          <p:cNvPr id="119" name="TextBox 118">
            <a:extLst>
              <a:ext uri="{FF2B5EF4-FFF2-40B4-BE49-F238E27FC236}">
                <a16:creationId xmlns:a16="http://schemas.microsoft.com/office/drawing/2014/main" id="{030AB7BC-0DB6-4F80-A8C6-D4E5CFB09392}"/>
              </a:ext>
            </a:extLst>
          </p:cNvPr>
          <p:cNvSpPr txBox="1"/>
          <p:nvPr/>
        </p:nvSpPr>
        <p:spPr>
          <a:xfrm>
            <a:off x="2608481" y="2682436"/>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Document-based</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95000"/>
                  <a:lumOff val="5000"/>
                </a:prstClr>
              </a:solidFill>
              <a:effectLst/>
              <a:uLnTx/>
              <a:uFillTx/>
            </a:endParaRPr>
          </a:p>
        </p:txBody>
      </p:sp>
      <p:sp>
        <p:nvSpPr>
          <p:cNvPr id="120" name="TextBox 119">
            <a:extLst>
              <a:ext uri="{FF2B5EF4-FFF2-40B4-BE49-F238E27FC236}">
                <a16:creationId xmlns:a16="http://schemas.microsoft.com/office/drawing/2014/main" id="{08F4B89F-64AB-4A08-B61A-31C711123C31}"/>
              </a:ext>
            </a:extLst>
          </p:cNvPr>
          <p:cNvSpPr txBox="1"/>
          <p:nvPr/>
        </p:nvSpPr>
        <p:spPr>
          <a:xfrm>
            <a:off x="2608481" y="3319361"/>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Document-based</a:t>
            </a:r>
          </a:p>
        </p:txBody>
      </p:sp>
      <p:sp>
        <p:nvSpPr>
          <p:cNvPr id="121" name="TextBox 120">
            <a:extLst>
              <a:ext uri="{FF2B5EF4-FFF2-40B4-BE49-F238E27FC236}">
                <a16:creationId xmlns:a16="http://schemas.microsoft.com/office/drawing/2014/main" id="{895C541B-C269-4AC2-92E2-8015CDBF68A4}"/>
              </a:ext>
            </a:extLst>
          </p:cNvPr>
          <p:cNvSpPr txBox="1"/>
          <p:nvPr/>
        </p:nvSpPr>
        <p:spPr>
          <a:xfrm>
            <a:off x="2608481" y="3941153"/>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Traditional software engineering (coding)</a:t>
            </a:r>
          </a:p>
        </p:txBody>
      </p:sp>
      <p:sp>
        <p:nvSpPr>
          <p:cNvPr id="122" name="TextBox 121">
            <a:extLst>
              <a:ext uri="{FF2B5EF4-FFF2-40B4-BE49-F238E27FC236}">
                <a16:creationId xmlns:a16="http://schemas.microsoft.com/office/drawing/2014/main" id="{CBAC2C3E-3FAB-4EBD-B567-BBE0218E5D1E}"/>
              </a:ext>
            </a:extLst>
          </p:cNvPr>
          <p:cNvSpPr txBox="1"/>
          <p:nvPr/>
        </p:nvSpPr>
        <p:spPr>
          <a:xfrm>
            <a:off x="2608481" y="4562945"/>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Testing</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95000"/>
                  <a:lumOff val="5000"/>
                </a:prstClr>
              </a:solidFill>
              <a:effectLst/>
              <a:uLnTx/>
              <a:uFillTx/>
            </a:endParaRPr>
          </a:p>
        </p:txBody>
      </p:sp>
      <p:sp>
        <p:nvSpPr>
          <p:cNvPr id="123" name="TextBox 122">
            <a:extLst>
              <a:ext uri="{FF2B5EF4-FFF2-40B4-BE49-F238E27FC236}">
                <a16:creationId xmlns:a16="http://schemas.microsoft.com/office/drawing/2014/main" id="{3DF06EEE-2618-469A-BF46-B1330CECC05D}"/>
              </a:ext>
            </a:extLst>
          </p:cNvPr>
          <p:cNvSpPr txBox="1"/>
          <p:nvPr/>
        </p:nvSpPr>
        <p:spPr>
          <a:xfrm>
            <a:off x="2608481" y="5193881"/>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Testing</a:t>
            </a:r>
          </a:p>
        </p:txBody>
      </p:sp>
      <p:sp>
        <p:nvSpPr>
          <p:cNvPr id="124" name="TextBox 123">
            <a:extLst>
              <a:ext uri="{FF2B5EF4-FFF2-40B4-BE49-F238E27FC236}">
                <a16:creationId xmlns:a16="http://schemas.microsoft.com/office/drawing/2014/main" id="{B70B4FE1-5590-43F5-B90F-38F0DF5D0E1E}"/>
              </a:ext>
            </a:extLst>
          </p:cNvPr>
          <p:cNvSpPr txBox="1"/>
          <p:nvPr/>
        </p:nvSpPr>
        <p:spPr>
          <a:xfrm>
            <a:off x="4911777" y="2682436"/>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Document-based</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95000"/>
                  <a:lumOff val="5000"/>
                </a:prstClr>
              </a:solidFill>
              <a:effectLst/>
              <a:uLnTx/>
              <a:uFillTx/>
            </a:endParaRPr>
          </a:p>
        </p:txBody>
      </p:sp>
      <p:sp>
        <p:nvSpPr>
          <p:cNvPr id="125" name="TextBox 124">
            <a:extLst>
              <a:ext uri="{FF2B5EF4-FFF2-40B4-BE49-F238E27FC236}">
                <a16:creationId xmlns:a16="http://schemas.microsoft.com/office/drawing/2014/main" id="{CE35247C-1FB6-42B8-83BB-769E1C5586BB}"/>
              </a:ext>
            </a:extLst>
          </p:cNvPr>
          <p:cNvSpPr txBox="1"/>
          <p:nvPr/>
        </p:nvSpPr>
        <p:spPr>
          <a:xfrm>
            <a:off x="4911777" y="3319361"/>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95000"/>
                    <a:lumOff val="5000"/>
                  </a:prstClr>
                </a:solidFill>
                <a:effectLst/>
                <a:uLnTx/>
                <a:uFillTx/>
              </a:rPr>
              <a:t>Model-based (formal)</a:t>
            </a:r>
          </a:p>
        </p:txBody>
      </p:sp>
      <p:sp>
        <p:nvSpPr>
          <p:cNvPr id="126" name="TextBox 125">
            <a:extLst>
              <a:ext uri="{FF2B5EF4-FFF2-40B4-BE49-F238E27FC236}">
                <a16:creationId xmlns:a16="http://schemas.microsoft.com/office/drawing/2014/main" id="{D5C1B4B8-7435-4B3C-9EAF-9A2BE6F2DC98}"/>
              </a:ext>
            </a:extLst>
          </p:cNvPr>
          <p:cNvSpPr txBox="1"/>
          <p:nvPr/>
        </p:nvSpPr>
        <p:spPr>
          <a:xfrm>
            <a:off x="4911777" y="3941153"/>
            <a:ext cx="2201142" cy="548640"/>
          </a:xfrm>
          <a:prstGeom prst="rect">
            <a:avLst/>
          </a:prstGeom>
          <a:solidFill>
            <a:srgbClr val="FFFFFF">
              <a:lumMod val="95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95000"/>
                    <a:lumOff val="5000"/>
                  </a:prstClr>
                </a:solidFill>
                <a:effectLst/>
                <a:uLnTx/>
                <a:uFillTx/>
              </a:rPr>
              <a:t>Code generation</a:t>
            </a:r>
            <a:br>
              <a:rPr kumimoji="0" lang="en-US" sz="1400" b="1" i="0" u="none" strike="noStrike" kern="0" cap="none" spc="0" normalizeH="0" baseline="0" noProof="0" dirty="0">
                <a:ln>
                  <a:noFill/>
                </a:ln>
                <a:solidFill>
                  <a:prstClr val="black">
                    <a:lumMod val="95000"/>
                    <a:lumOff val="5000"/>
                  </a:prstClr>
                </a:solidFill>
                <a:effectLst/>
                <a:uLnTx/>
                <a:uFillTx/>
              </a:rPr>
            </a:br>
            <a:r>
              <a:rPr kumimoji="0" lang="en-US" sz="1400" b="1" i="0" u="none" strike="noStrike" kern="0" cap="none" spc="0" normalizeH="0" baseline="0" noProof="0" dirty="0">
                <a:ln>
                  <a:noFill/>
                </a:ln>
                <a:solidFill>
                  <a:prstClr val="black">
                    <a:lumMod val="95000"/>
                    <a:lumOff val="5000"/>
                  </a:prstClr>
                </a:solidFill>
                <a:effectLst/>
                <a:uLnTx/>
                <a:uFillTx/>
              </a:rPr>
              <a:t>(fault-free code)</a:t>
            </a:r>
          </a:p>
        </p:txBody>
      </p:sp>
      <p:sp>
        <p:nvSpPr>
          <p:cNvPr id="127" name="TextBox 126">
            <a:extLst>
              <a:ext uri="{FF2B5EF4-FFF2-40B4-BE49-F238E27FC236}">
                <a16:creationId xmlns:a16="http://schemas.microsoft.com/office/drawing/2014/main" id="{17B3DDF2-A45C-48A8-8D6E-3060B9740842}"/>
              </a:ext>
            </a:extLst>
          </p:cNvPr>
          <p:cNvSpPr txBox="1"/>
          <p:nvPr/>
        </p:nvSpPr>
        <p:spPr>
          <a:xfrm>
            <a:off x="4911777" y="4562945"/>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Testing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95000"/>
                    <a:lumOff val="5000"/>
                  </a:prstClr>
                </a:solidFill>
                <a:effectLst/>
                <a:uLnTx/>
                <a:uFillTx/>
              </a:rPr>
              <a:t>Model-based testing</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95000"/>
                  <a:lumOff val="5000"/>
                </a:prstClr>
              </a:solidFill>
              <a:effectLst/>
              <a:uLnTx/>
              <a:uFillTx/>
            </a:endParaRPr>
          </a:p>
        </p:txBody>
      </p:sp>
      <p:sp>
        <p:nvSpPr>
          <p:cNvPr id="128" name="TextBox 127">
            <a:extLst>
              <a:ext uri="{FF2B5EF4-FFF2-40B4-BE49-F238E27FC236}">
                <a16:creationId xmlns:a16="http://schemas.microsoft.com/office/drawing/2014/main" id="{B201B5A2-7DEE-4683-B9AB-1AE5664C1C4E}"/>
              </a:ext>
            </a:extLst>
          </p:cNvPr>
          <p:cNvSpPr txBox="1"/>
          <p:nvPr/>
        </p:nvSpPr>
        <p:spPr>
          <a:xfrm>
            <a:off x="4911777" y="5193881"/>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Testing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95000"/>
                    <a:lumOff val="5000"/>
                  </a:prstClr>
                </a:solidFill>
                <a:effectLst/>
                <a:uLnTx/>
                <a:uFillTx/>
              </a:rPr>
              <a:t>Simulation</a:t>
            </a:r>
          </a:p>
        </p:txBody>
      </p:sp>
      <p:sp>
        <p:nvSpPr>
          <p:cNvPr id="129" name="TextBox 128">
            <a:extLst>
              <a:ext uri="{FF2B5EF4-FFF2-40B4-BE49-F238E27FC236}">
                <a16:creationId xmlns:a16="http://schemas.microsoft.com/office/drawing/2014/main" id="{9FD3EF53-6516-49AB-881A-9BD50665A130}"/>
              </a:ext>
            </a:extLst>
          </p:cNvPr>
          <p:cNvSpPr txBox="1"/>
          <p:nvPr/>
        </p:nvSpPr>
        <p:spPr>
          <a:xfrm>
            <a:off x="7215289" y="2682436"/>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95000"/>
                    <a:lumOff val="5000"/>
                  </a:prstClr>
                </a:solidFill>
                <a:effectLst/>
                <a:uLnTx/>
                <a:uFillTx/>
              </a:rPr>
              <a:t>Model-based (formal)</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95000"/>
                  <a:lumOff val="5000"/>
                </a:prstClr>
              </a:solidFill>
              <a:effectLst/>
              <a:uLnTx/>
              <a:uFillTx/>
            </a:endParaRPr>
          </a:p>
        </p:txBody>
      </p:sp>
      <p:sp>
        <p:nvSpPr>
          <p:cNvPr id="130" name="TextBox 129">
            <a:extLst>
              <a:ext uri="{FF2B5EF4-FFF2-40B4-BE49-F238E27FC236}">
                <a16:creationId xmlns:a16="http://schemas.microsoft.com/office/drawing/2014/main" id="{589BDCDD-67B1-4E8D-BADD-902D16FE3F1C}"/>
              </a:ext>
            </a:extLst>
          </p:cNvPr>
          <p:cNvSpPr txBox="1"/>
          <p:nvPr/>
        </p:nvSpPr>
        <p:spPr>
          <a:xfrm>
            <a:off x="7215289" y="3319361"/>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Model-based (formal)</a:t>
            </a:r>
          </a:p>
        </p:txBody>
      </p:sp>
      <p:sp>
        <p:nvSpPr>
          <p:cNvPr id="131" name="TextBox 130">
            <a:extLst>
              <a:ext uri="{FF2B5EF4-FFF2-40B4-BE49-F238E27FC236}">
                <a16:creationId xmlns:a16="http://schemas.microsoft.com/office/drawing/2014/main" id="{40B254D7-681A-4084-8799-C0B6DDDA307C}"/>
              </a:ext>
            </a:extLst>
          </p:cNvPr>
          <p:cNvSpPr txBox="1"/>
          <p:nvPr/>
        </p:nvSpPr>
        <p:spPr>
          <a:xfrm>
            <a:off x="7215289" y="3941153"/>
            <a:ext cx="2201142" cy="548640"/>
          </a:xfrm>
          <a:prstGeom prst="rect">
            <a:avLst/>
          </a:prstGeom>
          <a:solidFill>
            <a:srgbClr val="FFFFFF">
              <a:lumMod val="95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Code generation</a:t>
            </a:r>
            <a:br>
              <a:rPr kumimoji="0" lang="en-US" sz="1400" b="0" i="0" u="none" strike="noStrike" kern="0" cap="none" spc="0" normalizeH="0" baseline="0" noProof="0" dirty="0">
                <a:ln>
                  <a:noFill/>
                </a:ln>
                <a:solidFill>
                  <a:prstClr val="black">
                    <a:lumMod val="95000"/>
                    <a:lumOff val="5000"/>
                  </a:prstClr>
                </a:solidFill>
                <a:effectLst/>
                <a:uLnTx/>
                <a:uFillTx/>
              </a:rPr>
            </a:br>
            <a:r>
              <a:rPr kumimoji="0" lang="en-US" sz="1400" b="0" i="0" u="none" strike="noStrike" kern="0" cap="none" spc="0" normalizeH="0" baseline="0" noProof="0" dirty="0">
                <a:ln>
                  <a:noFill/>
                </a:ln>
                <a:solidFill>
                  <a:prstClr val="black">
                    <a:lumMod val="95000"/>
                    <a:lumOff val="5000"/>
                  </a:prstClr>
                </a:solidFill>
                <a:effectLst/>
                <a:uLnTx/>
                <a:uFillTx/>
              </a:rPr>
              <a:t>(fault-free code)</a:t>
            </a:r>
          </a:p>
        </p:txBody>
      </p:sp>
      <p:sp>
        <p:nvSpPr>
          <p:cNvPr id="132" name="TextBox 131">
            <a:extLst>
              <a:ext uri="{FF2B5EF4-FFF2-40B4-BE49-F238E27FC236}">
                <a16:creationId xmlns:a16="http://schemas.microsoft.com/office/drawing/2014/main" id="{0F5D1A8F-893C-4C12-82DA-512BEE67E2FA}"/>
              </a:ext>
            </a:extLst>
          </p:cNvPr>
          <p:cNvSpPr txBox="1"/>
          <p:nvPr/>
        </p:nvSpPr>
        <p:spPr>
          <a:xfrm>
            <a:off x="7215289" y="4562945"/>
            <a:ext cx="2201142" cy="548640"/>
          </a:xfrm>
          <a:prstGeom prst="rect">
            <a:avLst/>
          </a:prstGeom>
          <a:solidFill>
            <a:srgbClr val="FFFFFF">
              <a:lumMod val="95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95000"/>
                    <a:lumOff val="5000"/>
                  </a:prstClr>
                </a:solidFill>
                <a:effectLst/>
                <a:uLnTx/>
                <a:uFillTx/>
              </a:rPr>
              <a:t>Formal verification</a:t>
            </a:r>
          </a:p>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prstClr val="black">
                    <a:lumMod val="95000"/>
                    <a:lumOff val="5000"/>
                  </a:prstClr>
                </a:solidFill>
              </a:rPr>
              <a:t>(model checking)</a:t>
            </a:r>
            <a:endParaRPr kumimoji="0" lang="en-US" sz="1400" b="1" i="0" u="none" strike="noStrike" kern="0" cap="none" spc="0" normalizeH="0" baseline="0" noProof="0" dirty="0">
              <a:ln>
                <a:noFill/>
              </a:ln>
              <a:solidFill>
                <a:prstClr val="black">
                  <a:lumMod val="95000"/>
                  <a:lumOff val="5000"/>
                </a:prstClr>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black">
                  <a:lumMod val="95000"/>
                  <a:lumOff val="5000"/>
                </a:prstClr>
              </a:solidFill>
              <a:effectLst/>
              <a:uLnTx/>
              <a:uFillTx/>
            </a:endParaRPr>
          </a:p>
        </p:txBody>
      </p:sp>
      <p:sp>
        <p:nvSpPr>
          <p:cNvPr id="133" name="TextBox 132">
            <a:extLst>
              <a:ext uri="{FF2B5EF4-FFF2-40B4-BE49-F238E27FC236}">
                <a16:creationId xmlns:a16="http://schemas.microsoft.com/office/drawing/2014/main" id="{0088D804-7D7E-4021-BDEC-6EB37289E14F}"/>
              </a:ext>
            </a:extLst>
          </p:cNvPr>
          <p:cNvSpPr txBox="1"/>
          <p:nvPr/>
        </p:nvSpPr>
        <p:spPr>
          <a:xfrm>
            <a:off x="7215289" y="5193881"/>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Testing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Simulation</a:t>
            </a:r>
          </a:p>
        </p:txBody>
      </p:sp>
      <p:sp>
        <p:nvSpPr>
          <p:cNvPr id="134" name="TextBox 133">
            <a:extLst>
              <a:ext uri="{FF2B5EF4-FFF2-40B4-BE49-F238E27FC236}">
                <a16:creationId xmlns:a16="http://schemas.microsoft.com/office/drawing/2014/main" id="{3A3E5977-7178-44FC-A426-F5C1A8E5D18A}"/>
              </a:ext>
            </a:extLst>
          </p:cNvPr>
          <p:cNvSpPr txBox="1"/>
          <p:nvPr/>
        </p:nvSpPr>
        <p:spPr>
          <a:xfrm>
            <a:off x="9506649" y="2682436"/>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Model-based (formal)</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lumMod val="95000"/>
                  <a:lumOff val="5000"/>
                </a:prstClr>
              </a:solidFill>
              <a:effectLst/>
              <a:uLnTx/>
              <a:uFillTx/>
            </a:endParaRPr>
          </a:p>
        </p:txBody>
      </p:sp>
      <p:sp>
        <p:nvSpPr>
          <p:cNvPr id="135" name="TextBox 134">
            <a:extLst>
              <a:ext uri="{FF2B5EF4-FFF2-40B4-BE49-F238E27FC236}">
                <a16:creationId xmlns:a16="http://schemas.microsoft.com/office/drawing/2014/main" id="{0F11738F-03D4-4949-87F0-978E339D97A9}"/>
              </a:ext>
            </a:extLst>
          </p:cNvPr>
          <p:cNvSpPr txBox="1"/>
          <p:nvPr/>
        </p:nvSpPr>
        <p:spPr>
          <a:xfrm>
            <a:off x="9506649" y="3319361"/>
            <a:ext cx="2201142" cy="548640"/>
          </a:xfrm>
          <a:prstGeom prst="rect">
            <a:avLst/>
          </a:prstGeom>
          <a:solidFill>
            <a:srgbClr val="FFFFFF">
              <a:lumMod val="95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95000"/>
                    <a:lumOff val="5000"/>
                  </a:prstClr>
                </a:solidFill>
                <a:effectLst/>
                <a:uLnTx/>
                <a:uFillTx/>
              </a:rPr>
              <a:t>Computer-aided (formal)</a:t>
            </a:r>
          </a:p>
        </p:txBody>
      </p:sp>
      <p:sp>
        <p:nvSpPr>
          <p:cNvPr id="136" name="TextBox 135">
            <a:extLst>
              <a:ext uri="{FF2B5EF4-FFF2-40B4-BE49-F238E27FC236}">
                <a16:creationId xmlns:a16="http://schemas.microsoft.com/office/drawing/2014/main" id="{BFDF342E-1169-4D73-AB5A-DE86269B0582}"/>
              </a:ext>
            </a:extLst>
          </p:cNvPr>
          <p:cNvSpPr txBox="1"/>
          <p:nvPr/>
        </p:nvSpPr>
        <p:spPr>
          <a:xfrm>
            <a:off x="9506649" y="3941153"/>
            <a:ext cx="2201142" cy="548640"/>
          </a:xfrm>
          <a:prstGeom prst="rect">
            <a:avLst/>
          </a:prstGeom>
          <a:solidFill>
            <a:srgbClr val="FFFFFF">
              <a:lumMod val="95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Code generation</a:t>
            </a:r>
            <a:br>
              <a:rPr kumimoji="0" lang="en-US" sz="1400" b="0" i="0" u="none" strike="noStrike" kern="0" cap="none" spc="0" normalizeH="0" baseline="0" noProof="0" dirty="0">
                <a:ln>
                  <a:noFill/>
                </a:ln>
                <a:solidFill>
                  <a:prstClr val="black">
                    <a:lumMod val="95000"/>
                    <a:lumOff val="5000"/>
                  </a:prstClr>
                </a:solidFill>
                <a:effectLst/>
                <a:uLnTx/>
                <a:uFillTx/>
              </a:rPr>
            </a:br>
            <a:r>
              <a:rPr kumimoji="0" lang="en-US" sz="1400" b="0" i="0" u="none" strike="noStrike" kern="0" cap="none" spc="0" normalizeH="0" baseline="0" noProof="0" dirty="0">
                <a:ln>
                  <a:noFill/>
                </a:ln>
                <a:solidFill>
                  <a:prstClr val="black">
                    <a:lumMod val="95000"/>
                    <a:lumOff val="5000"/>
                  </a:prstClr>
                </a:solidFill>
                <a:effectLst/>
                <a:uLnTx/>
                <a:uFillTx/>
              </a:rPr>
              <a:t>(fault-free code)</a:t>
            </a:r>
          </a:p>
        </p:txBody>
      </p:sp>
      <p:sp>
        <p:nvSpPr>
          <p:cNvPr id="137" name="TextBox 136">
            <a:extLst>
              <a:ext uri="{FF2B5EF4-FFF2-40B4-BE49-F238E27FC236}">
                <a16:creationId xmlns:a16="http://schemas.microsoft.com/office/drawing/2014/main" id="{2060C03F-56ED-47BB-A2D7-5942EEB60C5B}"/>
              </a:ext>
            </a:extLst>
          </p:cNvPr>
          <p:cNvSpPr txBox="1"/>
          <p:nvPr/>
        </p:nvSpPr>
        <p:spPr>
          <a:xfrm>
            <a:off x="9506649" y="4562945"/>
            <a:ext cx="2201142" cy="548640"/>
          </a:xfrm>
          <a:prstGeom prst="rect">
            <a:avLst/>
          </a:prstGeom>
          <a:solidFill>
            <a:srgbClr val="FFFFFF">
              <a:lumMod val="95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95000"/>
                    <a:lumOff val="5000"/>
                  </a:prstClr>
                </a:solidFill>
                <a:effectLst/>
                <a:uLnTx/>
                <a:uFillTx/>
              </a:rPr>
              <a:t>Correct-by-construction (guaranteed)</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black">
                  <a:lumMod val="95000"/>
                  <a:lumOff val="5000"/>
                </a:prstClr>
              </a:solidFill>
              <a:effectLst/>
              <a:uLnTx/>
              <a:uFillTx/>
            </a:endParaRPr>
          </a:p>
        </p:txBody>
      </p:sp>
      <p:sp>
        <p:nvSpPr>
          <p:cNvPr id="138" name="TextBox 137">
            <a:extLst>
              <a:ext uri="{FF2B5EF4-FFF2-40B4-BE49-F238E27FC236}">
                <a16:creationId xmlns:a16="http://schemas.microsoft.com/office/drawing/2014/main" id="{03E66B6C-B027-4366-84FC-92E25E6DABA9}"/>
              </a:ext>
            </a:extLst>
          </p:cNvPr>
          <p:cNvSpPr txBox="1"/>
          <p:nvPr/>
        </p:nvSpPr>
        <p:spPr>
          <a:xfrm>
            <a:off x="9506649" y="5193881"/>
            <a:ext cx="2201142" cy="548640"/>
          </a:xfrm>
          <a:prstGeom prst="rect">
            <a:avLst/>
          </a:prstGeom>
          <a:solidFill>
            <a:srgbClr val="00819B">
              <a:alpha val="20000"/>
            </a:srgbClr>
          </a:solid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Testing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Simulation</a:t>
            </a:r>
          </a:p>
        </p:txBody>
      </p:sp>
      <p:sp>
        <p:nvSpPr>
          <p:cNvPr id="139" name="TextBox 138">
            <a:extLst>
              <a:ext uri="{FF2B5EF4-FFF2-40B4-BE49-F238E27FC236}">
                <a16:creationId xmlns:a16="http://schemas.microsoft.com/office/drawing/2014/main" id="{339292D7-7223-4D57-904A-6E14098E9920}"/>
              </a:ext>
            </a:extLst>
          </p:cNvPr>
          <p:cNvSpPr txBox="1"/>
          <p:nvPr/>
        </p:nvSpPr>
        <p:spPr>
          <a:xfrm>
            <a:off x="948609" y="6418663"/>
            <a:ext cx="1709228" cy="320040"/>
          </a:xfrm>
          <a:prstGeom prst="rect">
            <a:avLst/>
          </a:prstGeom>
          <a:solidFill>
            <a:srgbClr val="00819B">
              <a:alpha val="20000"/>
            </a:srgbClr>
          </a:solidFill>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Manual work / Focus</a:t>
            </a:r>
          </a:p>
        </p:txBody>
      </p:sp>
      <p:sp>
        <p:nvSpPr>
          <p:cNvPr id="140" name="TextBox 139">
            <a:extLst>
              <a:ext uri="{FF2B5EF4-FFF2-40B4-BE49-F238E27FC236}">
                <a16:creationId xmlns:a16="http://schemas.microsoft.com/office/drawing/2014/main" id="{1FDEB997-62C0-4644-A372-545342B6E048}"/>
              </a:ext>
            </a:extLst>
          </p:cNvPr>
          <p:cNvSpPr txBox="1"/>
          <p:nvPr/>
        </p:nvSpPr>
        <p:spPr>
          <a:xfrm>
            <a:off x="2864618" y="6418663"/>
            <a:ext cx="1554480" cy="320040"/>
          </a:xfrm>
          <a:prstGeom prst="rect">
            <a:avLst/>
          </a:prstGeom>
          <a:solidFill>
            <a:srgbClr val="FFFFFF">
              <a:lumMod val="95000"/>
            </a:srgbClr>
          </a:solidFill>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Semi-)automatic</a:t>
            </a:r>
          </a:p>
        </p:txBody>
      </p:sp>
      <p:sp>
        <p:nvSpPr>
          <p:cNvPr id="141" name="TextBox 140">
            <a:extLst>
              <a:ext uri="{FF2B5EF4-FFF2-40B4-BE49-F238E27FC236}">
                <a16:creationId xmlns:a16="http://schemas.microsoft.com/office/drawing/2014/main" id="{905E4449-41F2-4996-8A1A-9C9C38775085}"/>
              </a:ext>
            </a:extLst>
          </p:cNvPr>
          <p:cNvSpPr txBox="1"/>
          <p:nvPr/>
        </p:nvSpPr>
        <p:spPr>
          <a:xfrm>
            <a:off x="188396" y="6424795"/>
            <a:ext cx="669414" cy="307777"/>
          </a:xfrm>
          <a:prstGeom prst="rect">
            <a:avLst/>
          </a:prstGeom>
          <a:noFill/>
        </p:spPr>
        <p:txBody>
          <a:bodyPr wrap="none" l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rPr>
              <a:t>Legend:</a:t>
            </a:r>
          </a:p>
        </p:txBody>
      </p:sp>
      <p:sp>
        <p:nvSpPr>
          <p:cNvPr id="142" name="TextBox 141">
            <a:extLst>
              <a:ext uri="{FF2B5EF4-FFF2-40B4-BE49-F238E27FC236}">
                <a16:creationId xmlns:a16="http://schemas.microsoft.com/office/drawing/2014/main" id="{F8A23FBD-6B13-4875-A5D3-F03FFC30A943}"/>
              </a:ext>
            </a:extLst>
          </p:cNvPr>
          <p:cNvSpPr txBox="1"/>
          <p:nvPr/>
        </p:nvSpPr>
        <p:spPr>
          <a:xfrm>
            <a:off x="555897" y="1956906"/>
            <a:ext cx="2042033" cy="215444"/>
          </a:xfrm>
          <a:prstGeom prst="rect">
            <a:avLst/>
          </a:prstGeom>
          <a:noFill/>
        </p:spPr>
        <p:txBody>
          <a:bodyPr wrap="square" lIns="0" tIns="0" rIns="0" bIns="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819B"/>
                </a:solidFill>
                <a:effectLst/>
                <a:uLnTx/>
                <a:uFillTx/>
              </a:rPr>
              <a:t>Engineering approach </a:t>
            </a:r>
            <a:r>
              <a:rPr kumimoji="0" lang="en-US" sz="1400" b="1" i="0" u="none" strike="noStrike" kern="0" cap="none" spc="0" normalizeH="0" baseline="0" noProof="0" dirty="0">
                <a:ln>
                  <a:noFill/>
                </a:ln>
                <a:solidFill>
                  <a:srgbClr val="00819B"/>
                </a:solidFill>
                <a:effectLst/>
                <a:uLnTx/>
                <a:uFillTx/>
                <a:cs typeface="Calibri" panose="020F0502020204030204" pitchFamily="34" charset="0"/>
              </a:rPr>
              <a:t>→</a:t>
            </a:r>
            <a:endParaRPr kumimoji="0" lang="en-US" sz="1400" b="1" i="0" u="none" strike="noStrike" kern="0" cap="none" spc="0" normalizeH="0" baseline="0" noProof="0" dirty="0">
              <a:ln>
                <a:noFill/>
              </a:ln>
              <a:solidFill>
                <a:srgbClr val="00819B"/>
              </a:solidFill>
              <a:effectLst/>
              <a:uLnTx/>
              <a:uFillTx/>
            </a:endParaRPr>
          </a:p>
        </p:txBody>
      </p:sp>
      <p:sp>
        <p:nvSpPr>
          <p:cNvPr id="143" name="TextBox 142">
            <a:extLst>
              <a:ext uri="{FF2B5EF4-FFF2-40B4-BE49-F238E27FC236}">
                <a16:creationId xmlns:a16="http://schemas.microsoft.com/office/drawing/2014/main" id="{1C93A7C6-B24C-4F78-8745-01413766B545}"/>
              </a:ext>
            </a:extLst>
          </p:cNvPr>
          <p:cNvSpPr txBox="1"/>
          <p:nvPr/>
        </p:nvSpPr>
        <p:spPr>
          <a:xfrm>
            <a:off x="226255" y="2435757"/>
            <a:ext cx="1719902" cy="215444"/>
          </a:xfrm>
          <a:prstGeom prst="rect">
            <a:avLst/>
          </a:prstGeom>
          <a:noFill/>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819B"/>
                </a:solidFill>
                <a:effectLst/>
                <a:uLnTx/>
                <a:uFillTx/>
                <a:cs typeface="Calibri" panose="020F0502020204030204" pitchFamily="34" charset="0"/>
              </a:rPr>
              <a:t>↓ Development s</a:t>
            </a:r>
            <a:r>
              <a:rPr kumimoji="0" lang="en-US" sz="1400" b="1" i="0" u="none" strike="noStrike" kern="0" cap="none" spc="0" normalizeH="0" baseline="0" noProof="0" dirty="0">
                <a:ln>
                  <a:noFill/>
                </a:ln>
                <a:solidFill>
                  <a:srgbClr val="00819B"/>
                </a:solidFill>
                <a:effectLst/>
                <a:uLnTx/>
                <a:uFillTx/>
              </a:rPr>
              <a:t>tep</a:t>
            </a:r>
          </a:p>
        </p:txBody>
      </p:sp>
    </p:spTree>
    <p:extLst>
      <p:ext uri="{BB962C8B-B14F-4D97-AF65-F5344CB8AC3E}">
        <p14:creationId xmlns:p14="http://schemas.microsoft.com/office/powerpoint/2010/main" val="459628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2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3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3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3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3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3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3" grpId="0">
        <p:bldAsOne/>
      </p:bldGraphic>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p:bldP spid="14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7388C7-D88D-4711-BC3B-330E30615D26}"/>
              </a:ext>
            </a:extLst>
          </p:cNvPr>
          <p:cNvSpPr>
            <a:spLocks noGrp="1"/>
          </p:cNvSpPr>
          <p:nvPr>
            <p:ph type="sldNum" sz="quarter" idx="12"/>
          </p:nvPr>
        </p:nvSpPr>
        <p:spPr/>
        <p:txBody>
          <a:bodyPr/>
          <a:lstStyle/>
          <a:p>
            <a:fld id="{9C59798B-84E5-F441-8110-84C3B6182022}" type="slidenum">
              <a:rPr lang="nl-NL" smtClean="0"/>
              <a:pPr/>
              <a:t>6</a:t>
            </a:fld>
            <a:endParaRPr lang="nl-NL"/>
          </a:p>
        </p:txBody>
      </p:sp>
      <p:pic>
        <p:nvPicPr>
          <p:cNvPr id="8" name="Content Placeholder 7">
            <a:extLst>
              <a:ext uri="{FF2B5EF4-FFF2-40B4-BE49-F238E27FC236}">
                <a16:creationId xmlns:a16="http://schemas.microsoft.com/office/drawing/2014/main" id="{6E243D4A-57D6-4080-B2B8-244EC01911D2}"/>
              </a:ext>
            </a:extLst>
          </p:cNvPr>
          <p:cNvPicPr>
            <a:picLocks noGrp="1" noChangeAspect="1"/>
          </p:cNvPicPr>
          <p:nvPr>
            <p:ph sz="quarter" idx="13"/>
          </p:nvPr>
        </p:nvPicPr>
        <p:blipFill>
          <a:blip r:embed="rId2"/>
          <a:stretch>
            <a:fillRect/>
          </a:stretch>
        </p:blipFill>
        <p:spPr>
          <a:xfrm>
            <a:off x="1127125" y="1862103"/>
            <a:ext cx="9887663" cy="4185201"/>
          </a:xfrm>
        </p:spPr>
      </p:pic>
      <p:sp>
        <p:nvSpPr>
          <p:cNvPr id="4" name="Title 3">
            <a:extLst>
              <a:ext uri="{FF2B5EF4-FFF2-40B4-BE49-F238E27FC236}">
                <a16:creationId xmlns:a16="http://schemas.microsoft.com/office/drawing/2014/main" id="{199F15E6-CF5C-482E-9CDF-B27E12E02491}"/>
              </a:ext>
            </a:extLst>
          </p:cNvPr>
          <p:cNvSpPr>
            <a:spLocks noGrp="1"/>
          </p:cNvSpPr>
          <p:nvPr>
            <p:ph type="title"/>
          </p:nvPr>
        </p:nvSpPr>
        <p:spPr/>
        <p:txBody>
          <a:bodyPr>
            <a:normAutofit/>
          </a:bodyPr>
          <a:lstStyle/>
          <a:p>
            <a:r>
              <a:rPr lang="en-US" dirty="0"/>
              <a:t>Example: a simple manufacturing system to process products</a:t>
            </a:r>
          </a:p>
        </p:txBody>
      </p:sp>
      <p:pic>
        <p:nvPicPr>
          <p:cNvPr id="12" name="Picture 11">
            <a:extLst>
              <a:ext uri="{FF2B5EF4-FFF2-40B4-BE49-F238E27FC236}">
                <a16:creationId xmlns:a16="http://schemas.microsoft.com/office/drawing/2014/main" id="{D36E68D0-479D-429E-81F7-614BD6F98529}"/>
              </a:ext>
            </a:extLst>
          </p:cNvPr>
          <p:cNvPicPr>
            <a:picLocks noChangeAspect="1"/>
          </p:cNvPicPr>
          <p:nvPr/>
        </p:nvPicPr>
        <p:blipFill>
          <a:blip r:embed="rId3"/>
          <a:stretch>
            <a:fillRect/>
          </a:stretch>
        </p:blipFill>
        <p:spPr>
          <a:xfrm>
            <a:off x="1467633" y="2547875"/>
            <a:ext cx="209579" cy="200053"/>
          </a:xfrm>
          <a:prstGeom prst="rect">
            <a:avLst/>
          </a:prstGeom>
        </p:spPr>
      </p:pic>
      <p:pic>
        <p:nvPicPr>
          <p:cNvPr id="14" name="Picture 13">
            <a:extLst>
              <a:ext uri="{FF2B5EF4-FFF2-40B4-BE49-F238E27FC236}">
                <a16:creationId xmlns:a16="http://schemas.microsoft.com/office/drawing/2014/main" id="{7696A1B8-54E4-43C6-A671-6A0AB00E51AB}"/>
              </a:ext>
            </a:extLst>
          </p:cNvPr>
          <p:cNvPicPr>
            <a:picLocks noChangeAspect="1"/>
          </p:cNvPicPr>
          <p:nvPr/>
        </p:nvPicPr>
        <p:blipFill>
          <a:blip r:embed="rId4"/>
          <a:stretch>
            <a:fillRect/>
          </a:stretch>
        </p:blipFill>
        <p:spPr>
          <a:xfrm>
            <a:off x="1472395" y="2831850"/>
            <a:ext cx="200053" cy="190527"/>
          </a:xfrm>
          <a:prstGeom prst="rect">
            <a:avLst/>
          </a:prstGeom>
        </p:spPr>
      </p:pic>
      <p:sp>
        <p:nvSpPr>
          <p:cNvPr id="15" name="TextBox 14">
            <a:extLst>
              <a:ext uri="{FF2B5EF4-FFF2-40B4-BE49-F238E27FC236}">
                <a16:creationId xmlns:a16="http://schemas.microsoft.com/office/drawing/2014/main" id="{F1B70E90-F4B6-47E0-A5B2-257439D758CC}"/>
              </a:ext>
            </a:extLst>
          </p:cNvPr>
          <p:cNvSpPr txBox="1"/>
          <p:nvPr/>
        </p:nvSpPr>
        <p:spPr>
          <a:xfrm>
            <a:off x="1148930" y="1632246"/>
            <a:ext cx="3813595" cy="1477328"/>
          </a:xfrm>
          <a:prstGeom prst="rect">
            <a:avLst/>
          </a:prstGeom>
          <a:solidFill>
            <a:srgbClr val="00819B">
              <a:alpha val="10196"/>
            </a:srgbClr>
          </a:solidFill>
        </p:spPr>
        <p:txBody>
          <a:bodyPr wrap="square" lIns="91440" rtlCol="0">
            <a:spAutoFit/>
          </a:bodyPr>
          <a:lstStyle/>
          <a:p>
            <a:pPr algn="l"/>
            <a:r>
              <a:rPr lang="en-US" b="0" dirty="0">
                <a:solidFill>
                  <a:schemeClr val="tx1">
                    <a:lumMod val="50000"/>
                  </a:schemeClr>
                </a:solidFill>
                <a:effectLst/>
                <a:latin typeface="inherit"/>
              </a:rPr>
              <a:t>The system itself already ensures that:</a:t>
            </a:r>
          </a:p>
          <a:p>
            <a:pPr marL="230188" indent="-230188" algn="l">
              <a:buFont typeface="Arial" panose="020B0604020202020204" pitchFamily="34" charset="0"/>
              <a:buChar char="•"/>
            </a:pPr>
            <a:r>
              <a:rPr lang="en-US" b="0" dirty="0">
                <a:solidFill>
                  <a:schemeClr val="tx1">
                    <a:lumMod val="50000"/>
                  </a:schemeClr>
                </a:solidFill>
                <a:effectLst/>
                <a:latin typeface="inherit"/>
              </a:rPr>
              <a:t>enter 	  </a:t>
            </a:r>
            <a:r>
              <a:rPr lang="en-US" b="0" dirty="0">
                <a:solidFill>
                  <a:schemeClr val="tx1">
                    <a:lumMod val="50000"/>
                  </a:schemeClr>
                </a:solidFill>
                <a:effectLst/>
                <a:latin typeface="Calibri" panose="020F0502020204030204" pitchFamily="34" charset="0"/>
                <a:cs typeface="Calibri" panose="020F0502020204030204" pitchFamily="34" charset="0"/>
              </a:rPr>
              <a:t>→ </a:t>
            </a:r>
            <a:r>
              <a:rPr lang="en-US" b="0" dirty="0">
                <a:solidFill>
                  <a:schemeClr val="tx1">
                    <a:lumMod val="50000"/>
                  </a:schemeClr>
                </a:solidFill>
                <a:effectLst/>
                <a:latin typeface="inherit"/>
              </a:rPr>
              <a:t>start</a:t>
            </a:r>
          </a:p>
          <a:p>
            <a:pPr marL="230188" indent="-230188">
              <a:buFont typeface="Arial" panose="020B0604020202020204" pitchFamily="34" charset="0"/>
              <a:buChar char="•"/>
            </a:pPr>
            <a:r>
              <a:rPr lang="en-US" b="0" dirty="0">
                <a:solidFill>
                  <a:schemeClr val="tx1">
                    <a:lumMod val="50000"/>
                  </a:schemeClr>
                </a:solidFill>
                <a:effectLst/>
                <a:latin typeface="inherit"/>
              </a:rPr>
              <a:t>finished</a:t>
            </a:r>
            <a:r>
              <a:rPr lang="en-US" b="0" dirty="0">
                <a:solidFill>
                  <a:schemeClr val="tx1">
                    <a:lumMod val="50000"/>
                  </a:schemeClr>
                </a:solidFill>
                <a:effectLst/>
                <a:latin typeface="Calibri" panose="020F0502020204030204" pitchFamily="34" charset="0"/>
                <a:cs typeface="Calibri" panose="020F0502020204030204" pitchFamily="34" charset="0"/>
              </a:rPr>
              <a:t> → </a:t>
            </a:r>
            <a:r>
              <a:rPr lang="en-US" b="0" dirty="0">
                <a:solidFill>
                  <a:schemeClr val="tx1">
                    <a:lumMod val="50000"/>
                  </a:schemeClr>
                </a:solidFill>
                <a:effectLst/>
                <a:latin typeface="inherit"/>
              </a:rPr>
              <a:t>exit</a:t>
            </a:r>
            <a:endParaRPr lang="en-US" dirty="0">
              <a:solidFill>
                <a:schemeClr val="tx1">
                  <a:lumMod val="50000"/>
                </a:schemeClr>
              </a:solidFill>
            </a:endParaRPr>
          </a:p>
          <a:p>
            <a:pPr marL="230188" indent="-230188" algn="l">
              <a:buFont typeface="Arial" panose="020B0604020202020204" pitchFamily="34" charset="0"/>
              <a:buChar char="•"/>
            </a:pPr>
            <a:r>
              <a:rPr lang="en-US" b="0" dirty="0">
                <a:solidFill>
                  <a:schemeClr val="tx1">
                    <a:lumMod val="50000"/>
                  </a:schemeClr>
                </a:solidFill>
                <a:effectLst/>
                <a:latin typeface="Calibri" panose="020F0502020204030204" pitchFamily="34" charset="0"/>
                <a:cs typeface="Calibri" panose="020F0502020204030204" pitchFamily="34" charset="0"/>
              </a:rPr>
              <a:t>     	  → </a:t>
            </a:r>
            <a:r>
              <a:rPr lang="en-US" b="0" dirty="0">
                <a:solidFill>
                  <a:schemeClr val="tx1">
                    <a:lumMod val="50000"/>
                  </a:schemeClr>
                </a:solidFill>
                <a:effectLst/>
                <a:latin typeface="inherit"/>
              </a:rPr>
              <a:t>redo</a:t>
            </a:r>
          </a:p>
          <a:p>
            <a:pPr marL="230188" indent="-230188" algn="l">
              <a:buFont typeface="Arial" panose="020B0604020202020204" pitchFamily="34" charset="0"/>
              <a:buChar char="•"/>
            </a:pPr>
            <a:r>
              <a:rPr lang="en-US" b="0" dirty="0">
                <a:solidFill>
                  <a:schemeClr val="tx1">
                    <a:lumMod val="50000"/>
                  </a:schemeClr>
                </a:solidFill>
                <a:effectLst/>
                <a:latin typeface="Calibri" panose="020F0502020204030204" pitchFamily="34" charset="0"/>
                <a:cs typeface="Calibri" panose="020F0502020204030204" pitchFamily="34" charset="0"/>
              </a:rPr>
              <a:t>     	  → </a:t>
            </a:r>
            <a:r>
              <a:rPr lang="en-US" b="0" dirty="0">
                <a:solidFill>
                  <a:schemeClr val="tx1">
                    <a:lumMod val="50000"/>
                  </a:schemeClr>
                </a:solidFill>
                <a:effectLst/>
                <a:latin typeface="inherit"/>
              </a:rPr>
              <a:t>leave</a:t>
            </a:r>
          </a:p>
        </p:txBody>
      </p:sp>
    </p:spTree>
    <p:extLst>
      <p:ext uri="{BB962C8B-B14F-4D97-AF65-F5344CB8AC3E}">
        <p14:creationId xmlns:p14="http://schemas.microsoft.com/office/powerpoint/2010/main" val="2430314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7388C7-D88D-4711-BC3B-330E30615D26}"/>
              </a:ext>
            </a:extLst>
          </p:cNvPr>
          <p:cNvSpPr>
            <a:spLocks noGrp="1"/>
          </p:cNvSpPr>
          <p:nvPr>
            <p:ph type="sldNum" sz="quarter" idx="12"/>
          </p:nvPr>
        </p:nvSpPr>
        <p:spPr/>
        <p:txBody>
          <a:bodyPr/>
          <a:lstStyle/>
          <a:p>
            <a:fld id="{9C59798B-84E5-F441-8110-84C3B6182022}" type="slidenum">
              <a:rPr lang="nl-NL" smtClean="0"/>
              <a:pPr/>
              <a:t>7</a:t>
            </a:fld>
            <a:endParaRPr lang="nl-NL"/>
          </a:p>
        </p:txBody>
      </p:sp>
      <p:pic>
        <p:nvPicPr>
          <p:cNvPr id="8" name="Content Placeholder 7">
            <a:extLst>
              <a:ext uri="{FF2B5EF4-FFF2-40B4-BE49-F238E27FC236}">
                <a16:creationId xmlns:a16="http://schemas.microsoft.com/office/drawing/2014/main" id="{6E243D4A-57D6-4080-B2B8-244EC01911D2}"/>
              </a:ext>
            </a:extLst>
          </p:cNvPr>
          <p:cNvPicPr>
            <a:picLocks noGrp="1" noChangeAspect="1"/>
          </p:cNvPicPr>
          <p:nvPr>
            <p:ph sz="quarter" idx="13"/>
          </p:nvPr>
        </p:nvPicPr>
        <p:blipFill>
          <a:blip r:embed="rId2"/>
          <a:stretch>
            <a:fillRect/>
          </a:stretch>
        </p:blipFill>
        <p:spPr>
          <a:xfrm>
            <a:off x="1127125" y="1862103"/>
            <a:ext cx="9887663" cy="4185201"/>
          </a:xfrm>
        </p:spPr>
      </p:pic>
      <p:sp>
        <p:nvSpPr>
          <p:cNvPr id="4" name="Title 3">
            <a:extLst>
              <a:ext uri="{FF2B5EF4-FFF2-40B4-BE49-F238E27FC236}">
                <a16:creationId xmlns:a16="http://schemas.microsoft.com/office/drawing/2014/main" id="{199F15E6-CF5C-482E-9CDF-B27E12E02491}"/>
              </a:ext>
            </a:extLst>
          </p:cNvPr>
          <p:cNvSpPr>
            <a:spLocks noGrp="1"/>
          </p:cNvSpPr>
          <p:nvPr>
            <p:ph type="title"/>
          </p:nvPr>
        </p:nvSpPr>
        <p:spPr/>
        <p:txBody>
          <a:bodyPr>
            <a:normAutofit/>
          </a:bodyPr>
          <a:lstStyle/>
          <a:p>
            <a:r>
              <a:rPr lang="en-US" dirty="0"/>
              <a:t>Example: a simple FIFO requirement</a:t>
            </a:r>
          </a:p>
        </p:txBody>
      </p:sp>
      <p:sp>
        <p:nvSpPr>
          <p:cNvPr id="6" name="TextBox 5">
            <a:extLst>
              <a:ext uri="{FF2B5EF4-FFF2-40B4-BE49-F238E27FC236}">
                <a16:creationId xmlns:a16="http://schemas.microsoft.com/office/drawing/2014/main" id="{42F182D8-2C1E-4576-B27F-DA5007809EFB}"/>
              </a:ext>
            </a:extLst>
          </p:cNvPr>
          <p:cNvSpPr txBox="1"/>
          <p:nvPr/>
        </p:nvSpPr>
        <p:spPr>
          <a:xfrm>
            <a:off x="1148931" y="1632246"/>
            <a:ext cx="3668166" cy="1328569"/>
          </a:xfrm>
          <a:prstGeom prst="rect">
            <a:avLst/>
          </a:prstGeom>
          <a:solidFill>
            <a:srgbClr val="00819B">
              <a:alpha val="10196"/>
            </a:srgbClr>
          </a:solidFill>
        </p:spPr>
        <p:txBody>
          <a:bodyPr wrap="square" lIns="91440" rtlCol="0">
            <a:spAutoFit/>
          </a:bodyPr>
          <a:lstStyle/>
          <a:p>
            <a:pPr algn="l"/>
            <a:r>
              <a:rPr lang="en-US" b="0" i="0" dirty="0">
                <a:solidFill>
                  <a:schemeClr val="tx1">
                    <a:lumMod val="50000"/>
                  </a:schemeClr>
                </a:solidFill>
                <a:effectLst/>
                <a:latin typeface="inherit"/>
              </a:rPr>
              <a:t>Requirement:</a:t>
            </a:r>
          </a:p>
          <a:p>
            <a:pPr algn="l">
              <a:spcAft>
                <a:spcPts val="1000"/>
              </a:spcAft>
            </a:pPr>
            <a:r>
              <a:rPr lang="en-US" b="0" i="0" dirty="0">
                <a:solidFill>
                  <a:schemeClr val="tx1">
                    <a:lumMod val="50000"/>
                  </a:schemeClr>
                </a:solidFill>
                <a:effectLst/>
                <a:latin typeface="inherit"/>
              </a:rPr>
              <a:t>“Products must </a:t>
            </a:r>
            <a:r>
              <a:rPr lang="en-US" b="0" i="1" dirty="0">
                <a:solidFill>
                  <a:schemeClr val="tx1">
                    <a:lumMod val="50000"/>
                  </a:schemeClr>
                </a:solidFill>
                <a:effectLst/>
                <a:latin typeface="inherit"/>
              </a:rPr>
              <a:t>enter</a:t>
            </a:r>
            <a:r>
              <a:rPr lang="en-US" b="0" i="0" dirty="0">
                <a:solidFill>
                  <a:schemeClr val="tx1">
                    <a:lumMod val="50000"/>
                  </a:schemeClr>
                </a:solidFill>
                <a:effectLst/>
                <a:latin typeface="inherit"/>
              </a:rPr>
              <a:t> and </a:t>
            </a:r>
            <a:r>
              <a:rPr lang="en-US" b="0" i="1" dirty="0">
                <a:solidFill>
                  <a:schemeClr val="tx1">
                    <a:lumMod val="50000"/>
                  </a:schemeClr>
                </a:solidFill>
                <a:effectLst/>
                <a:latin typeface="inherit"/>
              </a:rPr>
              <a:t>exit</a:t>
            </a:r>
            <a:r>
              <a:rPr lang="en-US" b="0" i="0" dirty="0">
                <a:solidFill>
                  <a:schemeClr val="tx1">
                    <a:lumMod val="50000"/>
                  </a:schemeClr>
                </a:solidFill>
                <a:effectLst/>
                <a:latin typeface="inherit"/>
              </a:rPr>
              <a:t> the system in FIFO order.”</a:t>
            </a:r>
          </a:p>
          <a:p>
            <a:pPr algn="l"/>
            <a:r>
              <a:rPr lang="en-US" b="0" dirty="0">
                <a:solidFill>
                  <a:schemeClr val="tx1">
                    <a:lumMod val="50000"/>
                  </a:schemeClr>
                </a:solidFill>
                <a:effectLst/>
                <a:latin typeface="inherit"/>
              </a:rPr>
              <a:t>What control conditions are needed?</a:t>
            </a:r>
          </a:p>
        </p:txBody>
      </p:sp>
    </p:spTree>
    <p:extLst>
      <p:ext uri="{BB962C8B-B14F-4D97-AF65-F5344CB8AC3E}">
        <p14:creationId xmlns:p14="http://schemas.microsoft.com/office/powerpoint/2010/main" val="3124470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555B4F-8BA5-4DFA-ABB3-65286F9B093C}"/>
              </a:ext>
            </a:extLst>
          </p:cNvPr>
          <p:cNvSpPr/>
          <p:nvPr/>
        </p:nvSpPr>
        <p:spPr>
          <a:xfrm>
            <a:off x="107997" y="6145161"/>
            <a:ext cx="5142430" cy="3763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A8198D5-AA5E-4050-A345-61D6763CA444}"/>
              </a:ext>
            </a:extLst>
          </p:cNvPr>
          <p:cNvSpPr txBox="1"/>
          <p:nvPr/>
        </p:nvSpPr>
        <p:spPr>
          <a:xfrm>
            <a:off x="324816" y="4950070"/>
            <a:ext cx="4654296" cy="1323439"/>
          </a:xfrm>
          <a:prstGeom prst="rect">
            <a:avLst/>
          </a:prstGeom>
          <a:solidFill>
            <a:srgbClr val="00819B">
              <a:alpha val="10196"/>
            </a:srgbClr>
          </a:solidFill>
        </p:spPr>
        <p:txBody>
          <a:bodyPr wrap="square" lIns="91440" bIns="0">
            <a:normAutofit/>
          </a:bodyPr>
          <a:lstStyle/>
          <a:p>
            <a:r>
              <a:rPr lang="en-US" sz="1600" b="1" dirty="0">
                <a:solidFill>
                  <a:schemeClr val="accent2"/>
                </a:solidFill>
                <a:latin typeface="inherit"/>
              </a:rPr>
              <a:t>Conclusion</a:t>
            </a:r>
          </a:p>
          <a:p>
            <a:pPr marL="61913" indent="-179388">
              <a:buFont typeface="Arial" panose="020B0604020202020204" pitchFamily="34" charset="0"/>
              <a:buChar char="•"/>
            </a:pPr>
            <a:r>
              <a:rPr lang="en-US" sz="1600" dirty="0">
                <a:solidFill>
                  <a:schemeClr val="tx1">
                    <a:lumMod val="50000"/>
                  </a:schemeClr>
                </a:solidFill>
                <a:latin typeface="inherit"/>
              </a:rPr>
              <a:t>This is a lot to consider, and quite subtle!</a:t>
            </a:r>
          </a:p>
          <a:p>
            <a:pPr marL="61913" indent="-179388">
              <a:buFont typeface="Arial" panose="020B0604020202020204" pitchFamily="34" charset="0"/>
              <a:buChar char="•"/>
            </a:pPr>
            <a:r>
              <a:rPr lang="en-US" sz="1600" dirty="0">
                <a:solidFill>
                  <a:schemeClr val="tx1">
                    <a:lumMod val="50000"/>
                  </a:schemeClr>
                </a:solidFill>
                <a:latin typeface="inherit"/>
              </a:rPr>
              <a:t>This is still simple (small system, single requirement)</a:t>
            </a:r>
          </a:p>
          <a:p>
            <a:pPr marL="61913" indent="-179388">
              <a:buFont typeface="Arial" panose="020B0604020202020204" pitchFamily="34" charset="0"/>
              <a:buChar char="•"/>
            </a:pPr>
            <a:r>
              <a:rPr lang="en-US" sz="1600" dirty="0">
                <a:solidFill>
                  <a:schemeClr val="tx1">
                    <a:lumMod val="50000"/>
                  </a:schemeClr>
                </a:solidFill>
                <a:latin typeface="inherit"/>
              </a:rPr>
              <a:t>Would you have arrived at this solution?</a:t>
            </a:r>
          </a:p>
          <a:p>
            <a:pPr marL="61913" indent="-179388">
              <a:buFont typeface="Arial" panose="020B0604020202020204" pitchFamily="34" charset="0"/>
              <a:buChar char="•"/>
            </a:pPr>
            <a:r>
              <a:rPr lang="en-US" sz="1600" dirty="0">
                <a:solidFill>
                  <a:schemeClr val="tx1">
                    <a:lumMod val="50000"/>
                  </a:schemeClr>
                </a:solidFill>
                <a:latin typeface="inherit"/>
              </a:rPr>
              <a:t>How long would it have taken you to?</a:t>
            </a:r>
          </a:p>
        </p:txBody>
      </p:sp>
      <p:pic>
        <p:nvPicPr>
          <p:cNvPr id="8" name="Content Placeholder 7">
            <a:extLst>
              <a:ext uri="{FF2B5EF4-FFF2-40B4-BE49-F238E27FC236}">
                <a16:creationId xmlns:a16="http://schemas.microsoft.com/office/drawing/2014/main" id="{6E243D4A-57D6-4080-B2B8-244EC01911D2}"/>
              </a:ext>
            </a:extLst>
          </p:cNvPr>
          <p:cNvPicPr>
            <a:picLocks noGrp="1" noChangeAspect="1"/>
          </p:cNvPicPr>
          <p:nvPr>
            <p:ph sz="quarter" idx="13"/>
          </p:nvPr>
        </p:nvPicPr>
        <p:blipFill>
          <a:blip r:embed="rId2"/>
          <a:stretch>
            <a:fillRect/>
          </a:stretch>
        </p:blipFill>
        <p:spPr>
          <a:xfrm>
            <a:off x="5052767" y="3788429"/>
            <a:ext cx="7031237" cy="2976147"/>
          </a:xfrm>
        </p:spPr>
      </p:pic>
      <p:sp>
        <p:nvSpPr>
          <p:cNvPr id="4" name="Title 3">
            <a:extLst>
              <a:ext uri="{FF2B5EF4-FFF2-40B4-BE49-F238E27FC236}">
                <a16:creationId xmlns:a16="http://schemas.microsoft.com/office/drawing/2014/main" id="{199F15E6-CF5C-482E-9CDF-B27E12E02491}"/>
              </a:ext>
            </a:extLst>
          </p:cNvPr>
          <p:cNvSpPr>
            <a:spLocks noGrp="1"/>
          </p:cNvSpPr>
          <p:nvPr>
            <p:ph type="title"/>
          </p:nvPr>
        </p:nvSpPr>
        <p:spPr/>
        <p:txBody>
          <a:bodyPr>
            <a:normAutofit/>
          </a:bodyPr>
          <a:lstStyle/>
          <a:p>
            <a:r>
              <a:rPr lang="en-US" dirty="0"/>
              <a:t>Example: the control conditions</a:t>
            </a:r>
          </a:p>
        </p:txBody>
      </p:sp>
      <p:sp>
        <p:nvSpPr>
          <p:cNvPr id="6" name="TextBox 5">
            <a:extLst>
              <a:ext uri="{FF2B5EF4-FFF2-40B4-BE49-F238E27FC236}">
                <a16:creationId xmlns:a16="http://schemas.microsoft.com/office/drawing/2014/main" id="{42F182D8-2C1E-4576-B27F-DA5007809EFB}"/>
              </a:ext>
            </a:extLst>
          </p:cNvPr>
          <p:cNvSpPr txBox="1"/>
          <p:nvPr/>
        </p:nvSpPr>
        <p:spPr>
          <a:xfrm>
            <a:off x="324816" y="1551563"/>
            <a:ext cx="8409849" cy="2923877"/>
          </a:xfrm>
          <a:prstGeom prst="rect">
            <a:avLst/>
          </a:prstGeom>
          <a:noFill/>
        </p:spPr>
        <p:txBody>
          <a:bodyPr wrap="square" lIns="0" rtlCol="0">
            <a:spAutoFit/>
          </a:bodyPr>
          <a:lstStyle/>
          <a:p>
            <a:pPr marL="227013" indent="-227013">
              <a:buFont typeface="+mj-lt"/>
              <a:buAutoNum type="arabicPeriod"/>
            </a:pPr>
            <a:r>
              <a:rPr lang="en-US" b="1" dirty="0">
                <a:solidFill>
                  <a:schemeClr val="accent2"/>
                </a:solidFill>
                <a:latin typeface="inherit"/>
              </a:rPr>
              <a:t>Movement </a:t>
            </a:r>
            <a:r>
              <a:rPr lang="en-US" b="1" i="1" dirty="0">
                <a:solidFill>
                  <a:schemeClr val="accent2"/>
                </a:solidFill>
                <a:latin typeface="inherit"/>
              </a:rPr>
              <a:t>done1</a:t>
            </a:r>
            <a:r>
              <a:rPr lang="en-US" b="1" dirty="0">
                <a:solidFill>
                  <a:schemeClr val="accent2"/>
                </a:solidFill>
                <a:latin typeface="inherit"/>
              </a:rPr>
              <a:t> is only allowed if the following two conditions both hold:</a:t>
            </a:r>
          </a:p>
          <a:p>
            <a:pPr marL="519113" lvl="1" indent="-179388">
              <a:buFont typeface="Arial" panose="020B0604020202020204" pitchFamily="34" charset="0"/>
              <a:buChar char="•"/>
            </a:pPr>
            <a:r>
              <a:rPr lang="en-US" sz="1600" dirty="0">
                <a:solidFill>
                  <a:schemeClr val="tx1">
                    <a:lumMod val="50000"/>
                  </a:schemeClr>
                </a:solidFill>
                <a:latin typeface="inherit"/>
              </a:rPr>
              <a:t>Either there is no product at the </a:t>
            </a:r>
            <a:r>
              <a:rPr lang="en-US" sz="1600" i="1" dirty="0">
                <a:solidFill>
                  <a:schemeClr val="tx1">
                    <a:lumMod val="50000"/>
                  </a:schemeClr>
                </a:solidFill>
                <a:latin typeface="inherit"/>
              </a:rPr>
              <a:t>DISP</a:t>
            </a:r>
            <a:r>
              <a:rPr lang="en-US" sz="1600" dirty="0">
                <a:solidFill>
                  <a:schemeClr val="tx1">
                    <a:lumMod val="50000"/>
                  </a:schemeClr>
                </a:solidFill>
                <a:latin typeface="inherit"/>
              </a:rPr>
              <a:t> place, or it is a later product than at the </a:t>
            </a:r>
            <a:r>
              <a:rPr lang="en-US" sz="1600" i="1" dirty="0">
                <a:solidFill>
                  <a:schemeClr val="tx1">
                    <a:lumMod val="50000"/>
                  </a:schemeClr>
                </a:solidFill>
                <a:latin typeface="inherit"/>
              </a:rPr>
              <a:t>OP1</a:t>
            </a:r>
            <a:r>
              <a:rPr lang="en-US" sz="1600" dirty="0">
                <a:solidFill>
                  <a:schemeClr val="tx1">
                    <a:lumMod val="50000"/>
                  </a:schemeClr>
                </a:solidFill>
                <a:latin typeface="inherit"/>
              </a:rPr>
              <a:t> place.</a:t>
            </a:r>
          </a:p>
          <a:p>
            <a:pPr marL="519113" lvl="1" indent="-179388">
              <a:buFont typeface="Arial" panose="020B0604020202020204" pitchFamily="34" charset="0"/>
              <a:buChar char="•"/>
            </a:pPr>
            <a:r>
              <a:rPr lang="en-US" sz="1600" dirty="0">
                <a:solidFill>
                  <a:schemeClr val="tx1">
                    <a:lumMod val="50000"/>
                  </a:schemeClr>
                </a:solidFill>
                <a:latin typeface="inherit"/>
              </a:rPr>
              <a:t>Either there is no product at the </a:t>
            </a:r>
            <a:r>
              <a:rPr lang="en-US" sz="1600" i="1" dirty="0">
                <a:solidFill>
                  <a:schemeClr val="tx1">
                    <a:lumMod val="50000"/>
                  </a:schemeClr>
                </a:solidFill>
                <a:latin typeface="inherit"/>
              </a:rPr>
              <a:t>OP2</a:t>
            </a:r>
            <a:r>
              <a:rPr lang="en-US" sz="1600" dirty="0">
                <a:solidFill>
                  <a:schemeClr val="tx1">
                    <a:lumMod val="50000"/>
                  </a:schemeClr>
                </a:solidFill>
                <a:latin typeface="inherit"/>
              </a:rPr>
              <a:t> place, or it is a later product than at the </a:t>
            </a:r>
            <a:r>
              <a:rPr lang="en-US" sz="1600" i="1" dirty="0">
                <a:solidFill>
                  <a:schemeClr val="tx1">
                    <a:lumMod val="50000"/>
                  </a:schemeClr>
                </a:solidFill>
                <a:latin typeface="inherit"/>
              </a:rPr>
              <a:t>OP1</a:t>
            </a:r>
            <a:r>
              <a:rPr lang="en-US" sz="1600" dirty="0">
                <a:solidFill>
                  <a:schemeClr val="tx1">
                    <a:lumMod val="50000"/>
                  </a:schemeClr>
                </a:solidFill>
                <a:latin typeface="inherit"/>
              </a:rPr>
              <a:t> place.</a:t>
            </a:r>
            <a:endParaRPr lang="en-US" b="1" dirty="0">
              <a:solidFill>
                <a:schemeClr val="accent2"/>
              </a:solidFill>
              <a:latin typeface="inherit"/>
            </a:endParaRPr>
          </a:p>
          <a:p>
            <a:pPr marL="227013" indent="-227013">
              <a:buFont typeface="+mj-lt"/>
              <a:buAutoNum type="arabicPeriod"/>
            </a:pPr>
            <a:r>
              <a:rPr lang="en-US" b="1" dirty="0">
                <a:solidFill>
                  <a:schemeClr val="accent2"/>
                </a:solidFill>
                <a:latin typeface="inherit"/>
              </a:rPr>
              <a:t>Movement </a:t>
            </a:r>
            <a:r>
              <a:rPr lang="en-US" b="1" i="1" dirty="0">
                <a:solidFill>
                  <a:schemeClr val="accent2"/>
                </a:solidFill>
                <a:latin typeface="inherit"/>
              </a:rPr>
              <a:t>done2</a:t>
            </a:r>
            <a:r>
              <a:rPr lang="en-US" b="1" dirty="0">
                <a:solidFill>
                  <a:schemeClr val="accent2"/>
                </a:solidFill>
                <a:latin typeface="inherit"/>
              </a:rPr>
              <a:t> is only allowed if the following two conditions both hold:</a:t>
            </a:r>
          </a:p>
          <a:p>
            <a:pPr marL="519113" lvl="1" indent="-179388">
              <a:buFont typeface="Arial" panose="020B0604020202020204" pitchFamily="34" charset="0"/>
              <a:buChar char="•"/>
            </a:pPr>
            <a:r>
              <a:rPr lang="en-US" sz="1600" dirty="0">
                <a:solidFill>
                  <a:schemeClr val="tx1">
                    <a:lumMod val="50000"/>
                  </a:schemeClr>
                </a:solidFill>
                <a:latin typeface="inherit"/>
              </a:rPr>
              <a:t>Either there is no product at the </a:t>
            </a:r>
            <a:r>
              <a:rPr lang="en-US" sz="1600" i="1" dirty="0">
                <a:solidFill>
                  <a:schemeClr val="tx1">
                    <a:lumMod val="50000"/>
                  </a:schemeClr>
                </a:solidFill>
                <a:latin typeface="inherit"/>
              </a:rPr>
              <a:t>DISP</a:t>
            </a:r>
            <a:r>
              <a:rPr lang="en-US" sz="1600" dirty="0">
                <a:solidFill>
                  <a:schemeClr val="tx1">
                    <a:lumMod val="50000"/>
                  </a:schemeClr>
                </a:solidFill>
                <a:latin typeface="inherit"/>
              </a:rPr>
              <a:t> place, or it is a later product than at the </a:t>
            </a:r>
            <a:r>
              <a:rPr lang="en-US" sz="1600" i="1" dirty="0">
                <a:solidFill>
                  <a:schemeClr val="tx1">
                    <a:lumMod val="50000"/>
                  </a:schemeClr>
                </a:solidFill>
                <a:latin typeface="inherit"/>
              </a:rPr>
              <a:t>OP2</a:t>
            </a:r>
            <a:r>
              <a:rPr lang="en-US" sz="1600" dirty="0">
                <a:solidFill>
                  <a:schemeClr val="tx1">
                    <a:lumMod val="50000"/>
                  </a:schemeClr>
                </a:solidFill>
                <a:latin typeface="inherit"/>
              </a:rPr>
              <a:t> place.</a:t>
            </a:r>
          </a:p>
          <a:p>
            <a:pPr marL="519113" lvl="1" indent="-179388">
              <a:buFont typeface="Arial" panose="020B0604020202020204" pitchFamily="34" charset="0"/>
              <a:buChar char="•"/>
            </a:pPr>
            <a:r>
              <a:rPr lang="en-US" sz="1600" dirty="0">
                <a:solidFill>
                  <a:schemeClr val="tx1">
                    <a:lumMod val="50000"/>
                  </a:schemeClr>
                </a:solidFill>
                <a:latin typeface="inherit"/>
              </a:rPr>
              <a:t>Either there is no product at the </a:t>
            </a:r>
            <a:r>
              <a:rPr lang="en-US" sz="1600" i="1" dirty="0">
                <a:solidFill>
                  <a:schemeClr val="tx1">
                    <a:lumMod val="50000"/>
                  </a:schemeClr>
                </a:solidFill>
                <a:latin typeface="inherit"/>
              </a:rPr>
              <a:t>OP1</a:t>
            </a:r>
            <a:r>
              <a:rPr lang="en-US" sz="1600" dirty="0">
                <a:solidFill>
                  <a:schemeClr val="tx1">
                    <a:lumMod val="50000"/>
                  </a:schemeClr>
                </a:solidFill>
                <a:latin typeface="inherit"/>
              </a:rPr>
              <a:t> place, or it is a later product than at the </a:t>
            </a:r>
            <a:r>
              <a:rPr lang="en-US" sz="1600" i="1" dirty="0">
                <a:solidFill>
                  <a:schemeClr val="tx1">
                    <a:lumMod val="50000"/>
                  </a:schemeClr>
                </a:solidFill>
                <a:latin typeface="inherit"/>
              </a:rPr>
              <a:t>OP2</a:t>
            </a:r>
            <a:r>
              <a:rPr lang="en-US" sz="1600" dirty="0">
                <a:solidFill>
                  <a:schemeClr val="tx1">
                    <a:lumMod val="50000"/>
                  </a:schemeClr>
                </a:solidFill>
                <a:latin typeface="inherit"/>
              </a:rPr>
              <a:t> place.</a:t>
            </a:r>
            <a:endParaRPr lang="en-US" b="1" dirty="0">
              <a:solidFill>
                <a:schemeClr val="accent2"/>
              </a:solidFill>
              <a:latin typeface="inherit"/>
            </a:endParaRPr>
          </a:p>
          <a:p>
            <a:pPr marL="227013" indent="-227013" algn="l">
              <a:buFont typeface="+mj-lt"/>
              <a:buAutoNum type="arabicPeriod"/>
            </a:pPr>
            <a:r>
              <a:rPr lang="en-US" b="1" i="0" dirty="0">
                <a:solidFill>
                  <a:schemeClr val="accent2"/>
                </a:solidFill>
                <a:effectLst/>
                <a:latin typeface="inherit"/>
              </a:rPr>
              <a:t>Movement </a:t>
            </a:r>
            <a:r>
              <a:rPr lang="en-US" b="1" i="1" dirty="0">
                <a:solidFill>
                  <a:schemeClr val="accent2"/>
                </a:solidFill>
                <a:effectLst/>
                <a:latin typeface="inherit"/>
              </a:rPr>
              <a:t>start</a:t>
            </a:r>
            <a:r>
              <a:rPr lang="en-US" b="1" i="0" dirty="0">
                <a:solidFill>
                  <a:schemeClr val="accent2"/>
                </a:solidFill>
                <a:effectLst/>
                <a:latin typeface="inherit"/>
              </a:rPr>
              <a:t> is only allowed if one of the following two conditions holds:</a:t>
            </a:r>
          </a:p>
          <a:p>
            <a:pPr marL="519113" lvl="1" indent="-179388">
              <a:buFont typeface="Arial" panose="020B0604020202020204" pitchFamily="34" charset="0"/>
              <a:buChar char="•"/>
            </a:pPr>
            <a:r>
              <a:rPr lang="en-US" sz="1600" b="0" i="0" dirty="0">
                <a:solidFill>
                  <a:schemeClr val="tx1">
                    <a:lumMod val="50000"/>
                  </a:schemeClr>
                </a:solidFill>
                <a:effectLst/>
                <a:latin typeface="inherit"/>
              </a:rPr>
              <a:t>At the </a:t>
            </a:r>
            <a:r>
              <a:rPr lang="en-US" sz="1600" b="0" i="1" dirty="0">
                <a:solidFill>
                  <a:schemeClr val="tx1">
                    <a:lumMod val="50000"/>
                  </a:schemeClr>
                </a:solidFill>
                <a:effectLst/>
                <a:latin typeface="inherit"/>
              </a:rPr>
              <a:t>DISP</a:t>
            </a:r>
            <a:r>
              <a:rPr lang="en-US" sz="1600" b="0" i="0" dirty="0">
                <a:solidFill>
                  <a:schemeClr val="tx1">
                    <a:lumMod val="50000"/>
                  </a:schemeClr>
                </a:solidFill>
                <a:effectLst/>
                <a:latin typeface="inherit"/>
              </a:rPr>
              <a:t> place, </a:t>
            </a:r>
            <a:r>
              <a:rPr lang="en-US" sz="1600" b="0" i="1" dirty="0">
                <a:solidFill>
                  <a:schemeClr val="tx1">
                    <a:lumMod val="50000"/>
                  </a:schemeClr>
                </a:solidFill>
                <a:effectLst/>
                <a:latin typeface="inherit"/>
              </a:rPr>
              <a:t>OP1</a:t>
            </a:r>
            <a:r>
              <a:rPr lang="en-US" sz="1600" b="0" i="0" dirty="0">
                <a:solidFill>
                  <a:schemeClr val="tx1">
                    <a:lumMod val="50000"/>
                  </a:schemeClr>
                </a:solidFill>
                <a:effectLst/>
                <a:latin typeface="inherit"/>
              </a:rPr>
              <a:t> place, </a:t>
            </a:r>
            <a:r>
              <a:rPr lang="en-US" sz="1600" b="0" i="1" dirty="0">
                <a:solidFill>
                  <a:schemeClr val="tx1">
                    <a:lumMod val="50000"/>
                  </a:schemeClr>
                </a:solidFill>
                <a:effectLst/>
                <a:latin typeface="inherit"/>
              </a:rPr>
              <a:t>OP2</a:t>
            </a:r>
            <a:r>
              <a:rPr lang="en-US" sz="1600" b="0" i="0" dirty="0">
                <a:solidFill>
                  <a:schemeClr val="tx1">
                    <a:lumMod val="50000"/>
                  </a:schemeClr>
                </a:solidFill>
                <a:effectLst/>
                <a:latin typeface="inherit"/>
              </a:rPr>
              <a:t> place, and </a:t>
            </a:r>
            <a:r>
              <a:rPr lang="en-US" sz="1600" b="0" i="1" dirty="0">
                <a:solidFill>
                  <a:schemeClr val="tx1">
                    <a:lumMod val="50000"/>
                  </a:schemeClr>
                </a:solidFill>
                <a:effectLst/>
                <a:latin typeface="inherit"/>
              </a:rPr>
              <a:t>CHK</a:t>
            </a:r>
            <a:r>
              <a:rPr lang="en-US" sz="1600" b="0" i="0" dirty="0">
                <a:solidFill>
                  <a:schemeClr val="tx1">
                    <a:lumMod val="50000"/>
                  </a:schemeClr>
                </a:solidFill>
                <a:effectLst/>
                <a:latin typeface="inherit"/>
              </a:rPr>
              <a:t> place, there is in total at most one product.</a:t>
            </a:r>
          </a:p>
          <a:p>
            <a:pPr marL="519113" lvl="1" indent="-179388">
              <a:buFont typeface="Arial" panose="020B0604020202020204" pitchFamily="34" charset="0"/>
              <a:buChar char="•"/>
            </a:pPr>
            <a:r>
              <a:rPr lang="en-US" sz="1600" b="0" i="0" dirty="0">
                <a:solidFill>
                  <a:schemeClr val="tx1">
                    <a:lumMod val="50000"/>
                  </a:schemeClr>
                </a:solidFill>
                <a:effectLst/>
                <a:latin typeface="inherit"/>
              </a:rPr>
              <a:t>At the </a:t>
            </a:r>
            <a:r>
              <a:rPr lang="en-US" sz="1600" b="0" i="1" dirty="0">
                <a:solidFill>
                  <a:schemeClr val="tx1">
                    <a:lumMod val="50000"/>
                  </a:schemeClr>
                </a:solidFill>
                <a:effectLst/>
                <a:latin typeface="inherit"/>
              </a:rPr>
              <a:t>DISP</a:t>
            </a:r>
            <a:r>
              <a:rPr lang="en-US" sz="1600" b="0" i="0" dirty="0">
                <a:solidFill>
                  <a:schemeClr val="tx1">
                    <a:lumMod val="50000"/>
                  </a:schemeClr>
                </a:solidFill>
                <a:effectLst/>
                <a:latin typeface="inherit"/>
              </a:rPr>
              <a:t> place, </a:t>
            </a:r>
            <a:r>
              <a:rPr lang="en-US" sz="1600" b="0" i="1" dirty="0">
                <a:solidFill>
                  <a:schemeClr val="tx1">
                    <a:lumMod val="50000"/>
                  </a:schemeClr>
                </a:solidFill>
                <a:effectLst/>
                <a:latin typeface="inherit"/>
              </a:rPr>
              <a:t>OP1</a:t>
            </a:r>
            <a:r>
              <a:rPr lang="en-US" sz="1600" b="0" i="0" dirty="0">
                <a:solidFill>
                  <a:schemeClr val="tx1">
                    <a:lumMod val="50000"/>
                  </a:schemeClr>
                </a:solidFill>
                <a:effectLst/>
                <a:latin typeface="inherit"/>
              </a:rPr>
              <a:t> place, and </a:t>
            </a:r>
            <a:r>
              <a:rPr lang="en-US" sz="1600" b="0" i="1" dirty="0">
                <a:solidFill>
                  <a:schemeClr val="tx1">
                    <a:lumMod val="50000"/>
                  </a:schemeClr>
                </a:solidFill>
                <a:effectLst/>
                <a:latin typeface="inherit"/>
              </a:rPr>
              <a:t>OP2</a:t>
            </a:r>
            <a:r>
              <a:rPr lang="en-US" sz="1600" b="0" i="0" dirty="0">
                <a:solidFill>
                  <a:schemeClr val="tx1">
                    <a:lumMod val="50000"/>
                  </a:schemeClr>
                </a:solidFill>
                <a:effectLst/>
                <a:latin typeface="inherit"/>
              </a:rPr>
              <a:t> place, there is in total at most one product. There is also a product at the </a:t>
            </a:r>
            <a:r>
              <a:rPr lang="en-US" sz="1600" b="0" i="1" dirty="0">
                <a:solidFill>
                  <a:schemeClr val="tx1">
                    <a:lumMod val="50000"/>
                  </a:schemeClr>
                </a:solidFill>
                <a:effectLst/>
                <a:latin typeface="inherit"/>
              </a:rPr>
              <a:t>CHK</a:t>
            </a:r>
            <a:r>
              <a:rPr lang="en-US" sz="1600" b="0" i="0" dirty="0">
                <a:solidFill>
                  <a:schemeClr val="tx1">
                    <a:lumMod val="50000"/>
                  </a:schemeClr>
                </a:solidFill>
                <a:effectLst/>
                <a:latin typeface="inherit"/>
              </a:rPr>
              <a:t> place and the check indicates the product was successfully processed.</a:t>
            </a:r>
            <a:endParaRPr lang="en-US" b="1" i="0" dirty="0">
              <a:solidFill>
                <a:schemeClr val="accent2"/>
              </a:solidFill>
              <a:effectLst/>
              <a:latin typeface="inherit"/>
            </a:endParaRPr>
          </a:p>
          <a:p>
            <a:pPr marL="227013" indent="-227013" algn="l">
              <a:buFont typeface="+mj-lt"/>
              <a:buAutoNum type="arabicPeriod"/>
            </a:pPr>
            <a:r>
              <a:rPr lang="en-US" b="1" i="0" dirty="0">
                <a:solidFill>
                  <a:schemeClr val="accent2"/>
                </a:solidFill>
                <a:effectLst/>
                <a:latin typeface="inherit"/>
              </a:rPr>
              <a:t>Movement </a:t>
            </a:r>
            <a:r>
              <a:rPr lang="en-US" b="1" i="1" dirty="0">
                <a:solidFill>
                  <a:schemeClr val="accent2"/>
                </a:solidFill>
                <a:effectLst/>
                <a:latin typeface="inherit"/>
              </a:rPr>
              <a:t>enter</a:t>
            </a:r>
            <a:r>
              <a:rPr lang="en-US" b="1" i="0" dirty="0">
                <a:solidFill>
                  <a:schemeClr val="accent2"/>
                </a:solidFill>
                <a:effectLst/>
                <a:latin typeface="inherit"/>
              </a:rPr>
              <a:t> is only allowed if less than four products are in the system.</a:t>
            </a:r>
          </a:p>
        </p:txBody>
      </p:sp>
      <p:sp>
        <p:nvSpPr>
          <p:cNvPr id="2" name="Slide Number Placeholder 1">
            <a:extLst>
              <a:ext uri="{FF2B5EF4-FFF2-40B4-BE49-F238E27FC236}">
                <a16:creationId xmlns:a16="http://schemas.microsoft.com/office/drawing/2014/main" id="{2F7388C7-D88D-4711-BC3B-330E30615D26}"/>
              </a:ext>
            </a:extLst>
          </p:cNvPr>
          <p:cNvSpPr>
            <a:spLocks noGrp="1"/>
          </p:cNvSpPr>
          <p:nvPr>
            <p:ph type="sldNum" sz="quarter" idx="12"/>
          </p:nvPr>
        </p:nvSpPr>
        <p:spPr/>
        <p:txBody>
          <a:bodyPr/>
          <a:lstStyle/>
          <a:p>
            <a:fld id="{9C59798B-84E5-F441-8110-84C3B6182022}" type="slidenum">
              <a:rPr lang="nl-NL" smtClean="0"/>
              <a:pPr/>
              <a:t>8</a:t>
            </a:fld>
            <a:endParaRPr lang="nl-NL"/>
          </a:p>
        </p:txBody>
      </p:sp>
    </p:spTree>
    <p:extLst>
      <p:ext uri="{BB962C8B-B14F-4D97-AF65-F5344CB8AC3E}">
        <p14:creationId xmlns:p14="http://schemas.microsoft.com/office/powerpoint/2010/main" val="2464643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5BD0CF5-A188-4728-B5E9-A02851FD3D2A}"/>
              </a:ext>
            </a:extLst>
          </p:cNvPr>
          <p:cNvSpPr>
            <a:spLocks noGrp="1"/>
          </p:cNvSpPr>
          <p:nvPr>
            <p:ph type="sldNum" sz="quarter" idx="12"/>
          </p:nvPr>
        </p:nvSpPr>
        <p:spPr/>
        <p:txBody>
          <a:bodyPr/>
          <a:lstStyle/>
          <a:p>
            <a:fld id="{9C59798B-84E5-F441-8110-84C3B6182022}" type="slidenum">
              <a:rPr lang="nl-NL" smtClean="0"/>
              <a:pPr/>
              <a:t>9</a:t>
            </a:fld>
            <a:endParaRPr lang="nl-NL"/>
          </a:p>
        </p:txBody>
      </p:sp>
      <p:sp>
        <p:nvSpPr>
          <p:cNvPr id="3" name="Content Placeholder 2">
            <a:extLst>
              <a:ext uri="{FF2B5EF4-FFF2-40B4-BE49-F238E27FC236}">
                <a16:creationId xmlns:a16="http://schemas.microsoft.com/office/drawing/2014/main" id="{31AE6699-32A7-42FF-911F-627BF729B6BC}"/>
              </a:ext>
            </a:extLst>
          </p:cNvPr>
          <p:cNvSpPr>
            <a:spLocks noGrp="1"/>
          </p:cNvSpPr>
          <p:nvPr>
            <p:ph sz="quarter" idx="13"/>
          </p:nvPr>
        </p:nvSpPr>
        <p:spPr/>
        <p:txBody>
          <a:bodyPr>
            <a:normAutofit fontScale="85000" lnSpcReduction="20000"/>
          </a:bodyPr>
          <a:lstStyle/>
          <a:p>
            <a:r>
              <a:rPr lang="en-US" dirty="0"/>
              <a:t>Better quality controllers, by reducing human error</a:t>
            </a:r>
          </a:p>
          <a:p>
            <a:pPr marL="457200" lvl="1" indent="-227013" defTabSz="688975">
              <a:buFont typeface="Arial" panose="020B0604020202020204" pitchFamily="34" charset="0"/>
              <a:buChar char="•"/>
            </a:pPr>
            <a:r>
              <a:rPr lang="en-US" b="1" dirty="0"/>
              <a:t>Model-based approach	</a:t>
            </a:r>
            <a:r>
              <a:rPr lang="en-US" dirty="0"/>
              <a:t>Intuitive, unambiguous, complete, consistent, up-to-date specifications (single source of truth)</a:t>
            </a:r>
          </a:p>
          <a:p>
            <a:pPr marL="457200" lvl="1" indent="-227013" defTabSz="688975">
              <a:buFont typeface="Arial" panose="020B0604020202020204" pitchFamily="34" charset="0"/>
              <a:buChar char="•"/>
            </a:pPr>
            <a:r>
              <a:rPr lang="en-US" b="1" dirty="0"/>
              <a:t>Design assistance</a:t>
            </a:r>
            <a:r>
              <a:rPr lang="en-US" dirty="0"/>
              <a:t>		Automatically detect conflicting requirements, prevent </a:t>
            </a:r>
            <a:r>
              <a:rPr lang="en-US" dirty="0" err="1"/>
              <a:t>livelocks</a:t>
            </a:r>
            <a:r>
              <a:rPr lang="en-US" dirty="0"/>
              <a:t>, and more</a:t>
            </a:r>
          </a:p>
          <a:p>
            <a:pPr marL="457200" lvl="1" indent="-227013" defTabSz="688975">
              <a:buFont typeface="Arial" panose="020B0604020202020204" pitchFamily="34" charset="0"/>
              <a:buChar char="•"/>
            </a:pPr>
            <a:r>
              <a:rPr lang="en-US" b="1" dirty="0"/>
              <a:t>Synthesis</a:t>
            </a:r>
            <a:r>
              <a:rPr lang="en-US" dirty="0"/>
              <a:t>			Automatically compute correct-by-construction control conditions, for every possible scenario</a:t>
            </a:r>
          </a:p>
          <a:p>
            <a:pPr marL="457200" lvl="1" indent="-227013" defTabSz="688975">
              <a:buFont typeface="Arial" panose="020B0604020202020204" pitchFamily="34" charset="0"/>
              <a:buChar char="•"/>
            </a:pPr>
            <a:r>
              <a:rPr lang="en-US" b="1" dirty="0"/>
              <a:t>Code generation</a:t>
            </a:r>
            <a:r>
              <a:rPr lang="en-US" dirty="0"/>
              <a:t>		Automatically generate correct-by-construction controller code</a:t>
            </a:r>
          </a:p>
          <a:p>
            <a:pPr>
              <a:spcBef>
                <a:spcPts val="1500"/>
              </a:spcBef>
            </a:pPr>
            <a:r>
              <a:rPr lang="en-US" dirty="0"/>
              <a:t>Reduced engineering effort, by focusing on what is essential</a:t>
            </a:r>
          </a:p>
          <a:p>
            <a:pPr marL="457200" lvl="1" indent="-227013" defTabSz="685800">
              <a:buFont typeface="Arial" panose="020B0604020202020204" pitchFamily="34" charset="0"/>
              <a:buChar char="•"/>
            </a:pPr>
            <a:r>
              <a:rPr lang="en-US" b="1" dirty="0"/>
              <a:t>Computer-aided</a:t>
            </a:r>
            <a:r>
              <a:rPr lang="en-US" dirty="0"/>
              <a:t>		Automation and computer-aided design save valuable time, shortening the development cycle</a:t>
            </a:r>
          </a:p>
          <a:p>
            <a:pPr marL="457200" lvl="1" indent="-227013" defTabSz="685800">
              <a:buFont typeface="Arial" panose="020B0604020202020204" pitchFamily="34" charset="0"/>
              <a:buChar char="•"/>
            </a:pPr>
            <a:r>
              <a:rPr lang="en-US" b="1" dirty="0"/>
              <a:t>Early validation</a:t>
            </a:r>
            <a:r>
              <a:rPr lang="en-US" dirty="0"/>
              <a:t>		Analyze the system behavior virtually (e.g., digital twins) already during early development phases</a:t>
            </a:r>
          </a:p>
          <a:p>
            <a:pPr marL="457200" lvl="1" indent="-227013" defTabSz="685800">
              <a:buFont typeface="Arial" panose="020B0604020202020204" pitchFamily="34" charset="0"/>
              <a:buChar char="•"/>
            </a:pPr>
            <a:r>
              <a:rPr lang="en-US" b="1" dirty="0"/>
              <a:t>Solution-centric	</a:t>
            </a:r>
            <a:r>
              <a:rPr lang="en-US" dirty="0"/>
              <a:t>	Not problems (iterative counter examples), but solutions (in one go the correct control conditions)</a:t>
            </a:r>
          </a:p>
          <a:p>
            <a:pPr marL="457200" lvl="1" indent="-227013" defTabSz="685800">
              <a:buFont typeface="Arial" panose="020B0604020202020204" pitchFamily="34" charset="0"/>
              <a:buChar char="•"/>
            </a:pPr>
            <a:r>
              <a:rPr lang="en-US" b="1" dirty="0"/>
              <a:t>Vendor independence</a:t>
            </a:r>
            <a:r>
              <a:rPr lang="en-US" dirty="0"/>
              <a:t>	With the push of a button generate code for different programming languages and vendors</a:t>
            </a:r>
          </a:p>
          <a:p>
            <a:pPr marL="457200" lvl="1" indent="-227013" defTabSz="685800">
              <a:buFont typeface="Arial" panose="020B0604020202020204" pitchFamily="34" charset="0"/>
              <a:buChar char="•"/>
            </a:pPr>
            <a:r>
              <a:rPr lang="en-US" b="1" dirty="0"/>
              <a:t>The right focus</a:t>
            </a:r>
            <a:r>
              <a:rPr lang="en-US" dirty="0"/>
              <a:t>		Focus on </a:t>
            </a:r>
            <a:r>
              <a:rPr lang="en-US" i="1" dirty="0"/>
              <a:t>what</a:t>
            </a:r>
            <a:r>
              <a:rPr lang="en-US" dirty="0"/>
              <a:t> the controller should do (requirements/validation), not </a:t>
            </a:r>
            <a:r>
              <a:rPr lang="en-US" i="1" dirty="0"/>
              <a:t>how</a:t>
            </a:r>
            <a:r>
              <a:rPr lang="en-US" dirty="0"/>
              <a:t> (controller design/</a:t>
            </a:r>
            <a:r>
              <a:rPr lang="en-US" dirty="0" err="1"/>
              <a:t>impl</a:t>
            </a:r>
            <a:r>
              <a:rPr lang="en-US" dirty="0"/>
              <a:t>.)</a:t>
            </a:r>
          </a:p>
          <a:p>
            <a:pPr>
              <a:spcBef>
                <a:spcPts val="1500"/>
              </a:spcBef>
            </a:pPr>
            <a:r>
              <a:rPr lang="en-US" dirty="0"/>
              <a:t>Supports large industrial systems, by efficient controller engineering</a:t>
            </a:r>
          </a:p>
          <a:p>
            <a:pPr marL="457200" lvl="1" indent="-227013">
              <a:buFont typeface="Arial" panose="020B0604020202020204" pitchFamily="34" charset="0"/>
              <a:buChar char="•"/>
            </a:pPr>
            <a:r>
              <a:rPr lang="en-US" b="1" dirty="0"/>
              <a:t>Incremental engineering</a:t>
            </a:r>
            <a:r>
              <a:rPr lang="en-US" dirty="0"/>
              <a:t>	Modular design and re-synthesis upon changes enable incremental engineering, to ease evolution</a:t>
            </a:r>
          </a:p>
          <a:p>
            <a:pPr marL="457200" lvl="1" indent="-227013">
              <a:buFont typeface="Arial" panose="020B0604020202020204" pitchFamily="34" charset="0"/>
              <a:buChar char="•"/>
            </a:pPr>
            <a:r>
              <a:rPr lang="en-US" b="1" dirty="0"/>
              <a:t>Comprehensible/traceable</a:t>
            </a:r>
            <a:r>
              <a:rPr lang="en-US" dirty="0"/>
              <a:t>	Fine-grained modeling, for small/intuitive specifications, superior traceability, and a good overview</a:t>
            </a:r>
          </a:p>
          <a:p>
            <a:pPr marL="457200" lvl="1" indent="-227013">
              <a:buFont typeface="Arial" panose="020B0604020202020204" pitchFamily="34" charset="0"/>
              <a:buChar char="•"/>
            </a:pPr>
            <a:r>
              <a:rPr lang="en-US" b="1" dirty="0"/>
              <a:t>Uniformity/efficiency</a:t>
            </a:r>
            <a:r>
              <a:rPr lang="en-US" dirty="0"/>
              <a:t>	Create a library of standardized models, to be easily reused and combined in different ways</a:t>
            </a:r>
          </a:p>
          <a:p>
            <a:pPr marL="457200" lvl="1" indent="-227013">
              <a:buFont typeface="Arial" panose="020B0604020202020204" pitchFamily="34" charset="0"/>
              <a:buChar char="•"/>
            </a:pPr>
            <a:r>
              <a:rPr lang="en-US" b="1" dirty="0"/>
              <a:t>Minimally restrictive</a:t>
            </a:r>
            <a:r>
              <a:rPr lang="en-US" dirty="0"/>
              <a:t>	Synthesis imposes minimal restrictions, preserving performance-optimal behavior</a:t>
            </a:r>
          </a:p>
          <a:p>
            <a:pPr>
              <a:spcBef>
                <a:spcPts val="1500"/>
              </a:spcBef>
            </a:pPr>
            <a:r>
              <a:rPr lang="en-US" dirty="0"/>
              <a:t>Learn more at: </a:t>
            </a:r>
            <a:r>
              <a:rPr lang="en-US" dirty="0">
                <a:solidFill>
                  <a:schemeClr val="tx1">
                    <a:lumMod val="50000"/>
                  </a:schemeClr>
                </a:solidFill>
                <a:hlinkClick r:id="rId2">
                  <a:extLst>
                    <a:ext uri="{A12FA001-AC4F-418D-AE19-62706E023703}">
                      <ahyp:hlinkClr xmlns:ahyp="http://schemas.microsoft.com/office/drawing/2018/hyperlinkcolor" val="tx"/>
                    </a:ext>
                  </a:extLst>
                </a:hlinkClick>
              </a:rPr>
              <a:t>https://eclipse.org/escet/cif/synthesis-based-engineering</a:t>
            </a:r>
            <a:r>
              <a:rPr lang="en-US" b="0" dirty="0">
                <a:solidFill>
                  <a:schemeClr val="tx1">
                    <a:lumMod val="50000"/>
                  </a:schemeClr>
                </a:solidFill>
              </a:rPr>
              <a:t> (SBE, its value, challenges, FIFO example, …)</a:t>
            </a:r>
            <a:endParaRPr lang="en-US" b="0" dirty="0"/>
          </a:p>
          <a:p>
            <a:pPr marL="457200" lvl="1" indent="-227013">
              <a:buFont typeface="Arial" panose="020B0604020202020204" pitchFamily="34" charset="0"/>
              <a:buChar char="•"/>
            </a:pPr>
            <a:endParaRPr lang="en-US" dirty="0"/>
          </a:p>
        </p:txBody>
      </p:sp>
      <p:sp>
        <p:nvSpPr>
          <p:cNvPr id="4" name="Title 3">
            <a:extLst>
              <a:ext uri="{FF2B5EF4-FFF2-40B4-BE49-F238E27FC236}">
                <a16:creationId xmlns:a16="http://schemas.microsoft.com/office/drawing/2014/main" id="{2DBA4FFA-ED04-4548-9FF0-A28081F664B9}"/>
              </a:ext>
            </a:extLst>
          </p:cNvPr>
          <p:cNvSpPr>
            <a:spLocks noGrp="1"/>
          </p:cNvSpPr>
          <p:nvPr>
            <p:ph type="title"/>
          </p:nvPr>
        </p:nvSpPr>
        <p:spPr/>
        <p:txBody>
          <a:bodyPr>
            <a:normAutofit/>
          </a:bodyPr>
          <a:lstStyle/>
          <a:p>
            <a:r>
              <a:rPr lang="en-US" dirty="0"/>
              <a:t>Synthesis-Based Engineering has many benefits</a:t>
            </a:r>
          </a:p>
        </p:txBody>
      </p:sp>
    </p:spTree>
    <p:extLst>
      <p:ext uri="{BB962C8B-B14F-4D97-AF65-F5344CB8AC3E}">
        <p14:creationId xmlns:p14="http://schemas.microsoft.com/office/powerpoint/2010/main" val="1226720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4" end="1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gD///////8DAAAAAwD///////////////////////////////////////////////////////////////////////////////////////////////////////////////////////////////////////////////////////////////////////////////////////////////////////////////////////////////////////////////////////////////////////////////////////////////////////////////////////////////////////////////////////////////////////////////////////////////////////////////////////////////////////////////////////////////////////////////////////////////8BACAA////////////////AAAO////////AwAAAAMA////////////////////////////////////////////////////////////////////////////////////////////////////////////////////////////////////////////////////////////////////////////////////////////////////////////////////////////////////////////////////////////////////////////////////////////////////////////////////////////////////////////////////////////////////////////////////////////////////////////////////////////////////////////////////////////////////////////////////////////////////////////////////////AgABAP///////wQAAAACABAAC1oEzweFGIdNm1jvwI2fkmEFAAAAAAADAAAAAAADAAAAAwADAAIA////////BAAAAAMAEAALAwXuJDLcIEWxpn5bu7IykgUAAAABAAMAAAACAAMAAAAB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IA////////BAAAAAIA////////////////////////////////////////////////////////////////////////////////////////////////////////////////////////////////////////////////////////////////////////////////////////////////////////////////////////////////////////////////////////////////////////////////////////////////////////////////////////////////////////////////////////////////////////////////////////////////////////////////////////////////////////////////////////////////AQAgAf///////////////wAADv///////wQAAAACAP///////////////////////////////////////////////////////////////////////////////////////////////////////////////////////////////////////////////////////////////////////////////////////////////////////////////////////////////////////////////////////////////////////////////////////////////////////////////////////////////////////////////////////////////////////////////////////////////////////////////////////////////////////////////////////////////////////////////////////////////////////////////////////wIABAEDAAAAAgD///////8aAAZMaW5rZWRTaGFwZXNEYXRhUHJvcGVydHlfMAUAAAAAAAQAAAADAAQAAAABAAQAAAADAP///////wQAAAAA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oEzweFGIdNm1jvwI2fkmEDRGF0YQAbAAAABExpbmtlZFNoYXBlRGF0YQAFAAAAAAACTmFtZQAZAAAATGlua2VkU2hhcGVzRGF0YVByb3BlcnR5ABBWZXJzaW9uAAAAAAAJTGFzdFdyaXRlADU8mm98AQAAAAEA/////8YAxgAAAAVfaWQAEAAAAAQDBe4kMtwgRbGmflu7sjKSA0RhdGEAUwAAAAhQcmVzZW50YXRpb25TY2FubmVkRm9yTGlua2VkU2hhcGVzAAECTnVtYmVyRm9ybWF0U2VwYXJhdG9yTW9kZQAKAAAAQXV0b21hdGljAAACTmFtZQAkAAAATGlua2VkU2hhcGVQcmVzZW50YXRpb25TZXR0aW5nc0RhdGEAEFZlcnNpb24AAAAAAAlMYXN0V3JpdGUAdTyab3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zlj8dJkpKb5Ct2L3d1B1A"/>
</p:tagLst>
</file>

<file path=ppt/theme/theme1.xml><?xml version="1.0" encoding="utf-8"?>
<a:theme xmlns:a="http://schemas.openxmlformats.org/drawingml/2006/main" name="ESI-Corporate_Theme">
  <a:themeElements>
    <a:clrScheme name="Custom 17">
      <a:dk1>
        <a:srgbClr val="787878"/>
      </a:dk1>
      <a:lt1>
        <a:srgbClr val="FFFFFF"/>
      </a:lt1>
      <a:dk2>
        <a:srgbClr val="00819B"/>
      </a:dk2>
      <a:lt2>
        <a:srgbClr val="D1D6D9"/>
      </a:lt2>
      <a:accent1>
        <a:srgbClr val="00819B"/>
      </a:accent1>
      <a:accent2>
        <a:srgbClr val="591E5E"/>
      </a:accent2>
      <a:accent3>
        <a:srgbClr val="00BDDE"/>
      </a:accent3>
      <a:accent4>
        <a:srgbClr val="F37820"/>
      </a:accent4>
      <a:accent5>
        <a:srgbClr val="787878"/>
      </a:accent5>
      <a:accent6>
        <a:srgbClr val="E5E6E5"/>
      </a:accent6>
      <a:hlink>
        <a:srgbClr val="00BDDE"/>
      </a:hlink>
      <a:folHlink>
        <a:srgbClr val="787878"/>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F2B109F-D1D0-4F0B-9876-5C21A6C529E0}" vid="{07C889B5-D220-4D53-8D48-1085073E847E}"/>
    </a:ext>
  </a:ext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9bb7800a-9dd4-4efa-9404-7ac564e64633" ContentTypeId="0x0101"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0B0DC80D8D307409A0C676D8A385342" ma:contentTypeVersion="14" ma:contentTypeDescription="Create a new document." ma:contentTypeScope="" ma:versionID="076b09068078bc74cfce18675231024a">
  <xsd:schema xmlns:xsd="http://www.w3.org/2001/XMLSchema" xmlns:xs="http://www.w3.org/2001/XMLSchema" xmlns:p="http://schemas.microsoft.com/office/2006/metadata/properties" xmlns:ns2="665c44e8-82e0-472a-a146-da60c58e68e1" xmlns:ns3="5486f933-44a1-4466-a450-872250b67bf8" xmlns:ns4="2825553b-cbe9-46d1-a381-9a55aeaab0e1" targetNamespace="http://schemas.microsoft.com/office/2006/metadata/properties" ma:root="true" ma:fieldsID="fe9ab5a685c09b89497f65205753bc8b" ns2:_="" ns3:_="" ns4:_="">
    <xsd:import namespace="665c44e8-82e0-472a-a146-da60c58e68e1"/>
    <xsd:import namespace="5486f933-44a1-4466-a450-872250b67bf8"/>
    <xsd:import namespace="2825553b-cbe9-46d1-a381-9a55aeaab0e1"/>
    <xsd:element name="properties">
      <xsd:complexType>
        <xsd:sequence>
          <xsd:element name="documentManagement">
            <xsd:complexType>
              <xsd:all>
                <xsd:element ref="ns2:h299cf7589dc4b75bcd2bf9f19243c76"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_dlc_DocId" minOccurs="0"/>
                <xsd:element ref="ns4:_dlc_DocIdUrl" minOccurs="0"/>
                <xsd:element ref="ns4:_dlc_DocIdPersistId"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c44e8-82e0-472a-a146-da60c58e68e1" elementFormDefault="qualified">
    <xsd:import namespace="http://schemas.microsoft.com/office/2006/documentManagement/types"/>
    <xsd:import namespace="http://schemas.microsoft.com/office/infopath/2007/PartnerControls"/>
    <xsd:element name="h299cf7589dc4b75bcd2bf9f19243c76" ma:index="8" nillable="true" ma:taxonomy="true" ma:internalName="h299cf7589dc4b75bcd2bf9f19243c76" ma:taxonomyFieldName="InformationClassification" ma:displayName="Information Classification" ma:readOnly="false" ma:default="" ma:fieldId="{1299cf75-89dc-4b75-bcd2-bf9f19243c76}" ma:sspId="9bb7800a-9dd4-4efa-9404-7ac564e64633" ma:termSetId="15e70205-4b68-455f-98cc-31f0c369727b"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7f335ea2-b273-4800-a4ed-82b28b85e643}" ma:internalName="TaxCatchAll" ma:showField="CatchAllData" ma:web="2825553b-cbe9-46d1-a381-9a55aeaab0e1">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f335ea2-b273-4800-a4ed-82b28b85e643}" ma:internalName="TaxCatchAllLabel" ma:readOnly="true" ma:showField="CatchAllDataLabel" ma:web="2825553b-cbe9-46d1-a381-9a55aeaab0e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486f933-44a1-4466-a450-872250b67bf8"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825553b-cbe9-46d1-a381-9a55aeaab0e1" elementFormDefault="qualified">
    <xsd:import namespace="http://schemas.microsoft.com/office/2006/documentManagement/types"/>
    <xsd:import namespace="http://schemas.microsoft.com/office/infopath/2007/PartnerControls"/>
    <xsd:element name="_dlc_DocId" ma:index="22" nillable="true" ma:displayName="Document ID Value" ma:description="The value of the document ID assigned to this item." ma:internalName="_dlc_DocId" ma:readOnly="true">
      <xsd:simpleType>
        <xsd:restriction base="dms:Text"/>
      </xsd:simpleType>
    </xsd:element>
    <xsd:element name="_dlc_DocIdUrl" ma:index="2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4" nillable="true" ma:displayName="Persist ID" ma:description="Keep ID on add." ma:hidden="true" ma:internalName="_dlc_DocIdPersistId" ma:readOnly="true">
      <xsd:simpleType>
        <xsd:restriction base="dms:Boolean"/>
      </xsd:simpleType>
    </xsd:element>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TaxCatchAll xmlns="665c44e8-82e0-472a-a146-da60c58e68e1" xsi:nil="true"/>
    <h299cf7589dc4b75bcd2bf9f19243c76 xmlns="665c44e8-82e0-472a-a146-da60c58e68e1">
      <Terms xmlns="http://schemas.microsoft.com/office/infopath/2007/PartnerControls"/>
    </h299cf7589dc4b75bcd2bf9f19243c76>
    <_dlc_DocId xmlns="2825553b-cbe9-46d1-a381-9a55aeaab0e1">PFDY2RU24YYK-612995288-20740</_dlc_DocId>
    <_dlc_DocIdUrl xmlns="2825553b-cbe9-46d1-a381-9a55aeaab0e1">
      <Url>https://asml.sharepoint.com/sites/SWResearchTransposition/_layouts/15/DocIdRedir.aspx?ID=PFDY2RU24YYK-612995288-20740</Url>
      <Description>PFDY2RU24YYK-612995288-20740</Description>
    </_dlc_DocIdUrl>
  </documentManagement>
</p:properties>
</file>

<file path=customXml/itemProps1.xml><?xml version="1.0" encoding="utf-8"?>
<ds:datastoreItem xmlns:ds="http://schemas.openxmlformats.org/officeDocument/2006/customXml" ds:itemID="{00701EC8-05A1-40AE-A1B7-BF4EA319E8AC}">
  <ds:schemaRefs>
    <ds:schemaRef ds:uri="Microsoft.SharePoint.Taxonomy.ContentTypeSync"/>
  </ds:schemaRefs>
</ds:datastoreItem>
</file>

<file path=customXml/itemProps2.xml><?xml version="1.0" encoding="utf-8"?>
<ds:datastoreItem xmlns:ds="http://schemas.openxmlformats.org/officeDocument/2006/customXml" ds:itemID="{8DFC4EDB-2401-4181-A64D-366DDB342104}">
  <ds:schemaRefs>
    <ds:schemaRef ds:uri="http://schemas.microsoft.com/sharepoint/v3/contenttype/forms"/>
  </ds:schemaRefs>
</ds:datastoreItem>
</file>

<file path=customXml/itemProps3.xml><?xml version="1.0" encoding="utf-8"?>
<ds:datastoreItem xmlns:ds="http://schemas.openxmlformats.org/officeDocument/2006/customXml" ds:itemID="{19FB94D1-87FF-4B18-9C16-80705274F8B8}">
  <ds:schemaRefs>
    <ds:schemaRef ds:uri="2825553b-cbe9-46d1-a381-9a55aeaab0e1"/>
    <ds:schemaRef ds:uri="5486f933-44a1-4466-a450-872250b67bf8"/>
    <ds:schemaRef ds:uri="665c44e8-82e0-472a-a146-da60c58e68e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A445E5BA-7054-4A7E-8FAB-DFEBA7D301EA}">
  <ds:schemaRefs>
    <ds:schemaRef ds:uri="http://schemas.microsoft.com/sharepoint/events"/>
  </ds:schemaRefs>
</ds:datastoreItem>
</file>

<file path=customXml/itemProps5.xml><?xml version="1.0" encoding="utf-8"?>
<ds:datastoreItem xmlns:ds="http://schemas.openxmlformats.org/officeDocument/2006/customXml" ds:itemID="{578D1889-6D07-4829-8238-62484DB4FEB9}">
  <ds:schemaRefs>
    <ds:schemaRef ds:uri="http://purl.org/dc/dcmitype/"/>
    <ds:schemaRef ds:uri="http://purl.org/dc/elements/1.1/"/>
    <ds:schemaRef ds:uri="665c44e8-82e0-472a-a146-da60c58e68e1"/>
    <ds:schemaRef ds:uri="http://schemas.microsoft.com/office/2006/metadata/properties"/>
    <ds:schemaRef ds:uri="http://schemas.openxmlformats.org/package/2006/metadata/core-properties"/>
    <ds:schemaRef ds:uri="5486f933-44a1-4466-a450-872250b67bf8"/>
    <ds:schemaRef ds:uri="http://schemas.microsoft.com/office/2006/documentManagement/types"/>
    <ds:schemaRef ds:uri="http://schemas.microsoft.com/office/infopath/2007/PartnerControls"/>
    <ds:schemaRef ds:uri="2825553b-cbe9-46d1-a381-9a55aeaab0e1"/>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1674_04_ESI_PPT-16-9</Template>
  <TotalTime>2246</TotalTime>
  <Words>1581</Words>
  <Application>Microsoft Office PowerPoint</Application>
  <PresentationFormat>Widescreen</PresentationFormat>
  <Paragraphs>209</Paragraphs>
  <Slides>18</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inherit</vt:lpstr>
      <vt:lpstr>system-ui</vt:lpstr>
      <vt:lpstr>ESI-Corporate_Theme</vt:lpstr>
      <vt:lpstr>think-cell Slide</vt:lpstr>
      <vt:lpstr>Eclipse ESCET ™ community meeting #1  Synthesis-Based Engineering of supervisory controllers</vt:lpstr>
      <vt:lpstr>Meeting agenda</vt:lpstr>
      <vt:lpstr>Introduction to Eclipse ESCET and Synthesis-Based Engineering (SBE)  </vt:lpstr>
      <vt:lpstr>Supervisory control</vt:lpstr>
      <vt:lpstr>Synthesis-Based Engineering (SBE) of supervisory controllers</vt:lpstr>
      <vt:lpstr>Example: a simple manufacturing system to process products</vt:lpstr>
      <vt:lpstr>Example: a simple FIFO requirement</vt:lpstr>
      <vt:lpstr>Example: the control conditions</vt:lpstr>
      <vt:lpstr>Synthesis-Based Engineering has many benefits</vt:lpstr>
      <vt:lpstr>Synthesis-Based Engineering with CIF</vt:lpstr>
      <vt:lpstr>Eclipse ESCET open-source project</vt:lpstr>
      <vt:lpstr>Eclipse ESCET open-source project: status</vt:lpstr>
      <vt:lpstr>Synthesis-based engineering: take-aways</vt:lpstr>
      <vt:lpstr>Eclipse ESCET and SBE at Rijkswaterstaat </vt:lpstr>
      <vt:lpstr>Community discussion </vt:lpstr>
      <vt:lpstr>Community discussion</vt:lpstr>
      <vt:lpstr>Roundup</vt:lpstr>
      <vt:lpstr>Thanks for joining!  We hope to see you again next time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nthesis-Based Engineering (SBE): it’s time for the next step!</dc:title>
  <dc:subject/>
  <dc:creator/>
  <cp:keywords/>
  <dc:description/>
  <cp:lastModifiedBy>Dennis Hendriks - DHFS</cp:lastModifiedBy>
  <cp:revision>132</cp:revision>
  <dcterms:created xsi:type="dcterms:W3CDTF">2019-08-29T07:25:53Z</dcterms:created>
  <dcterms:modified xsi:type="dcterms:W3CDTF">2022-03-30T06:00: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B0DC80D8D307409A0C676D8A385342</vt:lpwstr>
  </property>
  <property fmtid="{D5CDD505-2E9C-101B-9397-08002B2CF9AE}" pid="3" name="TNOC_DocumentClassification">
    <vt:lpwstr>1;#TNO Internal|1a23c89f-ef54-4907-86fd-8242403ff722</vt:lpwstr>
  </property>
  <property fmtid="{D5CDD505-2E9C-101B-9397-08002B2CF9AE}" pid="4" name="TNOC_DocumentSetType">
    <vt:lpwstr/>
  </property>
  <property fmtid="{D5CDD505-2E9C-101B-9397-08002B2CF9AE}" pid="5" name="TNOC_DocumentType">
    <vt:lpwstr/>
  </property>
  <property fmtid="{D5CDD505-2E9C-101B-9397-08002B2CF9AE}" pid="6" name="TNOC_ClusterType">
    <vt:lpwstr>2;#Team|c614ed86-6527-4042-aa9d-da80e2b69463</vt:lpwstr>
  </property>
  <property fmtid="{D5CDD505-2E9C-101B-9397-08002B2CF9AE}" pid="7" name="TNOC_DocumentCategory">
    <vt:lpwstr/>
  </property>
  <property fmtid="{D5CDD505-2E9C-101B-9397-08002B2CF9AE}" pid="8" name="InformationClassification">
    <vt:lpwstr/>
  </property>
  <property fmtid="{D5CDD505-2E9C-101B-9397-08002B2CF9AE}" pid="9" name="_dlc_DocIdItemGuid">
    <vt:lpwstr>347e02ed-38fe-4a6b-bea1-99d749e45b41</vt:lpwstr>
  </property>
</Properties>
</file>